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648" r:id="rId1"/>
  </p:sldMasterIdLst>
  <p:notesMasterIdLst>
    <p:notesMasterId r:id="rId4"/>
  </p:notesMasterIdLst>
  <p:handoutMasterIdLst>
    <p:handoutMasterId r:id="rId50"/>
  </p:handoutMasterIdLst>
  <p:sldIdLst>
    <p:sldId id="347" r:id="rId3"/>
    <p:sldId id="273" r:id="rId5"/>
    <p:sldId id="274" r:id="rId6"/>
    <p:sldId id="275" r:id="rId7"/>
    <p:sldId id="276" r:id="rId8"/>
    <p:sldId id="277" r:id="rId9"/>
    <p:sldId id="278" r:id="rId10"/>
    <p:sldId id="279" r:id="rId11"/>
    <p:sldId id="280" r:id="rId12"/>
    <p:sldId id="281" r:id="rId13"/>
    <p:sldId id="283" r:id="rId14"/>
    <p:sldId id="284" r:id="rId15"/>
    <p:sldId id="285" r:id="rId16"/>
    <p:sldId id="286" r:id="rId17"/>
    <p:sldId id="287" r:id="rId18"/>
    <p:sldId id="288" r:id="rId19"/>
    <p:sldId id="289" r:id="rId20"/>
    <p:sldId id="291" r:id="rId21"/>
    <p:sldId id="290" r:id="rId22"/>
    <p:sldId id="293" r:id="rId23"/>
    <p:sldId id="294" r:id="rId24"/>
    <p:sldId id="295" r:id="rId25"/>
    <p:sldId id="296" r:id="rId26"/>
    <p:sldId id="297" r:id="rId27"/>
    <p:sldId id="298" r:id="rId28"/>
    <p:sldId id="325" r:id="rId29"/>
    <p:sldId id="326" r:id="rId30"/>
    <p:sldId id="299" r:id="rId31"/>
    <p:sldId id="302" r:id="rId32"/>
    <p:sldId id="303" r:id="rId33"/>
    <p:sldId id="304" r:id="rId34"/>
    <p:sldId id="305" r:id="rId35"/>
    <p:sldId id="306" r:id="rId36"/>
    <p:sldId id="307" r:id="rId37"/>
    <p:sldId id="308" r:id="rId38"/>
    <p:sldId id="309" r:id="rId39"/>
    <p:sldId id="310" r:id="rId40"/>
    <p:sldId id="311" r:id="rId41"/>
    <p:sldId id="312" r:id="rId42"/>
    <p:sldId id="314" r:id="rId43"/>
    <p:sldId id="315" r:id="rId44"/>
    <p:sldId id="316" r:id="rId45"/>
    <p:sldId id="317" r:id="rId46"/>
    <p:sldId id="318" r:id="rId47"/>
    <p:sldId id="320" r:id="rId48"/>
    <p:sldId id="346" r:id="rId49"/>
  </p:sldIdLst>
  <p:sldSz cx="12192000" cy="6858000"/>
  <p:notesSz cx="6797675" cy="9926320"/>
  <p:embeddedFontLst>
    <p:embeddedFont>
      <p:font typeface="方正兰亭黑简体" panose="02000000000000000000" pitchFamily="2" charset="-122"/>
      <p:regular r:id="rId55"/>
    </p:embeddedFont>
    <p:embeddedFont>
      <p:font typeface="微软雅黑" panose="020B0503020204020204" pitchFamily="34" charset="-122"/>
      <p:regular r:id="rId5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angqiaolingzjhw" initials="h" lastIdx="1" clrIdx="0"/>
  <p:cmAuthor id="2" name="yanhuazjhw" initials="y" lastIdx="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1515"/>
    <a:srgbClr val="C7000B"/>
    <a:srgbClr val="575756"/>
    <a:srgbClr val="FFFFFF"/>
    <a:srgbClr val="DD4654"/>
    <a:srgbClr val="F3D2D5"/>
    <a:srgbClr val="E6A8AD"/>
    <a:srgbClr val="E57B84"/>
    <a:srgbClr val="E57984"/>
    <a:srgbClr val="BF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file>

<file path=ppt/viewProps.xml><?xml version="1.0" encoding="utf-8"?>
<p:viewPr xmlns:a="http://schemas.openxmlformats.org/drawingml/2006/main" xmlns:r="http://schemas.openxmlformats.org/officeDocument/2006/relationships" xmlns:p="http://schemas.openxmlformats.org/presentationml/2006/main">
  <p:normalViewPr>
    <p:restoredLeft sz="16321" autoAdjust="0"/>
    <p:restoredTop sz="87568" autoAdjust="0"/>
  </p:normalViewPr>
  <p:slideViewPr>
    <p:cSldViewPr snapToGrid="0" snapToObjects="1">
      <p:cViewPr varScale="1">
        <p:scale>
          <a:sx n="71" d="100"/>
          <a:sy n="71" d="100"/>
        </p:scale>
        <p:origin x="5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50" d="100"/>
          <a:sy n="50" d="100"/>
        </p:scale>
        <p:origin x="1998" y="42"/>
      </p:cViewPr>
      <p:guideLst>
        <p:guide orient="horz"/>
        <p:guide pos="2141"/>
      </p:guideLst>
    </p:cSldViewPr>
  </p:notes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6" Type="http://schemas.openxmlformats.org/officeDocument/2006/relationships/font" Target="fonts/font2.fntdata"/><Relationship Id="rId55" Type="http://schemas.openxmlformats.org/officeDocument/2006/relationships/font" Target="fonts/font1.fntdata"/><Relationship Id="rId54" Type="http://schemas.openxmlformats.org/officeDocument/2006/relationships/commentAuthors" Target="commentAuthors.xml"/><Relationship Id="rId53" Type="http://schemas.openxmlformats.org/officeDocument/2006/relationships/tableStyles" Target="tableStyles.xml"/><Relationship Id="rId52" Type="http://schemas.openxmlformats.org/officeDocument/2006/relationships/viewProps" Target="viewProps.xml"/><Relationship Id="rId51" Type="http://schemas.openxmlformats.org/officeDocument/2006/relationships/presProps" Target="presProps.xml"/><Relationship Id="rId50" Type="http://schemas.openxmlformats.org/officeDocument/2006/relationships/handoutMaster" Target="handoutMasters/handoutMaster1.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Huawei Sans" panose="020C0503030203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E8CF71B8-DF2A-2E41-BE66-2E18A767DA8A}" type="datetimeFigureOut">
              <a:rPr lang="en-US" smtClean="0">
                <a:latin typeface="Huawei Sans" panose="020C0503030203020204" pitchFamily="34" charset="0"/>
              </a:rPr>
            </a:fld>
            <a:endParaRPr lang="en-US" dirty="0">
              <a:latin typeface="Huawei Sans" panose="020C0503030203020204" pitchFamily="34" charset="0"/>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Huawei Sans" panose="020C0503030203020204" pitchFamily="34" charset="0"/>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35F0CC5-85BE-A64A-BD47-54C66F7E93E3}" type="slidenum">
              <a:rPr lang="en-US" smtClean="0">
                <a:latin typeface="Huawei Sans" panose="020C0503030203020204" pitchFamily="34" charset="0"/>
              </a:rPr>
            </a:fld>
            <a:endParaRPr lang="en-US" dirty="0">
              <a:latin typeface="Huawei Sans" panose="020C0503030203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54896" y="766800"/>
            <a:ext cx="5932800" cy="3337748"/>
          </a:xfrm>
          <a:prstGeom prst="rect">
            <a:avLst/>
          </a:prstGeom>
          <a:noFill/>
          <a:ln w="12700">
            <a:solidFill>
              <a:prstClr val="black"/>
            </a:solidFill>
          </a:ln>
        </p:spPr>
        <p:txBody>
          <a:bodyPr vert="horz" lIns="91440" tIns="45720" rIns="91440" bIns="45720" rtlCol="0" anchor="t" anchorCtr="0"/>
          <a:lstStyle/>
          <a:p>
            <a:endParaRPr lang="en-US"/>
          </a:p>
        </p:txBody>
      </p:sp>
      <p:sp>
        <p:nvSpPr>
          <p:cNvPr id="5" name="Notes Placeholder 4"/>
          <p:cNvSpPr>
            <a:spLocks noGrp="1"/>
          </p:cNvSpPr>
          <p:nvPr>
            <p:ph type="body" sz="quarter" idx="3"/>
          </p:nvPr>
        </p:nvSpPr>
        <p:spPr>
          <a:xfrm>
            <a:off x="454896" y="4603008"/>
            <a:ext cx="5932800" cy="5108400"/>
          </a:xfrm>
          <a:prstGeom prst="rect">
            <a:avLst/>
          </a:prstGeom>
        </p:spPr>
        <p:txBody>
          <a:bodyPr vert="horz" lIns="97200" tIns="45720" rIns="97200" bIns="45720"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notesStyle>
    <a:lvl1pPr marL="17970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1pPr>
    <a:lvl2pPr marL="539750" indent="-179705" algn="l" defTabSz="1219200" rtl="0" eaLnBrk="1" fontAlgn="ctr" latinLnBrk="0" hangingPunct="1">
      <a:lnSpc>
        <a:spcPct val="125000"/>
      </a:lnSpc>
      <a:spcAft>
        <a:spcPts val="600"/>
      </a:spcAft>
      <a:buClrTx/>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2pPr>
    <a:lvl3pPr marL="899795" indent="-179705" algn="l" defTabSz="1219200" rtl="0" eaLnBrk="1" fontAlgn="ctr" latinLnBrk="0" hangingPunct="1">
      <a:lnSpc>
        <a:spcPct val="125000"/>
      </a:lnSpc>
      <a:spcAft>
        <a:spcPts val="600"/>
      </a:spcAft>
      <a:buFont typeface="微软雅黑" panose="020B0503020204020204" pitchFamily="34" charset="-122"/>
      <a:buChar char="▪"/>
      <a:defRPr sz="1100" kern="1200" baseline="0">
        <a:solidFill>
          <a:schemeClr val="tx1"/>
        </a:solidFill>
        <a:latin typeface="Huawei Sans" panose="020C0503030203020204" pitchFamily="34" charset="0"/>
        <a:ea typeface="方正兰亭黑简体" panose="02000000000000000000" pitchFamily="2" charset="-122"/>
        <a:cs typeface="+mn-cs"/>
      </a:defRPr>
    </a:lvl3pPr>
    <a:lvl4pPr marL="1259840"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4pPr>
    <a:lvl5pPr marL="1619885" indent="-179705" algn="l" defTabSz="1219200" rtl="0" eaLnBrk="1" fontAlgn="ctr" latinLnBrk="0" hangingPunct="1">
      <a:lnSpc>
        <a:spcPct val="125000"/>
      </a:lnSpc>
      <a:spcAft>
        <a:spcPts val="600"/>
      </a:spcAft>
      <a:buFont typeface="Huawei Sans" panose="020C0503030203020204" pitchFamily="34" charset="0"/>
      <a:buChar char="~"/>
      <a:defRPr sz="1100" kern="1200" baseline="0">
        <a:solidFill>
          <a:schemeClr val="tx1"/>
        </a:solidFill>
        <a:latin typeface="Huawei Sans" panose="020C0503030203020204" pitchFamily="34" charset="0"/>
        <a:ea typeface="方正兰亭黑简体" panose="02000000000000000000" pitchFamily="2" charset="-122"/>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835" algn="l" defTabSz="1219200" rtl="0" eaLnBrk="1" latinLnBrk="0" hangingPunct="1">
      <a:defRPr sz="1600" kern="1200">
        <a:solidFill>
          <a:schemeClr val="tx1"/>
        </a:solidFill>
        <a:latin typeface="+mn-lt"/>
        <a:ea typeface="+mn-ea"/>
        <a:cs typeface="+mn-cs"/>
      </a:defRPr>
    </a:lvl8pPr>
    <a:lvl9pPr marL="4877435"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幻灯片图像占位符 16"/>
          <p:cNvSpPr>
            <a:spLocks noGrp="1" noRot="1" noChangeAspect="1"/>
          </p:cNvSpPr>
          <p:nvPr>
            <p:ph type="sldImg"/>
          </p:nvPr>
        </p:nvSpPr>
        <p:spPr>
          <a:xfrm>
            <a:off x="742950" y="717550"/>
            <a:ext cx="5557838" cy="3125788"/>
          </a:xfrm>
        </p:spPr>
      </p:sp>
      <p:sp>
        <p:nvSpPr>
          <p:cNvPr id="18" name="备注占位符 17"/>
          <p:cNvSpPr>
            <a:spLocks noGrp="1"/>
          </p:cNvSpPr>
          <p:nvPr>
            <p:ph type="body" idx="1"/>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蓝色框的代表是数据库系统组成部分。</a:t>
            </a:r>
            <a:endParaRPr lang="en-US" altLang="zh-CN" smtClean="0"/>
          </a:p>
          <a:p>
            <a:pPr lvl="0"/>
            <a:r>
              <a:rPr lang="zh-CN" altLang="en-US" smtClean="0"/>
              <a:t>操作系统不属于数据库系统。</a:t>
            </a:r>
            <a:endParaRPr lang="en-US" altLang="zh-CN" smtClean="0"/>
          </a:p>
          <a:p>
            <a:pPr lvl="0"/>
            <a:r>
              <a:rPr lang="zh-CN" altLang="en-US" smtClean="0"/>
              <a:t>数据库管理系统调用操作系统。</a:t>
            </a:r>
            <a:endParaRPr lang="en-US" altLang="zh-CN" smtClean="0"/>
          </a:p>
          <a:p>
            <a:pPr lvl="0"/>
            <a:r>
              <a:rPr lang="zh-CN" altLang="en-US" smtClean="0"/>
              <a:t>可以再次强调上一页里面数据库管理系统是一个系统软件的概念，数据库管理系统和操作系统一样是计算机系统的基础软件。</a:t>
            </a:r>
            <a:endParaRPr lang="en-US" altLang="zh-CN" smtClean="0"/>
          </a:p>
          <a:p>
            <a:pPr lvl="0"/>
            <a:r>
              <a:rPr lang="zh-CN" altLang="en-US" smtClean="0"/>
              <a:t>在不引起混淆的情况下，常常把数据库系统简称为数据库。</a:t>
            </a:r>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数据管理是指对数据进行分类、组织、编码、存储、检索和维护，是数据处理的中心问题。</a:t>
            </a:r>
            <a:endParaRPr lang="en-US" altLang="zh-CN" smtClean="0"/>
          </a:p>
          <a:p>
            <a:pPr lvl="0"/>
            <a:r>
              <a:rPr lang="zh-CN" altLang="en-US" smtClean="0"/>
              <a:t>人工管理阶段：</a:t>
            </a:r>
            <a:r>
              <a:rPr lang="en-US" altLang="zh-CN" smtClean="0"/>
              <a:t>20</a:t>
            </a:r>
            <a:r>
              <a:rPr lang="zh-CN" altLang="en-US" smtClean="0"/>
              <a:t>世界</a:t>
            </a:r>
            <a:r>
              <a:rPr lang="en-US" altLang="zh-CN" smtClean="0"/>
              <a:t>50</a:t>
            </a:r>
            <a:r>
              <a:rPr lang="zh-CN" altLang="en-US" smtClean="0"/>
              <a:t>年代中期以前，计算机主要用于科学计算。硬件状况是：外存只有纸带、卡片、磁带，没有磁盘等直接存取的存储设备。</a:t>
            </a:r>
            <a:endParaRPr lang="en-US" altLang="zh-CN" smtClean="0"/>
          </a:p>
          <a:p>
            <a:pPr lvl="0"/>
            <a:r>
              <a:rPr lang="zh-CN" altLang="en-US" smtClean="0"/>
              <a:t>文件系统阶段：</a:t>
            </a:r>
            <a:r>
              <a:rPr lang="en-US" altLang="zh-CN" smtClean="0"/>
              <a:t>20</a:t>
            </a:r>
            <a:r>
              <a:rPr lang="zh-CN" altLang="en-US" smtClean="0"/>
              <a:t>世纪</a:t>
            </a:r>
            <a:r>
              <a:rPr lang="en-US" altLang="zh-CN" smtClean="0"/>
              <a:t>50</a:t>
            </a:r>
            <a:r>
              <a:rPr lang="zh-CN" altLang="en-US" smtClean="0"/>
              <a:t>年代后期到</a:t>
            </a:r>
            <a:r>
              <a:rPr lang="en-US" altLang="zh-CN" smtClean="0"/>
              <a:t>60</a:t>
            </a:r>
            <a:r>
              <a:rPr lang="zh-CN" altLang="en-US" smtClean="0"/>
              <a:t>年代中期，这时硬件方面已经有了磁盘、磁鼓等直接存取设备；软件方面，操作系统中已经有了专门的数据管理软件，一般称为文件系统。</a:t>
            </a:r>
            <a:endParaRPr lang="en-US" altLang="zh-CN" smtClean="0"/>
          </a:p>
          <a:p>
            <a:pPr lvl="0"/>
            <a:r>
              <a:rPr lang="zh-CN" altLang="en-US" smtClean="0"/>
              <a:t>数据库系统阶段：</a:t>
            </a:r>
            <a:r>
              <a:rPr lang="en-US" altLang="zh-CN" smtClean="0"/>
              <a:t>20</a:t>
            </a:r>
            <a:r>
              <a:rPr lang="zh-CN" altLang="en-US" smtClean="0"/>
              <a:t>世纪</a:t>
            </a:r>
            <a:r>
              <a:rPr lang="en-US" altLang="zh-CN" smtClean="0"/>
              <a:t>60</a:t>
            </a:r>
            <a:r>
              <a:rPr lang="zh-CN" altLang="en-US" smtClean="0"/>
              <a:t>年代后期以来，硬件已有大容量磁盘，硬件价格下降；软件价格上升，为编制和维护系统软件及应用程序所需的成本相对增加；在处理方式上，联机实时处理要求更多，并开始提出和考虑分布式处理。</a:t>
            </a:r>
            <a:endParaRPr lang="en-US" altLang="zh-CN" smtClean="0"/>
          </a:p>
          <a:p>
            <a:pPr lvl="0"/>
            <a:r>
              <a:rPr lang="zh-CN" altLang="en-US" smtClean="0"/>
              <a:t>这里列举的数据库系统并不是数据库系统的完整划分，是按照数据模型这个角度来看，所出现的经典数据库的发展时间线。</a:t>
            </a:r>
            <a:endParaRPr lang="en-US" altLang="zh-CN" smtClean="0"/>
          </a:p>
          <a:p>
            <a:pPr lvl="0"/>
            <a:r>
              <a:rPr lang="zh-CN" altLang="en-US" smtClean="0"/>
              <a:t>所以在本页面里面重点强调三个阶段而不是几个数据库，具体数据库技术在后面的页面介绍。</a:t>
            </a:r>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人工管理阶段</a:t>
            </a:r>
            <a:endParaRPr lang="en-US" altLang="zh-CN" smtClean="0"/>
          </a:p>
          <a:p>
            <a:pPr lvl="1"/>
            <a:r>
              <a:rPr lang="zh-CN" altLang="en-US" smtClean="0"/>
              <a:t>应用程序管理数据：数据需要应用程序自己设计，定义和管理，没有相应的软件系统负责数据管理工作。应用程序中不仅要规定数据逻辑结构，还要设计物理结构，包括存储结构，存取方法，输入方式等，程序员负担非常重。非程序员无法使用计算机系统。</a:t>
            </a:r>
            <a:endParaRPr lang="en-US" altLang="zh-CN" smtClean="0"/>
          </a:p>
          <a:p>
            <a:pPr lvl="1"/>
            <a:r>
              <a:rPr lang="zh-CN" altLang="en-US" smtClean="0"/>
              <a:t>数据不共享：数据面向应用程序的，一组数据对应一个程序。多个应用程序处理相同数据时必须各自定义，无法互相利用。所以程序之间有大量的冗余数据。</a:t>
            </a:r>
            <a:endParaRPr lang="en-US" altLang="zh-CN" smtClean="0"/>
          </a:p>
          <a:p>
            <a:pPr lvl="1"/>
            <a:r>
              <a:rPr lang="zh-CN" altLang="en-US" smtClean="0"/>
              <a:t>数据不具独立性：数据逻辑结构或物理结构发生变化后，必须对应用程序做对应的修改，数据完全依赖于应用程序，称为数据缺乏独立性。</a:t>
            </a:r>
            <a:endParaRPr lang="en-US" altLang="zh-CN" smtClean="0"/>
          </a:p>
          <a:p>
            <a:pPr lvl="0"/>
            <a:r>
              <a:rPr lang="zh-CN" altLang="en-US" smtClean="0"/>
              <a:t>文件系统阶段</a:t>
            </a:r>
            <a:endParaRPr lang="en-US" altLang="zh-CN" smtClean="0"/>
          </a:p>
          <a:p>
            <a:pPr lvl="1"/>
            <a:r>
              <a:rPr lang="zh-CN" altLang="en-US" smtClean="0"/>
              <a:t>文件系统管理数据：数据组织成独立的数据文件，“按文件名访问，按记录进行存取”管理技术。文件系统提供文件打开，关闭，读写存取方式。</a:t>
            </a:r>
            <a:endParaRPr lang="en-US" altLang="zh-CN" smtClean="0"/>
          </a:p>
          <a:p>
            <a:pPr lvl="1"/>
            <a:r>
              <a:rPr lang="zh-CN" altLang="en-US" smtClean="0"/>
              <a:t>共享性差，冗余度大：文件仍然是面向应用的。不同的应用程序即便使用相同数据，也必须各自建立文件，所以相同数据重复存储，数据冗余度大，各自管理，容易产生数据不一致。</a:t>
            </a:r>
            <a:endParaRPr lang="en-US" altLang="zh-CN" smtClean="0"/>
          </a:p>
          <a:p>
            <a:pPr lvl="1"/>
            <a:r>
              <a:rPr lang="zh-CN" altLang="en-US" smtClean="0"/>
              <a:t>独立性差：文件为特定应用服务，文件的逻辑结构是针对具体的应用来设计的，数据逻辑结构改变时，应用程序中文件结构的定义就必须修改。数据依赖于应用程序，缺乏独立性。</a:t>
            </a:r>
            <a:endParaRPr lang="en-US" altLang="zh-CN" smtClean="0"/>
          </a:p>
          <a:p>
            <a:pPr lvl="1"/>
            <a:r>
              <a:rPr lang="zh-CN" altLang="en-US" smtClean="0"/>
              <a:t>文件之间是孤立的，不能反映现实世界事物之间的内在联系。</a:t>
            </a:r>
            <a:endParaRPr lang="en-US" altLang="zh-CN" smtClean="0"/>
          </a:p>
          <a:p>
            <a:pPr lvl="0"/>
            <a:r>
              <a:rPr lang="zh-CN" altLang="en-US" smtClean="0"/>
              <a:t>从文件系统到数据库系统标志着数据管理技术的飞跃。</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整体数据结构化：数据结构是面向整个组织的，而不是针对某一个应用的。记录的结构和记录之间的联系由数据库管理系统维护，从而减轻了程序员的工作量。</a:t>
            </a:r>
            <a:endParaRPr lang="en-US" altLang="zh-CN" smtClean="0"/>
          </a:p>
          <a:p>
            <a:pPr lvl="0"/>
            <a:r>
              <a:rPr lang="zh-CN" altLang="en-US" smtClean="0"/>
              <a:t>数据共享度高：数据共享可以被多个应用共享，可以减少数据冗余，节约存储空间，数据共享能够避免数据之间不相容和不一致性。数据不一致性指同一数据不同副本的值不一样。</a:t>
            </a:r>
            <a:endParaRPr lang="en-US" altLang="zh-CN" smtClean="0"/>
          </a:p>
          <a:p>
            <a:pPr lvl="0"/>
            <a:r>
              <a:rPr lang="zh-CN" altLang="en-US" smtClean="0"/>
              <a:t>易扩充：因为要考虑整体系统的需求，形成有结构的数据，所以数据库系统弹性高，易于扩充，可以适应多种要求。</a:t>
            </a:r>
            <a:endParaRPr lang="en-US" altLang="zh-CN" smtClean="0"/>
          </a:p>
          <a:p>
            <a:pPr lvl="0"/>
            <a:r>
              <a:rPr lang="zh-CN" altLang="en-US" smtClean="0"/>
              <a:t>物理独立性：数据的物理存储特性有数据库管理系统管理，用户程序不需要了解，应用程序只需要处理逻辑结构，数据的物理存储改变时，应用程序不用改变。</a:t>
            </a:r>
            <a:endParaRPr lang="en-US" altLang="zh-CN" smtClean="0"/>
          </a:p>
          <a:p>
            <a:pPr lvl="0"/>
            <a:r>
              <a:rPr lang="zh-CN" altLang="en-US" smtClean="0"/>
              <a:t>逻辑独立性：数据库的数据逻辑结构改变时用户程序可以不变（数据库的逻辑结构</a:t>
            </a:r>
            <a:r>
              <a:rPr lang="en-US" altLang="zh-CN" smtClean="0"/>
              <a:t>-&gt;</a:t>
            </a:r>
            <a:r>
              <a:rPr lang="zh-CN" altLang="en-US" smtClean="0"/>
              <a:t>数据模型</a:t>
            </a:r>
            <a:r>
              <a:rPr lang="en-US" altLang="zh-CN" smtClean="0"/>
              <a:t>,  </a:t>
            </a:r>
            <a:r>
              <a:rPr lang="zh-CN" altLang="en-US" smtClean="0"/>
              <a:t>数据模型的变化不影响应用程序，应用程序通过语义化的编程语言，</a:t>
            </a:r>
            <a:r>
              <a:rPr lang="en-US" altLang="zh-CN" smtClean="0"/>
              <a:t>SQL</a:t>
            </a:r>
            <a:r>
              <a:rPr lang="zh-CN" altLang="en-US" smtClean="0"/>
              <a:t>来实现对数据的访问）。</a:t>
            </a:r>
            <a:endParaRPr lang="en-US" altLang="zh-CN" smtClean="0"/>
          </a:p>
          <a:p>
            <a:pPr lvl="0"/>
            <a:r>
              <a:rPr lang="zh-CN" altLang="en-US" smtClean="0"/>
              <a:t>数据独立性简化了应用程序的开发，大大降低了应用程序的复杂度（实际上就是把数据和应用程序解耦，原来的强耦合方式造成灵活度低，开发量大，维护任务繁重）。</a:t>
            </a:r>
            <a:endParaRPr lang="en-US" altLang="zh-CN" smtClean="0"/>
          </a:p>
          <a:p>
            <a:pPr lvl="0"/>
            <a:r>
              <a:rPr lang="zh-CN" altLang="en-US" smtClean="0"/>
              <a:t>数据的安全性保护：安全性是指保护数据以防止不合法使用造成的数据泄密和破坏。</a:t>
            </a:r>
            <a:endParaRPr lang="en-US" altLang="zh-CN" smtClean="0"/>
          </a:p>
          <a:p>
            <a:pPr lvl="0"/>
            <a:r>
              <a:rPr lang="zh-CN" altLang="en-US" smtClean="0"/>
              <a:t>数据的完整性检查：指数据的正确性、有效性和相容性。完整性检查将数据控制在有效的范围内，并保证数据之间满足一定的关系。</a:t>
            </a:r>
            <a:endParaRPr lang="en-US" altLang="zh-CN" smtClean="0"/>
          </a:p>
          <a:p>
            <a:pPr lvl="0"/>
            <a:r>
              <a:rPr lang="zh-CN" altLang="en-US" smtClean="0"/>
              <a:t>并发控制：多个用户并发访问数据库，为避免互相干扰而得到作物结果，需要对多用户的并发操作加以控制和协调。</a:t>
            </a:r>
            <a:endParaRPr lang="en-US" altLang="zh-CN" smtClean="0"/>
          </a:p>
          <a:p>
            <a:pPr lvl="0"/>
            <a:r>
              <a:rPr lang="zh-CN" altLang="en-US" smtClean="0"/>
              <a:t>数据库恢复：在发生硬件故障，软件故障，操作失误等情况时。管理系统具备将数据库从错误状态恢复到某一已知的正确状态的功能。</a:t>
            </a:r>
            <a:endParaRPr lang="en-US" altLang="zh-CN" smtClean="0"/>
          </a:p>
          <a:p>
            <a:pPr lvl="0"/>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数据模型是数据库系统的核心和基础，所以数据库系统的发展和数据模型的发展密不可分。所以数据库模型的划分维度是数据库系统划分的一个重要标准。</a:t>
            </a:r>
            <a:endParaRPr lang="en-US" altLang="zh-CN" smtClean="0"/>
          </a:p>
          <a:p>
            <a:pPr lvl="0"/>
            <a:r>
              <a:rPr lang="zh-CN" altLang="en-US" smtClean="0"/>
              <a:t>数据结构描述数据库的组成对象以及对象之间的联系。</a:t>
            </a:r>
            <a:endParaRPr lang="en-US" altLang="zh-CN" smtClean="0"/>
          </a:p>
          <a:p>
            <a:pPr lvl="0"/>
            <a:r>
              <a:rPr lang="zh-CN" altLang="en-US" smtClean="0"/>
              <a:t>其他计算机新技术层出不穷，数据库和其他计算机技术交叉结合，是数据库技术的一个显著特征。</a:t>
            </a:r>
            <a:endParaRPr lang="en-US" altLang="zh-CN" smtClean="0"/>
          </a:p>
          <a:p>
            <a:pPr lvl="0"/>
            <a:r>
              <a:rPr lang="zh-CN" altLang="en-US" smtClean="0"/>
              <a:t>通用数据库在特定领域无法满足应用需求，需要根据领域的特定需求来研制特定的数据库系统。</a:t>
            </a:r>
            <a:endParaRPr lang="en-US" altLang="zh-CN" smtClean="0"/>
          </a:p>
          <a:p>
            <a:pPr lvl="0"/>
            <a:r>
              <a:rPr lang="zh-CN" altLang="en-US" smtClean="0"/>
              <a:t>其中，层次模型和网状模型统称为格式化模型。格式化模型在</a:t>
            </a:r>
            <a:r>
              <a:rPr lang="en-US" altLang="zh-CN" smtClean="0"/>
              <a:t>20</a:t>
            </a:r>
            <a:r>
              <a:rPr lang="zh-CN" altLang="en-US" smtClean="0"/>
              <a:t>世纪</a:t>
            </a:r>
            <a:r>
              <a:rPr lang="en-US" altLang="zh-CN" smtClean="0"/>
              <a:t>70</a:t>
            </a:r>
            <a:r>
              <a:rPr lang="zh-CN" altLang="en-US" smtClean="0"/>
              <a:t>年代至</a:t>
            </a:r>
            <a:r>
              <a:rPr lang="en-US" altLang="zh-CN" smtClean="0"/>
              <a:t>80</a:t>
            </a:r>
            <a:r>
              <a:rPr lang="zh-CN" altLang="en-US" smtClean="0"/>
              <a:t>年代初非常流行。层次数据库系统和网状数据库系统在使用和实现上都要涉及数据库物理层的复杂结构。</a:t>
            </a:r>
            <a:endParaRPr lang="en-US" altLang="zh-CN" smtClean="0"/>
          </a:p>
          <a:p>
            <a:pPr lvl="0"/>
            <a:r>
              <a:rPr lang="en-US" altLang="zh-CN" smtClean="0"/>
              <a:t>20</a:t>
            </a:r>
            <a:r>
              <a:rPr lang="zh-CN" altLang="en-US" smtClean="0"/>
              <a:t>世纪</a:t>
            </a:r>
            <a:r>
              <a:rPr lang="en-US" altLang="zh-CN" smtClean="0"/>
              <a:t>80</a:t>
            </a:r>
            <a:r>
              <a:rPr lang="zh-CN" altLang="en-US" smtClean="0"/>
              <a:t>年代以来，面向对象的方法和技术在计算机各个领域，包括程序设计语言、软件工程、信息系统设计、计算机硬件设计等方面都产生了深远的影响，也促进数据库中面向对象数据模型的研究和发展。</a:t>
            </a:r>
            <a:endParaRPr lang="en-US" altLang="zh-CN" smtClean="0"/>
          </a:p>
          <a:p>
            <a:pPr lvl="0"/>
            <a:r>
              <a:rPr lang="zh-CN" altLang="en-US" smtClean="0"/>
              <a:t>随着</a:t>
            </a:r>
            <a:r>
              <a:rPr lang="en-US" altLang="zh-CN" smtClean="0"/>
              <a:t>Internet</a:t>
            </a:r>
            <a:r>
              <a:rPr lang="zh-CN" altLang="en-US" smtClean="0"/>
              <a:t>的迅速发展，</a:t>
            </a:r>
            <a:r>
              <a:rPr lang="en-US" altLang="zh-CN" smtClean="0"/>
              <a:t>Web</a:t>
            </a:r>
            <a:r>
              <a:rPr lang="zh-CN" altLang="en-US" smtClean="0"/>
              <a:t>上各种板结构化、非结构化的数据源已经称为重要的信息来源。产生了</a:t>
            </a:r>
            <a:r>
              <a:rPr lang="en-US" altLang="zh-CN" smtClean="0"/>
              <a:t>XML</a:t>
            </a:r>
            <a:r>
              <a:rPr lang="zh-CN" altLang="en-US" smtClean="0"/>
              <a:t>为代表的板结构化数据模型和非结构化数据模型。</a:t>
            </a:r>
            <a:endParaRPr lang="en-US" altLang="zh-CN" smtClean="0"/>
          </a:p>
          <a:p>
            <a:pPr lvl="0"/>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层次模型的数据结构就是一棵树形结构，目前还在使用的层次模型的一个实际案例就是</a:t>
            </a:r>
            <a:r>
              <a:rPr lang="en-US" altLang="zh-CN" smtClean="0"/>
              <a:t>windows</a:t>
            </a:r>
            <a:r>
              <a:rPr lang="zh-CN" altLang="en-US" smtClean="0"/>
              <a:t>使用的注册表</a:t>
            </a:r>
            <a:r>
              <a:rPr lang="en-US" altLang="zh-CN" smtClean="0"/>
              <a:t>(Registry)</a:t>
            </a:r>
            <a:r>
              <a:rPr lang="zh-CN" altLang="en-US" smtClean="0"/>
              <a:t>。在层次模型中，每个节点表示一个记录类型，记录类型之间的联系用节点之间的连线（有向边）表示，这种联系是父子之间的一对多的联系。这就使得层次数据库只能处理一对多的实体联系。层次模型数据库代表产品：</a:t>
            </a:r>
            <a:r>
              <a:rPr lang="en-US" altLang="zh-CN" smtClean="0"/>
              <a:t>IBM</a:t>
            </a:r>
            <a:r>
              <a:rPr lang="zh-CN" altLang="en-US" smtClean="0"/>
              <a:t>，</a:t>
            </a:r>
            <a:r>
              <a:rPr lang="en-US" altLang="zh-CN" smtClean="0"/>
              <a:t>1968</a:t>
            </a:r>
            <a:r>
              <a:rPr lang="zh-CN" altLang="en-US" smtClean="0"/>
              <a:t>年，</a:t>
            </a:r>
            <a:r>
              <a:rPr lang="en-US" altLang="zh-CN" smtClean="0"/>
              <a:t>IMS</a:t>
            </a:r>
            <a:r>
              <a:rPr lang="zh-CN" altLang="en-US" smtClean="0"/>
              <a:t>（</a:t>
            </a:r>
            <a:r>
              <a:rPr lang="en-US" altLang="zh-CN" smtClean="0"/>
              <a:t>Information Management System</a:t>
            </a:r>
            <a:r>
              <a:rPr lang="zh-CN" altLang="en-US" smtClean="0"/>
              <a:t>），适合</a:t>
            </a:r>
            <a:r>
              <a:rPr lang="en-US" altLang="zh-CN" smtClean="0"/>
              <a:t>IBM</a:t>
            </a:r>
            <a:r>
              <a:rPr lang="zh-CN" altLang="en-US" smtClean="0"/>
              <a:t>主机的大型数据库系统。</a:t>
            </a:r>
            <a:endParaRPr lang="en-US" altLang="zh-CN" smtClean="0"/>
          </a:p>
          <a:p>
            <a:pPr lvl="0"/>
            <a:r>
              <a:rPr lang="zh-CN" altLang="en-US" smtClean="0"/>
              <a:t>网状模型就是一个网络图的结构。网状数据库系统采用网状模型作为数据的组织方式，可以描述多对多的父子联系。网状模型图例中，</a:t>
            </a:r>
            <a:r>
              <a:rPr lang="en-US" altLang="zh-CN" smtClean="0"/>
              <a:t>E</a:t>
            </a:r>
            <a:r>
              <a:rPr lang="zh-CN" altLang="en-US" smtClean="0"/>
              <a:t>代表实体，</a:t>
            </a:r>
            <a:r>
              <a:rPr lang="en-US" altLang="zh-CN" smtClean="0"/>
              <a:t>R</a:t>
            </a:r>
            <a:r>
              <a:rPr lang="zh-CN" altLang="en-US" smtClean="0"/>
              <a:t>代表实体之间的关系。</a:t>
            </a:r>
            <a:r>
              <a:rPr lang="en-US" altLang="zh-CN" smtClean="0"/>
              <a:t>E1</a:t>
            </a:r>
            <a:r>
              <a:rPr lang="zh-CN" altLang="en-US" smtClean="0"/>
              <a:t>，</a:t>
            </a:r>
            <a:r>
              <a:rPr lang="en-US" altLang="zh-CN" smtClean="0"/>
              <a:t>E2</a:t>
            </a:r>
            <a:r>
              <a:rPr lang="zh-CN" altLang="en-US" smtClean="0"/>
              <a:t>没有双亲节点，</a:t>
            </a:r>
            <a:r>
              <a:rPr lang="en-US" altLang="zh-CN" smtClean="0"/>
              <a:t>E3</a:t>
            </a:r>
            <a:r>
              <a:rPr lang="zh-CN" altLang="en-US" smtClean="0"/>
              <a:t>，</a:t>
            </a:r>
            <a:r>
              <a:rPr lang="en-US" altLang="zh-CN" smtClean="0"/>
              <a:t>E5</a:t>
            </a:r>
            <a:r>
              <a:rPr lang="zh-CN" altLang="en-US" smtClean="0"/>
              <a:t>都由两个父节点。</a:t>
            </a:r>
            <a:endParaRPr lang="en-US" altLang="zh-CN" smtClean="0"/>
          </a:p>
          <a:p>
            <a:pPr lvl="0"/>
            <a:r>
              <a:rPr lang="zh-CN" altLang="en-US" smtClean="0"/>
              <a:t>例如在现实中很多多对多关系，学生选择课程，老师授课等。</a:t>
            </a:r>
            <a:endParaRPr lang="en-US" altLang="zh-CN" smtClean="0"/>
          </a:p>
          <a:p>
            <a:pPr lvl="0"/>
            <a:r>
              <a:rPr lang="zh-CN" altLang="en-US" smtClean="0"/>
              <a:t>网状模型数据库代表产品：通用电气公司，</a:t>
            </a:r>
            <a:r>
              <a:rPr lang="en-US" altLang="zh-CN" smtClean="0"/>
              <a:t>1961</a:t>
            </a:r>
            <a:r>
              <a:rPr lang="zh-CN" altLang="en-US" smtClean="0"/>
              <a:t>年，</a:t>
            </a:r>
            <a:r>
              <a:rPr lang="en-US" altLang="zh-CN" smtClean="0"/>
              <a:t>IDS</a:t>
            </a:r>
            <a:r>
              <a:rPr lang="zh-CN" altLang="en-US" smtClean="0"/>
              <a:t>（</a:t>
            </a:r>
            <a:r>
              <a:rPr lang="en-US" altLang="zh-CN" smtClean="0"/>
              <a:t>Integrated DataStore</a:t>
            </a:r>
            <a:r>
              <a:rPr lang="zh-CN" altLang="en-US" smtClean="0"/>
              <a:t>）。</a:t>
            </a:r>
            <a:endParaRPr lang="en-US" altLang="zh-CN" smtClean="0"/>
          </a:p>
          <a:p>
            <a:r>
              <a:rPr lang="en-US" altLang="zh-CN" smtClean="0"/>
              <a:t>1970 </a:t>
            </a:r>
            <a:r>
              <a:rPr lang="zh-CN" altLang="en-US" smtClean="0"/>
              <a:t>年，</a:t>
            </a:r>
            <a:r>
              <a:rPr lang="en-US" altLang="zh-CN" smtClean="0"/>
              <a:t>IBM</a:t>
            </a:r>
            <a:r>
              <a:rPr lang="zh-CN" altLang="en-US" smtClean="0"/>
              <a:t>研究员</a:t>
            </a:r>
            <a:r>
              <a:rPr lang="en-US" altLang="zh-CN" smtClean="0"/>
              <a:t>E.F.Codd</a:t>
            </a:r>
            <a:r>
              <a:rPr lang="zh-CN" altLang="en-US" smtClean="0"/>
              <a:t>（埃德加</a:t>
            </a:r>
            <a:r>
              <a:rPr lang="en-US" altLang="zh-CN" smtClean="0"/>
              <a:t>·</a:t>
            </a:r>
            <a:r>
              <a:rPr lang="zh-CN" altLang="en-US" smtClean="0"/>
              <a:t>弗兰克</a:t>
            </a:r>
            <a:r>
              <a:rPr lang="en-US" altLang="zh-CN" smtClean="0"/>
              <a:t>·</a:t>
            </a:r>
            <a:r>
              <a:rPr lang="zh-CN" altLang="en-US" smtClean="0"/>
              <a:t>科德）博士，</a:t>
            </a:r>
            <a:r>
              <a:rPr lang="en-US" altLang="zh-CN" smtClean="0"/>
              <a:t>IBM</a:t>
            </a:r>
            <a:r>
              <a:rPr lang="zh-CN" altLang="en-US" smtClean="0"/>
              <a:t>公司研究员，在刊物</a:t>
            </a:r>
            <a:r>
              <a:rPr lang="en-US" altLang="zh-CN" smtClean="0"/>
              <a:t>Communication of the ACM</a:t>
            </a:r>
            <a:r>
              <a:rPr lang="zh-CN" altLang="en-US" smtClean="0"/>
              <a:t>上发表了一篇名为“</a:t>
            </a:r>
            <a:r>
              <a:rPr lang="en-US" altLang="zh-CN" smtClean="0"/>
              <a:t>A Relational Modelof Data for Large Shared Data Banks”</a:t>
            </a:r>
            <a:r>
              <a:rPr lang="zh-CN" altLang="en-US" smtClean="0"/>
              <a:t>的论文，提出了关系模型的概念，奠定了关系模型的理论基础。后来，</a:t>
            </a:r>
            <a:r>
              <a:rPr lang="en-US" altLang="zh-CN" smtClean="0"/>
              <a:t>Codd</a:t>
            </a:r>
            <a:r>
              <a:rPr lang="zh-CN" altLang="en-US" smtClean="0"/>
              <a:t>博士继续发表多篇文章，论述范式理论和衡量关系系统的</a:t>
            </a:r>
            <a:r>
              <a:rPr lang="en-US" altLang="zh-CN" smtClean="0"/>
              <a:t>12</a:t>
            </a:r>
            <a:r>
              <a:rPr lang="zh-CN" altLang="en-US" smtClean="0"/>
              <a:t>条标准，用数学理论奠定了关系模型的基础。</a:t>
            </a:r>
            <a:endParaRPr lang="en-US" altLang="zh-CN" smtClean="0"/>
          </a:p>
          <a:p>
            <a:pPr lvl="0"/>
            <a:r>
              <a:rPr lang="zh-CN" altLang="en-US" smtClean="0"/>
              <a:t>关系模型是建立在集合代数基础上的。关系模型是一组关系组成的。每个关系的数据结构都是一张规范化的二维表，如胶片中的学生信息表为例。一个关系通常对应一张表。</a:t>
            </a:r>
            <a:endParaRPr lang="en-US" altLang="zh-CN" smtClean="0"/>
          </a:p>
          <a:p>
            <a:pPr lvl="1"/>
            <a:r>
              <a:rPr lang="zh-CN" altLang="en-US" smtClean="0"/>
              <a:t>元组：表中的一行为一个元组</a:t>
            </a:r>
            <a:endParaRPr lang="en-US" altLang="zh-CN" smtClean="0"/>
          </a:p>
          <a:p>
            <a:pPr lvl="1"/>
            <a:r>
              <a:rPr lang="zh-CN" altLang="en-US" smtClean="0"/>
              <a:t>属性：表中的一列为一个属性</a:t>
            </a:r>
            <a:endParaRPr lang="en-US" altLang="zh-CN" smtClean="0"/>
          </a:p>
          <a:p>
            <a:pPr lvl="1"/>
            <a:r>
              <a:rPr lang="zh-CN" altLang="en-US" smtClean="0"/>
              <a:t>码：也称为键</a:t>
            </a:r>
            <a:endParaRPr lang="en-US" altLang="zh-CN" smtClean="0"/>
          </a:p>
          <a:p>
            <a:pPr lvl="1"/>
            <a:r>
              <a:rPr lang="zh-CN" altLang="en-US" smtClean="0"/>
              <a:t>域：一组相同数据类型的值的集合</a:t>
            </a:r>
            <a:endParaRPr lang="en-US" altLang="zh-CN" smtClean="0"/>
          </a:p>
          <a:p>
            <a:pPr lvl="1"/>
            <a:r>
              <a:rPr lang="zh-CN" altLang="en-US" smtClean="0"/>
              <a:t>关系模式： 关系名（属性</a:t>
            </a:r>
            <a:r>
              <a:rPr lang="en-US" altLang="zh-CN" smtClean="0"/>
              <a:t>1</a:t>
            </a:r>
            <a:r>
              <a:rPr lang="zh-CN" altLang="en-US" smtClean="0"/>
              <a:t>，属性</a:t>
            </a:r>
            <a:r>
              <a:rPr lang="en-US" altLang="zh-CN" smtClean="0"/>
              <a:t>2</a:t>
            </a:r>
            <a:r>
              <a:rPr lang="zh-CN" altLang="en-US" smtClean="0"/>
              <a:t>，属性</a:t>
            </a:r>
            <a:r>
              <a:rPr lang="en-US" altLang="zh-CN" smtClean="0"/>
              <a:t>3</a:t>
            </a:r>
            <a:r>
              <a:rPr lang="zh-CN" altLang="en-US" smtClean="0"/>
              <a:t>，</a:t>
            </a:r>
            <a:r>
              <a:rPr lang="en-US" altLang="zh-CN" smtClean="0"/>
              <a:t>…..,</a:t>
            </a:r>
            <a:r>
              <a:rPr lang="zh-CN" altLang="en-US" smtClean="0"/>
              <a:t>属性</a:t>
            </a:r>
            <a:r>
              <a:rPr lang="en-US" altLang="zh-CN" smtClean="0"/>
              <a:t>n</a:t>
            </a:r>
            <a:r>
              <a:rPr lang="zh-CN" altLang="en-US" smtClean="0"/>
              <a:t>）</a:t>
            </a:r>
            <a:endParaRPr lang="en-US" altLang="zh-CN" smtClean="0"/>
          </a:p>
          <a:p>
            <a:pPr lvl="1"/>
            <a:r>
              <a:rPr lang="zh-CN" altLang="en-US" smtClean="0"/>
              <a:t>比如例子中的关系就是 学生（学号，姓名，年龄，性别）</a:t>
            </a:r>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格式化模型中数据结构的基本单位是基本层次联系，基本层次联系指的是两个记录以及他们之间的一对多（包括一对一）的联系。它是单记录的操作方式。 </a:t>
            </a:r>
            <a:endParaRPr lang="en-US" altLang="zh-CN" smtClean="0"/>
          </a:p>
          <a:p>
            <a:pPr lvl="0"/>
            <a:r>
              <a:rPr lang="zh-CN" altLang="en-US" smtClean="0"/>
              <a:t>格式化模型中实体用记录表示，实体的属性对应记录的数据项（或字段），实体之间的联系在格式化模型中转成记录之间的两两联系。</a:t>
            </a:r>
            <a:endParaRPr lang="en-US" altLang="zh-CN" smtClean="0"/>
          </a:p>
          <a:p>
            <a:pPr lvl="0"/>
            <a:r>
              <a:rPr lang="zh-CN" altLang="en-US" smtClean="0"/>
              <a:t>存取路径反映数据之间的联系的意思是：任何一个给定的记录值只能按其层次路径查看，没有一个子女记录值能够脱离双亲记录值而独立存在。</a:t>
            </a:r>
            <a:endParaRPr lang="en-US" altLang="zh-CN" smtClean="0"/>
          </a:p>
          <a:p>
            <a:pPr lvl="0"/>
            <a:r>
              <a:rPr lang="zh-CN" altLang="en-US" smtClean="0"/>
              <a:t>层次模型和网状模型查询效率高：是因为数据之间联系在程序中常用指针来实现，沿着指针路径就能很快找到记录值。</a:t>
            </a:r>
            <a:endParaRPr lang="en-US" altLang="zh-CN" smtClean="0"/>
          </a:p>
          <a:p>
            <a:pPr lvl="0"/>
            <a:r>
              <a:rPr lang="zh-CN" altLang="en-US" smtClean="0"/>
              <a:t>完整性支持就是数据操作的约束：没有双亲，不能插入子女；删除双亲，子女同时删除。</a:t>
            </a:r>
            <a:endParaRPr lang="en-US" altLang="zh-CN" smtClean="0"/>
          </a:p>
          <a:p>
            <a:pPr lvl="0"/>
            <a:r>
              <a:rPr lang="zh-CN" altLang="en-US" smtClean="0"/>
              <a:t>关系数据库中每个元组应该是可区分的，唯一的。保证条件是依靠实体完整性实现。</a:t>
            </a:r>
            <a:endParaRPr lang="en-US" altLang="zh-CN" smtClean="0"/>
          </a:p>
          <a:p>
            <a:pPr lvl="1"/>
            <a:r>
              <a:rPr lang="zh-CN" altLang="en-US" smtClean="0"/>
              <a:t>实体完整性：简单的说就是主键不能为空</a:t>
            </a:r>
            <a:endParaRPr lang="en-US" altLang="zh-CN" smtClean="0"/>
          </a:p>
          <a:p>
            <a:pPr lvl="1"/>
            <a:r>
              <a:rPr lang="zh-CN" altLang="en-US" smtClean="0"/>
              <a:t>参照完整性：简单说就是主键和外键关系</a:t>
            </a:r>
            <a:endParaRPr lang="en-US" altLang="zh-CN" smtClean="0"/>
          </a:p>
          <a:p>
            <a:pPr lvl="1"/>
            <a:r>
              <a:rPr lang="zh-CN" altLang="en-US" smtClean="0"/>
              <a:t>用户定义完整性：针对某一具体的约束条件，比如唯一值</a:t>
            </a:r>
            <a:endParaRPr lang="en-US" altLang="zh-CN" smtClean="0"/>
          </a:p>
          <a:p>
            <a:pPr lvl="0"/>
            <a:r>
              <a:rPr lang="zh-CN" altLang="en-US" smtClean="0"/>
              <a:t>关系模型不足：效率的问题在早期，</a:t>
            </a:r>
            <a:r>
              <a:rPr lang="en-US" altLang="zh-CN" smtClean="0"/>
              <a:t>1980</a:t>
            </a:r>
            <a:r>
              <a:rPr lang="zh-CN" altLang="en-US" smtClean="0"/>
              <a:t>年前后，但后来随着硬件的增长，这种效率的差异已经远远比不上关系模型强大的灵活性以及独立型，降低了程序员的开发工作量，也降低了用户的使用门槛。所以迅速取代了层次和网状模型，成为几十年的主流技术。</a:t>
            </a:r>
            <a:endParaRPr lang="en-US" altLang="zh-CN" smtClean="0"/>
          </a:p>
          <a:p>
            <a:pPr lvl="0"/>
            <a:r>
              <a:rPr lang="en-US" altLang="zh-CN" smtClean="0"/>
              <a:t>1985</a:t>
            </a:r>
            <a:r>
              <a:rPr lang="zh-CN" altLang="en-US" smtClean="0"/>
              <a:t>年，当时曾经的最大的独立软件公司</a:t>
            </a:r>
            <a:r>
              <a:rPr lang="en-US" altLang="zh-CN" smtClean="0"/>
              <a:t>Cullinet(</a:t>
            </a:r>
            <a:r>
              <a:rPr lang="zh-CN" altLang="en-US" smtClean="0"/>
              <a:t>主要销售网状数据库</a:t>
            </a:r>
            <a:r>
              <a:rPr lang="en-US" altLang="zh-CN" smtClean="0"/>
              <a:t>)</a:t>
            </a:r>
            <a:r>
              <a:rPr lang="zh-CN" altLang="en-US" smtClean="0"/>
              <a:t>快速衰退，标志着格式化模型数据库开始衰落。</a:t>
            </a:r>
            <a:endParaRPr lang="en-US" altLang="zh-CN" smtClean="0"/>
          </a:p>
          <a:p>
            <a:pPr lvl="0"/>
            <a:endParaRPr lang="en-US" altLang="zh-CN" smtClean="0"/>
          </a:p>
          <a:p>
            <a:pPr lvl="0"/>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关系模型的提出是数据库发展史上具有划时代的重大事件。关系理论研究和关系数据库管理系统研制的巨大成功进一步促进了关系数据库的发展，使关系数据模型成为具有统治地位的数据模型。</a:t>
            </a:r>
            <a:endParaRPr lang="en-US" altLang="zh-CN" smtClean="0"/>
          </a:p>
          <a:p>
            <a:pPr lvl="0"/>
            <a:r>
              <a:rPr lang="zh-CN" altLang="en-US" smtClean="0"/>
              <a:t>本页对主要的数据库产品的产生历史时间进行了时间轴展示。</a:t>
            </a:r>
            <a:endParaRPr lang="en-US" altLang="zh-CN" smtClean="0"/>
          </a:p>
          <a:p>
            <a:pPr lvl="0"/>
            <a:r>
              <a:rPr lang="en-US" altLang="zh-CN" smtClean="0"/>
              <a:t>Oracle</a:t>
            </a:r>
            <a:r>
              <a:rPr lang="zh-CN" altLang="en-US" smtClean="0"/>
              <a:t>，美国甲骨文公司， 世界上最热门的关系数据库之一。</a:t>
            </a:r>
            <a:endParaRPr lang="en-US" altLang="zh-CN" smtClean="0"/>
          </a:p>
          <a:p>
            <a:pPr lvl="1"/>
            <a:r>
              <a:rPr lang="en-US" altLang="zh-CN" smtClean="0"/>
              <a:t>1977</a:t>
            </a:r>
            <a:r>
              <a:rPr lang="zh-CN" altLang="en-US" smtClean="0"/>
              <a:t>年：劳伦斯</a:t>
            </a:r>
            <a:r>
              <a:rPr lang="en-US" altLang="zh-CN" smtClean="0"/>
              <a:t>·</a:t>
            </a:r>
            <a:r>
              <a:rPr lang="zh-CN" altLang="en-US" smtClean="0"/>
              <a:t>埃里森与同事鲍勃</a:t>
            </a:r>
            <a:r>
              <a:rPr lang="en-US" altLang="zh-CN" smtClean="0"/>
              <a:t>·</a:t>
            </a:r>
            <a:r>
              <a:rPr lang="zh-CN" altLang="en-US" smtClean="0"/>
              <a:t>迈纳创立公司，“软件开发实验室”（</a:t>
            </a:r>
            <a:r>
              <a:rPr lang="en-US" altLang="zh-CN" smtClean="0"/>
              <a:t>Software Development Labs</a:t>
            </a:r>
            <a:r>
              <a:rPr lang="zh-CN" altLang="en-US" smtClean="0"/>
              <a:t>，</a:t>
            </a:r>
            <a:r>
              <a:rPr lang="en-US" altLang="zh-CN" smtClean="0"/>
              <a:t>SDL</a:t>
            </a:r>
            <a:r>
              <a:rPr lang="zh-CN" altLang="en-US" smtClean="0"/>
              <a:t>），基于</a:t>
            </a:r>
            <a:r>
              <a:rPr lang="en-US" altLang="zh-CN" smtClean="0"/>
              <a:t>Codd</a:t>
            </a:r>
            <a:r>
              <a:rPr lang="zh-CN" altLang="en-US" smtClean="0"/>
              <a:t>博士发表“关系数据库”的论文，开发第一版</a:t>
            </a:r>
            <a:r>
              <a:rPr lang="en-US" altLang="zh-CN" smtClean="0"/>
              <a:t>Oracle</a:t>
            </a:r>
            <a:r>
              <a:rPr lang="zh-CN" altLang="en-US" smtClean="0"/>
              <a:t>系统，名为甲骨文，汇编语言完成。</a:t>
            </a:r>
            <a:endParaRPr lang="en-US" altLang="zh-CN" smtClean="0"/>
          </a:p>
          <a:p>
            <a:pPr lvl="1"/>
            <a:r>
              <a:rPr lang="zh-CN" altLang="en-US" smtClean="0"/>
              <a:t>取得成功的几个优势，</a:t>
            </a:r>
            <a:r>
              <a:rPr lang="en-US" altLang="zh-CN" smtClean="0"/>
              <a:t>1.</a:t>
            </a:r>
            <a:r>
              <a:rPr lang="zh-CN" altLang="en-US" smtClean="0"/>
              <a:t>开放性，能够在当时所有主流平台上运行，完全支持各种工业标准，兼容性强；</a:t>
            </a:r>
            <a:r>
              <a:rPr lang="en-US" altLang="zh-CN" smtClean="0"/>
              <a:t>2.</a:t>
            </a:r>
            <a:r>
              <a:rPr lang="zh-CN" altLang="en-US" smtClean="0"/>
              <a:t>安全性高，</a:t>
            </a:r>
            <a:r>
              <a:rPr lang="en-US" altLang="zh-CN" smtClean="0"/>
              <a:t>3.</a:t>
            </a:r>
            <a:r>
              <a:rPr lang="zh-CN" altLang="en-US" smtClean="0"/>
              <a:t>性能高，在开放平台下，数据库专业测试成绩常年领先。</a:t>
            </a:r>
            <a:r>
              <a:rPr lang="en-US" altLang="zh-CN" smtClean="0"/>
              <a:t>4.</a:t>
            </a:r>
            <a:r>
              <a:rPr lang="zh-CN" altLang="en-US" smtClean="0"/>
              <a:t>在</a:t>
            </a:r>
            <a:r>
              <a:rPr lang="en-US" altLang="zh-CN" smtClean="0"/>
              <a:t>20</a:t>
            </a:r>
            <a:r>
              <a:rPr lang="zh-CN" altLang="en-US" smtClean="0"/>
              <a:t>世纪</a:t>
            </a:r>
            <a:r>
              <a:rPr lang="en-US" altLang="zh-CN" smtClean="0"/>
              <a:t>8,90</a:t>
            </a:r>
            <a:r>
              <a:rPr lang="zh-CN" altLang="en-US" smtClean="0"/>
              <a:t>年代，始终紧跟和引领关系数据库的技术趋势。</a:t>
            </a:r>
            <a:endParaRPr lang="en-US" altLang="zh-CN" smtClean="0"/>
          </a:p>
          <a:p>
            <a:pPr lvl="1"/>
            <a:r>
              <a:rPr lang="zh-CN" altLang="en-US" smtClean="0"/>
              <a:t>另外，在</a:t>
            </a:r>
            <a:r>
              <a:rPr lang="en-US" altLang="zh-CN" smtClean="0"/>
              <a:t>2009</a:t>
            </a:r>
            <a:r>
              <a:rPr lang="zh-CN" altLang="en-US" smtClean="0"/>
              <a:t>年发布</a:t>
            </a:r>
            <a:r>
              <a:rPr lang="en-US" altLang="zh-CN" smtClean="0"/>
              <a:t>Oracle EXADATA</a:t>
            </a:r>
            <a:r>
              <a:rPr lang="zh-CN" altLang="en-US" smtClean="0"/>
              <a:t>一体机产品，争夺高端</a:t>
            </a:r>
            <a:r>
              <a:rPr lang="en-US" altLang="zh-CN" smtClean="0"/>
              <a:t>OLAP</a:t>
            </a:r>
            <a:r>
              <a:rPr lang="zh-CN" altLang="en-US" smtClean="0"/>
              <a:t>市场。</a:t>
            </a:r>
            <a:endParaRPr lang="en-US" altLang="zh-CN" smtClean="0"/>
          </a:p>
          <a:p>
            <a:pPr lvl="0"/>
            <a:r>
              <a:rPr lang="en-US" altLang="zh-CN" smtClean="0"/>
              <a:t>Teradata</a:t>
            </a:r>
            <a:r>
              <a:rPr lang="zh-CN" altLang="en-US" smtClean="0"/>
              <a:t>，美国天睿公司</a:t>
            </a:r>
            <a:r>
              <a:rPr lang="en-US" altLang="zh-CN" smtClean="0"/>
              <a:t>1979</a:t>
            </a:r>
            <a:r>
              <a:rPr lang="zh-CN" altLang="en-US" smtClean="0"/>
              <a:t>年成立，</a:t>
            </a:r>
            <a:r>
              <a:rPr lang="en-US" altLang="zh-CN" smtClean="0"/>
              <a:t>1984</a:t>
            </a:r>
            <a:r>
              <a:rPr lang="zh-CN" altLang="en-US" smtClean="0"/>
              <a:t>年发布第一个数据库计算机</a:t>
            </a:r>
            <a:r>
              <a:rPr lang="en-US" altLang="zh-CN" smtClean="0"/>
              <a:t>DBC/1012, </a:t>
            </a:r>
            <a:r>
              <a:rPr lang="zh-CN" altLang="en-US" smtClean="0"/>
              <a:t>是最早采用大规模并行处理（</a:t>
            </a:r>
            <a:r>
              <a:rPr lang="en-US" altLang="zh-CN" smtClean="0"/>
              <a:t>MPP</a:t>
            </a:r>
            <a:r>
              <a:rPr lang="zh-CN" altLang="en-US" smtClean="0"/>
              <a:t>）架构的数据库专用平台，早期主要是一体机形式出现，定位是大型数据仓库系统，因为专有的软硬件形式，所以具备优异的</a:t>
            </a:r>
            <a:r>
              <a:rPr lang="en-US" altLang="zh-CN" smtClean="0"/>
              <a:t>OLAP</a:t>
            </a:r>
            <a:r>
              <a:rPr lang="zh-CN" altLang="en-US" smtClean="0"/>
              <a:t>性能，但是价格也非常昂贵。</a:t>
            </a:r>
            <a:endParaRPr lang="en-US" altLang="zh-CN" smtClean="0"/>
          </a:p>
          <a:p>
            <a:pPr lvl="0"/>
            <a:r>
              <a:rPr lang="en-US" altLang="zh-CN" smtClean="0"/>
              <a:t>DB2</a:t>
            </a:r>
            <a:r>
              <a:rPr lang="zh-CN" altLang="en-US" smtClean="0"/>
              <a:t>，美国</a:t>
            </a:r>
            <a:r>
              <a:rPr lang="en-US" altLang="zh-CN" smtClean="0"/>
              <a:t>IBM</a:t>
            </a:r>
            <a:r>
              <a:rPr lang="zh-CN" altLang="en-US" smtClean="0"/>
              <a:t>公司产品，</a:t>
            </a:r>
            <a:r>
              <a:rPr lang="en-US" altLang="zh-CN" smtClean="0"/>
              <a:t>1983</a:t>
            </a:r>
            <a:r>
              <a:rPr lang="zh-CN" altLang="en-US" smtClean="0"/>
              <a:t>年发布的</a:t>
            </a:r>
            <a:r>
              <a:rPr lang="en-US" altLang="zh-CN" smtClean="0"/>
              <a:t>DB2</a:t>
            </a:r>
            <a:r>
              <a:rPr lang="zh-CN" altLang="en-US" smtClean="0"/>
              <a:t>智能在</a:t>
            </a:r>
            <a:r>
              <a:rPr lang="en-US" altLang="zh-CN" smtClean="0"/>
              <a:t>MVS</a:t>
            </a:r>
            <a:r>
              <a:rPr lang="zh-CN" altLang="en-US" smtClean="0"/>
              <a:t>系统（</a:t>
            </a:r>
            <a:r>
              <a:rPr lang="en-US" altLang="zh-CN" smtClean="0"/>
              <a:t>IBM</a:t>
            </a:r>
            <a:r>
              <a:rPr lang="zh-CN" altLang="en-US" smtClean="0"/>
              <a:t>公司</a:t>
            </a:r>
            <a:r>
              <a:rPr lang="en-US" altLang="zh-CN" smtClean="0"/>
              <a:t>80</a:t>
            </a:r>
            <a:r>
              <a:rPr lang="zh-CN" altLang="en-US" smtClean="0"/>
              <a:t>年代一种大型主机操作系统）上使用，</a:t>
            </a:r>
            <a:r>
              <a:rPr lang="en-US" altLang="zh-CN" smtClean="0"/>
              <a:t>IBM</a:t>
            </a:r>
            <a:r>
              <a:rPr lang="zh-CN" altLang="en-US" smtClean="0"/>
              <a:t>公司主推的关系数据库产品，一致为</a:t>
            </a:r>
            <a:r>
              <a:rPr lang="en-US" altLang="zh-CN" smtClean="0"/>
              <a:t>IBM</a:t>
            </a:r>
            <a:r>
              <a:rPr lang="zh-CN" altLang="en-US" smtClean="0"/>
              <a:t>的大型机和小型机服务，在</a:t>
            </a:r>
            <a:r>
              <a:rPr lang="en-US" altLang="zh-CN" smtClean="0"/>
              <a:t>1995</a:t>
            </a:r>
            <a:r>
              <a:rPr lang="zh-CN" altLang="en-US" smtClean="0"/>
              <a:t>年开始支持</a:t>
            </a:r>
            <a:r>
              <a:rPr lang="en-US" altLang="zh-CN" smtClean="0"/>
              <a:t>Windows</a:t>
            </a:r>
            <a:r>
              <a:rPr lang="zh-CN" altLang="en-US" smtClean="0"/>
              <a:t>，</a:t>
            </a:r>
            <a:r>
              <a:rPr lang="en-US" altLang="zh-CN" smtClean="0"/>
              <a:t>Unix</a:t>
            </a:r>
            <a:r>
              <a:rPr lang="zh-CN" altLang="en-US" smtClean="0"/>
              <a:t>等多个平台，叫</a:t>
            </a:r>
            <a:r>
              <a:rPr lang="en-US" altLang="zh-CN" smtClean="0"/>
              <a:t>DB2</a:t>
            </a:r>
            <a:r>
              <a:rPr lang="zh-CN" altLang="en-US" smtClean="0"/>
              <a:t>是因为</a:t>
            </a:r>
            <a:r>
              <a:rPr lang="en-US" altLang="zh-CN" smtClean="0"/>
              <a:t>DB1</a:t>
            </a:r>
            <a:r>
              <a:rPr lang="zh-CN" altLang="en-US" smtClean="0"/>
              <a:t>是层次型数据库。</a:t>
            </a:r>
            <a:endParaRPr lang="en-US" altLang="zh-CN" smtClean="0"/>
          </a:p>
          <a:p>
            <a:pPr lvl="0"/>
            <a:endParaRPr lang="zh-CN" altLang="en-US" smtClean="0"/>
          </a:p>
          <a:p>
            <a:pPr lvl="0"/>
            <a:endParaRPr lang="en-US" altLang="zh-CN" smtClean="0"/>
          </a:p>
          <a:p>
            <a:pPr lvl="0"/>
            <a:endParaRPr lang="en-US" altLang="zh-CN" smtClean="0"/>
          </a:p>
          <a:p>
            <a:pPr lvl="0"/>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smtClean="0"/>
              <a:t>Sql</a:t>
            </a:r>
            <a:r>
              <a:rPr lang="zh-CN" altLang="en-US" smtClean="0"/>
              <a:t>语言可以嵌套，可以通过高级对象实现过程化编程，所以具有很大的灵活性和功能，称为事实上的关系数据库通用语言标准。</a:t>
            </a:r>
            <a:endParaRPr lang="en-US" altLang="zh-CN" smtClean="0"/>
          </a:p>
          <a:p>
            <a:pPr lvl="0"/>
            <a:r>
              <a:rPr lang="en-US" altLang="zh-CN" smtClean="0"/>
              <a:t>SQL</a:t>
            </a:r>
            <a:r>
              <a:rPr lang="zh-CN" altLang="en-US" smtClean="0"/>
              <a:t>之父：唐</a:t>
            </a:r>
            <a:r>
              <a:rPr lang="en-US" altLang="zh-CN" smtClean="0"/>
              <a:t>-</a:t>
            </a:r>
            <a:r>
              <a:rPr lang="zh-CN" altLang="en-US" smtClean="0"/>
              <a:t>钱伯林（</a:t>
            </a:r>
            <a:r>
              <a:rPr lang="en-US" altLang="zh-CN" smtClean="0"/>
              <a:t>Don Chamberlin</a:t>
            </a:r>
            <a:r>
              <a:rPr lang="zh-CN" altLang="en-US" smtClean="0"/>
              <a:t>）。</a:t>
            </a:r>
            <a:endParaRPr lang="zh-CN" altLang="en-US" smtClean="0"/>
          </a:p>
          <a:p>
            <a:pPr lvl="0"/>
            <a:r>
              <a:rPr lang="zh-CN" altLang="en-US" smtClean="0"/>
              <a:t>参考信息：</a:t>
            </a:r>
            <a:endParaRPr lang="en-US" altLang="zh-CN" smtClean="0"/>
          </a:p>
          <a:p>
            <a:pPr lvl="1"/>
            <a:r>
              <a:rPr lang="en-US" altLang="zh-CN" smtClean="0"/>
              <a:t>SQL-2003</a:t>
            </a:r>
            <a:r>
              <a:rPr lang="zh-CN" altLang="en-US" smtClean="0"/>
              <a:t>在不远的将来还可能增加其他文档，以扩展标准来适应新出现的技术。</a:t>
            </a:r>
            <a:endParaRPr lang="zh-CN" altLang="en-US" smtClean="0"/>
          </a:p>
          <a:p>
            <a:pPr lvl="1"/>
            <a:r>
              <a:rPr lang="zh-CN" altLang="en-US" smtClean="0"/>
              <a:t>第一部分：</a:t>
            </a:r>
            <a:r>
              <a:rPr lang="en-US" altLang="zh-CN" smtClean="0"/>
              <a:t>SQL/</a:t>
            </a:r>
            <a:r>
              <a:rPr lang="zh-CN" altLang="en-US" smtClean="0"/>
              <a:t>结构，指定实现一致性的一般性需求，定义</a:t>
            </a:r>
            <a:r>
              <a:rPr lang="en-US" altLang="zh-CN" smtClean="0"/>
              <a:t>SQL</a:t>
            </a:r>
            <a:r>
              <a:rPr lang="zh-CN" altLang="en-US" smtClean="0"/>
              <a:t>的基本概念；</a:t>
            </a:r>
            <a:endParaRPr lang="zh-CN" altLang="en-US" smtClean="0"/>
          </a:p>
          <a:p>
            <a:pPr lvl="1"/>
            <a:r>
              <a:rPr lang="zh-CN" altLang="en-US" smtClean="0"/>
              <a:t>第二部分：</a:t>
            </a:r>
            <a:r>
              <a:rPr lang="en-US" altLang="zh-CN" smtClean="0"/>
              <a:t>SQL/</a:t>
            </a:r>
            <a:r>
              <a:rPr lang="zh-CN" altLang="en-US" smtClean="0"/>
              <a:t>基础，定义</a:t>
            </a:r>
            <a:r>
              <a:rPr lang="en-US" altLang="zh-CN" smtClean="0"/>
              <a:t>SQL</a:t>
            </a:r>
            <a:r>
              <a:rPr lang="zh-CN" altLang="en-US" smtClean="0"/>
              <a:t>的原发和操作；</a:t>
            </a:r>
            <a:endParaRPr lang="zh-CN" altLang="en-US" smtClean="0"/>
          </a:p>
          <a:p>
            <a:pPr lvl="1"/>
            <a:r>
              <a:rPr lang="zh-CN" altLang="en-US" smtClean="0"/>
              <a:t>第三部分：</a:t>
            </a:r>
            <a:r>
              <a:rPr lang="en-US" altLang="zh-CN" smtClean="0"/>
              <a:t>SQL/</a:t>
            </a:r>
            <a:r>
              <a:rPr lang="zh-CN" altLang="en-US" smtClean="0"/>
              <a:t>调用级接口，定义程序编程与</a:t>
            </a:r>
            <a:r>
              <a:rPr lang="en-US" altLang="zh-CN" smtClean="0"/>
              <a:t>SQL</a:t>
            </a:r>
            <a:r>
              <a:rPr lang="zh-CN" altLang="en-US" smtClean="0"/>
              <a:t>的接口；</a:t>
            </a:r>
            <a:endParaRPr lang="zh-CN" altLang="en-US" smtClean="0"/>
          </a:p>
          <a:p>
            <a:pPr lvl="1"/>
            <a:r>
              <a:rPr lang="zh-CN" altLang="en-US" smtClean="0"/>
              <a:t>第四部分：</a:t>
            </a:r>
            <a:r>
              <a:rPr lang="en-US" altLang="zh-CN" smtClean="0"/>
              <a:t>SQL/</a:t>
            </a:r>
            <a:r>
              <a:rPr lang="zh-CN" altLang="en-US" smtClean="0"/>
              <a:t>持久存储模块，定义控制结构，进而定义</a:t>
            </a:r>
            <a:r>
              <a:rPr lang="en-US" altLang="zh-CN" smtClean="0"/>
              <a:t>SQL</a:t>
            </a:r>
            <a:r>
              <a:rPr lang="zh-CN" altLang="en-US" smtClean="0"/>
              <a:t>例程。还定义了包含</a:t>
            </a:r>
            <a:r>
              <a:rPr lang="en-US" altLang="zh-CN" smtClean="0"/>
              <a:t>SQL</a:t>
            </a:r>
            <a:r>
              <a:rPr lang="zh-CN" altLang="en-US" smtClean="0"/>
              <a:t>例程的模块；</a:t>
            </a:r>
            <a:endParaRPr lang="zh-CN" altLang="en-US" smtClean="0"/>
          </a:p>
          <a:p>
            <a:pPr lvl="1"/>
            <a:r>
              <a:rPr lang="zh-CN" altLang="en-US" smtClean="0"/>
              <a:t>第五部分：</a:t>
            </a:r>
            <a:r>
              <a:rPr lang="en-US" altLang="zh-CN" smtClean="0"/>
              <a:t>SQL/</a:t>
            </a:r>
            <a:r>
              <a:rPr lang="zh-CN" altLang="en-US" smtClean="0"/>
              <a:t>主机语言绑定，定义</a:t>
            </a:r>
            <a:r>
              <a:rPr lang="en-US" altLang="zh-CN" smtClean="0"/>
              <a:t>SQL</a:t>
            </a:r>
            <a:r>
              <a:rPr lang="zh-CN" altLang="en-US" smtClean="0"/>
              <a:t>的扩展，用户通过使用数据包裹支持外部数据管理，还定义了数据链类型；</a:t>
            </a:r>
            <a:endParaRPr lang="zh-CN" altLang="en-US" smtClean="0"/>
          </a:p>
          <a:p>
            <a:pPr lvl="1"/>
            <a:r>
              <a:rPr lang="zh-CN" altLang="en-US" smtClean="0"/>
              <a:t>第六部分：对象语言绑定，定义</a:t>
            </a:r>
            <a:r>
              <a:rPr lang="en-US" altLang="zh-CN" smtClean="0"/>
              <a:t>SQL</a:t>
            </a:r>
            <a:r>
              <a:rPr lang="zh-CN" altLang="en-US" smtClean="0"/>
              <a:t>的扩展，支持把</a:t>
            </a:r>
            <a:r>
              <a:rPr lang="en-US" altLang="zh-CN" smtClean="0"/>
              <a:t>SQL</a:t>
            </a:r>
            <a:r>
              <a:rPr lang="zh-CN" altLang="en-US" smtClean="0"/>
              <a:t>语句内嵌到用</a:t>
            </a:r>
            <a:r>
              <a:rPr lang="en-US" altLang="zh-CN" smtClean="0"/>
              <a:t>Java</a:t>
            </a:r>
            <a:r>
              <a:rPr lang="zh-CN" altLang="en-US" smtClean="0"/>
              <a:t>编写的程序；</a:t>
            </a:r>
            <a:endParaRPr lang="zh-CN" altLang="en-US" smtClean="0"/>
          </a:p>
          <a:p>
            <a:pPr lvl="1"/>
            <a:r>
              <a:rPr lang="zh-CN" altLang="en-US" smtClean="0"/>
              <a:t>第七部分：信息和定义方案：定义信息方案和定义方案的规范，提供与</a:t>
            </a:r>
            <a:r>
              <a:rPr lang="en-US" altLang="zh-CN" smtClean="0"/>
              <a:t>SQL</a:t>
            </a:r>
            <a:r>
              <a:rPr lang="zh-CN" altLang="en-US" smtClean="0"/>
              <a:t>数据相关的结构和安全信息。</a:t>
            </a:r>
            <a:endParaRPr lang="zh-CN" altLang="en-US" smtClean="0"/>
          </a:p>
          <a:p>
            <a:r>
              <a:rPr lang="en-US" altLang="zh-CN" smtClean="0"/>
              <a:t>ANSI</a:t>
            </a:r>
            <a:r>
              <a:rPr lang="zh-CN" altLang="en-US" smtClean="0"/>
              <a:t>标准</a:t>
            </a:r>
            <a:r>
              <a:rPr lang="en-US" altLang="zh-CN" smtClean="0"/>
              <a:t>(SQL-2003)</a:t>
            </a:r>
            <a:r>
              <a:rPr lang="zh-CN" altLang="en-US" smtClean="0"/>
              <a:t>：对于新的</a:t>
            </a:r>
            <a:r>
              <a:rPr lang="en-US" altLang="zh-CN" smtClean="0"/>
              <a:t>ANSI</a:t>
            </a:r>
            <a:r>
              <a:rPr lang="zh-CN" altLang="en-US" smtClean="0"/>
              <a:t>标准</a:t>
            </a:r>
            <a:r>
              <a:rPr lang="en-US" altLang="zh-CN" smtClean="0"/>
              <a:t>(SQL-2003)</a:t>
            </a:r>
            <a:r>
              <a:rPr lang="zh-CN" altLang="en-US" smtClean="0"/>
              <a:t>，</a:t>
            </a:r>
            <a:r>
              <a:rPr lang="en-US" altLang="zh-CN" smtClean="0"/>
              <a:t>DBMS</a:t>
            </a:r>
            <a:r>
              <a:rPr lang="zh-CN" altLang="en-US" smtClean="0"/>
              <a:t>声称的兼容有两个级别：核心</a:t>
            </a:r>
            <a:r>
              <a:rPr lang="en-US" altLang="zh-CN" smtClean="0"/>
              <a:t>SQL</a:t>
            </a:r>
            <a:r>
              <a:rPr lang="zh-CN" altLang="en-US" smtClean="0"/>
              <a:t>支持和增强</a:t>
            </a:r>
            <a:r>
              <a:rPr lang="en-US" altLang="zh-CN" smtClean="0"/>
              <a:t>SQL</a:t>
            </a:r>
            <a:r>
              <a:rPr lang="zh-CN" altLang="en-US" smtClean="0"/>
              <a:t>支持。</a:t>
            </a:r>
            <a:endParaRPr lang="zh-CN" altLang="en-US" smtClean="0"/>
          </a:p>
          <a:p>
            <a:pPr lvl="0"/>
            <a:endParaRPr lang="en-US" altLang="zh-CN" dirty="0" smtClean="0"/>
          </a:p>
        </p:txBody>
      </p:sp>
      <p:sp>
        <p:nvSpPr>
          <p:cNvPr id="4" name="幻灯片图像占位符 3"/>
          <p:cNvSpPr>
            <a:spLocks noGrp="1" noRot="1" noChangeAspect="1"/>
          </p:cNvSpPr>
          <p:nvPr>
            <p:ph type="sldImg"/>
          </p:nvPr>
        </p:nvSpPr>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smtClean="0"/>
              <a:t>GaussDB</a:t>
            </a:r>
            <a:r>
              <a:rPr lang="zh-CN" altLang="en-US" smtClean="0"/>
              <a:t>，不仅蕴含着华为对数学和科学的无限敬畏，也承载着华为对基础软件的坚持和梦想。 </a:t>
            </a:r>
            <a:r>
              <a:rPr lang="en-US" altLang="zh-CN" smtClean="0"/>
              <a:t>-- </a:t>
            </a:r>
            <a:r>
              <a:rPr lang="zh-CN" altLang="en-US" smtClean="0"/>
              <a:t>华为</a:t>
            </a:r>
            <a:r>
              <a:rPr lang="en-US" altLang="zh-CN" smtClean="0"/>
              <a:t>GaussDB</a:t>
            </a:r>
            <a:r>
              <a:rPr lang="zh-CN" altLang="en-US" smtClean="0"/>
              <a:t>发布会</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产生原因：</a:t>
            </a:r>
            <a:endParaRPr lang="en-US" altLang="zh-CN" smtClean="0"/>
          </a:p>
          <a:p>
            <a:pPr lvl="1"/>
            <a:r>
              <a:rPr lang="zh-CN" altLang="en-US" smtClean="0"/>
              <a:t>随着数据库应用领域的扩展以及数据对象的多样化，出现了大量的半结构化和非结构化数据源，传统的关系数据模型开始暴露出许多弱点，比如对复杂对象的标识能力差，语义表达能力较弱，对文本、时间、空间、声音、图像和视频等数据类型的处理能力差等，为此，人们提出并发展了许多新的数据模型。</a:t>
            </a:r>
            <a:endParaRPr lang="en-US" altLang="zh-CN" smtClean="0"/>
          </a:p>
          <a:p>
            <a:pPr lvl="1"/>
            <a:r>
              <a:rPr lang="zh-CN" altLang="en-US" smtClean="0"/>
              <a:t>比如对于多媒体数据放入关系数据库中基本上都是以二进制数据流存放进去的，对于二进制数据流就有标识能力差，语义表达能力差，不利于检索查询等使用难点。</a:t>
            </a:r>
            <a:endParaRPr lang="en-US" altLang="zh-CN" smtClean="0"/>
          </a:p>
          <a:p>
            <a:pPr lvl="0"/>
            <a:r>
              <a:rPr lang="zh-CN" altLang="en-US" smtClean="0"/>
              <a:t>面向对象数据模型：没有单一固定的数据结构，编程人员可以给对象类型定义任何有用的结构，如链表、集合、数组等，此外，对象可以包含可变的复杂度，利用多重类型和多重结构。面向对象数据数据库企图完全替代关系数据库，但增加了企业系统升级负担，客户不接受，所以面向对象数据库产品除在一些特定应用市场外没有获得关系型数据库那样普遍的成功。</a:t>
            </a:r>
            <a:endParaRPr lang="en-US" altLang="zh-CN" smtClean="0"/>
          </a:p>
          <a:p>
            <a:pPr lvl="0"/>
            <a:r>
              <a:rPr lang="zh-CN" altLang="en-US" smtClean="0"/>
              <a:t>半结构化模型包括</a:t>
            </a:r>
            <a:r>
              <a:rPr lang="en-US" altLang="zh-CN" smtClean="0"/>
              <a:t>XML</a:t>
            </a:r>
            <a:r>
              <a:rPr lang="zh-CN" altLang="en-US" smtClean="0"/>
              <a:t>模型、</a:t>
            </a:r>
            <a:r>
              <a:rPr lang="en-US" altLang="zh-CN" smtClean="0"/>
              <a:t>RDF</a:t>
            </a:r>
            <a:r>
              <a:rPr lang="zh-CN" altLang="en-US" smtClean="0"/>
              <a:t>模型、</a:t>
            </a:r>
            <a:r>
              <a:rPr lang="en-US" altLang="zh-CN" smtClean="0"/>
              <a:t>JSON</a:t>
            </a:r>
            <a:r>
              <a:rPr lang="zh-CN" altLang="en-US" smtClean="0"/>
              <a:t>模型、图模型和超模型等。半结构化是想对结构化的关系数据表而言的， 纯文本是无结构化数据， </a:t>
            </a:r>
            <a:r>
              <a:rPr lang="en-US" altLang="zh-CN" smtClean="0"/>
              <a:t>XML</a:t>
            </a:r>
            <a:r>
              <a:rPr lang="zh-CN" altLang="en-US" smtClean="0"/>
              <a:t>这种标签化的是半结构化数据。</a:t>
            </a:r>
            <a:endParaRPr lang="en-US" altLang="zh-CN" smtClean="0"/>
          </a:p>
          <a:p>
            <a:pPr lvl="0"/>
            <a:r>
              <a:rPr lang="en-US" altLang="zh-CN" smtClean="0"/>
              <a:t>XML</a:t>
            </a:r>
            <a:r>
              <a:rPr lang="zh-CN" altLang="en-US" smtClean="0"/>
              <a:t>模型在数学</a:t>
            </a:r>
            <a:r>
              <a:rPr lang="en-US" altLang="zh-CN" smtClean="0"/>
              <a:t>(MathML)</a:t>
            </a:r>
            <a:r>
              <a:rPr lang="zh-CN" altLang="en-US" smtClean="0"/>
              <a:t>、 化学 </a:t>
            </a:r>
            <a:r>
              <a:rPr lang="en-US" altLang="zh-CN" smtClean="0"/>
              <a:t>(CML)</a:t>
            </a:r>
            <a:r>
              <a:rPr lang="zh-CN" altLang="en-US" smtClean="0"/>
              <a:t>、地理</a:t>
            </a:r>
            <a:r>
              <a:rPr lang="en-US" altLang="zh-CN" smtClean="0"/>
              <a:t>(GML)</a:t>
            </a:r>
            <a:r>
              <a:rPr lang="zh-CN" altLang="en-US" smtClean="0"/>
              <a:t>等领域也被广泛应用。</a:t>
            </a:r>
            <a:endParaRPr lang="en-US" altLang="zh-CN" smtClean="0"/>
          </a:p>
          <a:p>
            <a:pPr lvl="0"/>
            <a:r>
              <a:rPr lang="zh-CN" altLang="en-US" smtClean="0"/>
              <a:t>关系型数据库都采用扩展关系代数，通过库内函数的方式来支持</a:t>
            </a:r>
            <a:r>
              <a:rPr lang="en-US" altLang="zh-CN" smtClean="0"/>
              <a:t>XML</a:t>
            </a:r>
            <a:r>
              <a:rPr lang="zh-CN" altLang="en-US" smtClean="0"/>
              <a:t>模型的数据管理。</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图片来源：</a:t>
            </a:r>
            <a:r>
              <a:rPr lang="en-US" altLang="zh-CN" smtClean="0"/>
              <a:t>http://3ms.huawei.com/multimedia/docMaintain/mmMaintain.do?method=showMMDetail&amp;f_id=Img201508301658</a:t>
            </a:r>
            <a:r>
              <a:rPr lang="zh-CN" altLang="en-US" smtClean="0"/>
              <a:t>。</a:t>
            </a:r>
            <a:endParaRPr lang="en-US" altLang="zh-CN" smtClean="0"/>
          </a:p>
          <a:p>
            <a:pPr lvl="0"/>
            <a:r>
              <a:rPr lang="en-US" altLang="zh-CN" smtClean="0"/>
              <a:t>4V</a:t>
            </a:r>
            <a:r>
              <a:rPr lang="zh-CN" altLang="en-US" smtClean="0"/>
              <a:t>来源，</a:t>
            </a:r>
            <a:r>
              <a:rPr lang="en-US" altLang="zh-CN" smtClean="0"/>
              <a:t>Gartner</a:t>
            </a:r>
            <a:r>
              <a:rPr lang="zh-CN" altLang="en-US" smtClean="0"/>
              <a:t>分析员道格</a:t>
            </a:r>
            <a:r>
              <a:rPr lang="en-US" altLang="zh-CN" smtClean="0"/>
              <a:t>·</a:t>
            </a:r>
            <a:r>
              <a:rPr lang="zh-CN" altLang="en-US" smtClean="0"/>
              <a:t>莱尼在</a:t>
            </a:r>
            <a:r>
              <a:rPr lang="en-US" altLang="zh-CN" smtClean="0"/>
              <a:t>2001</a:t>
            </a:r>
            <a:r>
              <a:rPr lang="zh-CN" altLang="en-US" smtClean="0"/>
              <a:t>的分析中指出，数据增长有三个方向的挑战和机遇，量</a:t>
            </a:r>
            <a:r>
              <a:rPr lang="en-US" altLang="zh-CN" smtClean="0"/>
              <a:t>(Volume)  </a:t>
            </a:r>
            <a:r>
              <a:rPr lang="zh-CN" altLang="en-US" smtClean="0"/>
              <a:t>速 </a:t>
            </a:r>
            <a:r>
              <a:rPr lang="en-US" altLang="zh-CN" smtClean="0"/>
              <a:t>(Velocity)  </a:t>
            </a:r>
            <a:r>
              <a:rPr lang="zh-CN" altLang="en-US" smtClean="0"/>
              <a:t>类</a:t>
            </a:r>
            <a:r>
              <a:rPr lang="en-US" altLang="zh-CN" smtClean="0"/>
              <a:t>(Variety)</a:t>
            </a:r>
            <a:r>
              <a:rPr lang="zh-CN" altLang="en-US" smtClean="0"/>
              <a:t>。</a:t>
            </a:r>
            <a:endParaRPr lang="en-US" altLang="zh-CN" smtClean="0"/>
          </a:p>
          <a:p>
            <a:pPr lvl="0"/>
            <a:r>
              <a:rPr lang="zh-CN" altLang="en-US" smtClean="0"/>
              <a:t>在此基础上，</a:t>
            </a:r>
            <a:r>
              <a:rPr lang="en-US" altLang="zh-CN" smtClean="0"/>
              <a:t>IBM</a:t>
            </a:r>
            <a:r>
              <a:rPr lang="zh-CN" altLang="en-US" smtClean="0"/>
              <a:t>提出</a:t>
            </a:r>
            <a:r>
              <a:rPr lang="en-US" altLang="zh-CN" smtClean="0"/>
              <a:t>4V</a:t>
            </a:r>
            <a:r>
              <a:rPr lang="zh-CN" altLang="en-US" smtClean="0"/>
              <a:t>特征得到业界广泛认可。</a:t>
            </a:r>
            <a:endParaRPr lang="zh-CN" altLang="en-US" smtClean="0"/>
          </a:p>
          <a:p>
            <a:pPr lvl="0"/>
            <a:r>
              <a:rPr lang="zh-CN" altLang="en-US" smtClean="0"/>
              <a:t>大数据的</a:t>
            </a:r>
            <a:r>
              <a:rPr lang="en-US" altLang="zh-CN" smtClean="0"/>
              <a:t>4V</a:t>
            </a:r>
            <a:r>
              <a:rPr lang="zh-CN" altLang="en-US" smtClean="0"/>
              <a:t>特征：</a:t>
            </a:r>
            <a:endParaRPr lang="zh-CN" altLang="en-US" smtClean="0"/>
          </a:p>
          <a:p>
            <a:pPr lvl="1"/>
            <a:r>
              <a:rPr lang="zh-CN" altLang="en-US" smtClean="0"/>
              <a:t>数量</a:t>
            </a:r>
            <a:r>
              <a:rPr lang="en-US" altLang="zh-CN" smtClean="0"/>
              <a:t>Volume</a:t>
            </a:r>
            <a:r>
              <a:rPr lang="zh-CN" altLang="en-US" smtClean="0"/>
              <a:t>，数据巨大，</a:t>
            </a:r>
            <a:r>
              <a:rPr lang="en-US" altLang="zh-CN" smtClean="0"/>
              <a:t>TB</a:t>
            </a:r>
            <a:r>
              <a:rPr lang="zh-CN" altLang="en-US" smtClean="0"/>
              <a:t>级已经上升到</a:t>
            </a:r>
            <a:r>
              <a:rPr lang="en-US" altLang="zh-CN" smtClean="0"/>
              <a:t>PB</a:t>
            </a:r>
            <a:r>
              <a:rPr lang="zh-CN" altLang="en-US" smtClean="0"/>
              <a:t>级别；</a:t>
            </a:r>
            <a:endParaRPr lang="zh-CN" altLang="en-US" smtClean="0"/>
          </a:p>
          <a:p>
            <a:pPr lvl="1"/>
            <a:r>
              <a:rPr lang="zh-CN" altLang="en-US" smtClean="0"/>
              <a:t>多样性</a:t>
            </a:r>
            <a:r>
              <a:rPr lang="en-US" altLang="zh-CN" smtClean="0"/>
              <a:t>Variety</a:t>
            </a:r>
            <a:r>
              <a:rPr lang="zh-CN" altLang="en-US" smtClean="0"/>
              <a:t>，数据类型繁多，格式化数据，还包括互联网的网络日志，视频，图片，地理位置信息等， 半结构化数据，非结构化数据；</a:t>
            </a:r>
            <a:endParaRPr lang="en-US" altLang="zh-CN" smtClean="0"/>
          </a:p>
          <a:p>
            <a:pPr lvl="1"/>
            <a:r>
              <a:rPr lang="zh-CN" altLang="en-US" smtClean="0"/>
              <a:t>价值</a:t>
            </a:r>
            <a:r>
              <a:rPr lang="en-US" altLang="zh-CN" smtClean="0"/>
              <a:t>Value</a:t>
            </a:r>
            <a:r>
              <a:rPr lang="zh-CN" altLang="en-US" smtClean="0"/>
              <a:t>：数据价值密度相对较低；</a:t>
            </a:r>
            <a:endParaRPr lang="zh-CN" altLang="en-US" smtClean="0"/>
          </a:p>
          <a:p>
            <a:pPr lvl="1"/>
            <a:r>
              <a:rPr lang="zh-CN" altLang="en-US" smtClean="0"/>
              <a:t>速度</a:t>
            </a:r>
            <a:r>
              <a:rPr lang="en-US" altLang="zh-CN" smtClean="0"/>
              <a:t>Velocity</a:t>
            </a:r>
            <a:r>
              <a:rPr lang="zh-CN" altLang="en-US" smtClean="0"/>
              <a:t>：</a:t>
            </a:r>
            <a:r>
              <a:rPr lang="en-US" altLang="zh-CN" smtClean="0"/>
              <a:t>Iot</a:t>
            </a:r>
            <a:r>
              <a:rPr lang="zh-CN" altLang="en-US" smtClean="0"/>
              <a:t>应用要处理速度快，实时消息处理系统等；</a:t>
            </a:r>
            <a:endParaRPr lang="zh-CN" altLang="en-US" smtClean="0"/>
          </a:p>
          <a:p>
            <a:pPr lvl="1"/>
            <a:r>
              <a:rPr lang="zh-CN" altLang="en-US" smtClean="0"/>
              <a:t>真实性</a:t>
            </a:r>
            <a:r>
              <a:rPr lang="en-US" altLang="zh-CN" smtClean="0"/>
              <a:t>Veracity</a:t>
            </a:r>
            <a:r>
              <a:rPr lang="zh-CN" altLang="en-US" smtClean="0"/>
              <a:t>：追求高质量数据。 海量数据中有价值的数据要挖掘出来，数据里面存在大量的噪音，低价值数据。 数据价值密度低。需要挖掘出高价值信息。</a:t>
            </a:r>
            <a:endParaRPr lang="zh-CN" altLang="en-US" smtClean="0"/>
          </a:p>
          <a:p>
            <a:pPr lvl="0"/>
            <a:endParaRPr lang="zh-CN" altLang="en-US"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备注占位符 4"/>
          <p:cNvSpPr>
            <a:spLocks noGrp="1"/>
          </p:cNvSpPr>
          <p:nvPr>
            <p:ph type="body" idx="1"/>
          </p:nvPr>
        </p:nvSpPr>
        <p:spPr/>
        <p:txBody>
          <a:bodyPr/>
          <a:lstStyle/>
          <a:p>
            <a:r>
              <a:rPr lang="en-US" altLang="zh-CN" dirty="0" smtClean="0"/>
              <a:t>NoSQL</a:t>
            </a:r>
            <a:r>
              <a:rPr lang="zh-CN" altLang="en-US" dirty="0" smtClean="0"/>
              <a:t>一词最早出现于</a:t>
            </a:r>
            <a:r>
              <a:rPr lang="en-US" altLang="zh-CN" dirty="0" smtClean="0"/>
              <a:t>1998</a:t>
            </a:r>
            <a:r>
              <a:rPr lang="zh-CN" altLang="en-US" dirty="0" smtClean="0"/>
              <a:t>年，是</a:t>
            </a:r>
            <a:r>
              <a:rPr lang="en-US" altLang="zh-CN" dirty="0" smtClean="0"/>
              <a:t>Carlo </a:t>
            </a:r>
            <a:r>
              <a:rPr lang="en-US" altLang="zh-CN" dirty="0" err="1" smtClean="0"/>
              <a:t>Strozzi</a:t>
            </a:r>
            <a:r>
              <a:rPr lang="zh-CN" altLang="en-US" dirty="0" smtClean="0"/>
              <a:t>开发的一个轻量级的、开源的、不提供</a:t>
            </a:r>
            <a:r>
              <a:rPr lang="en-US" altLang="zh-CN" dirty="0" smtClean="0"/>
              <a:t>SQL</a:t>
            </a:r>
            <a:r>
              <a:rPr lang="zh-CN" altLang="en-US" dirty="0" smtClean="0"/>
              <a:t>功能，基于</a:t>
            </a:r>
            <a:r>
              <a:rPr lang="en-US" altLang="zh-CN" dirty="0" smtClean="0"/>
              <a:t>shell</a:t>
            </a:r>
            <a:r>
              <a:rPr lang="zh-CN" altLang="en-US" dirty="0" smtClean="0"/>
              <a:t>的关系数据库（</a:t>
            </a:r>
            <a:r>
              <a:rPr lang="en-US" altLang="zh-CN" dirty="0" smtClean="0"/>
              <a:t>Does NOT express queries using SQL</a:t>
            </a:r>
            <a:r>
              <a:rPr lang="zh-CN" altLang="en-US" dirty="0" smtClean="0"/>
              <a:t>）。</a:t>
            </a:r>
            <a:endParaRPr lang="zh-CN" altLang="en-US" dirty="0" smtClean="0"/>
          </a:p>
          <a:p>
            <a:r>
              <a:rPr lang="en-US" altLang="zh-CN" dirty="0" smtClean="0"/>
              <a:t>2009</a:t>
            </a:r>
            <a:r>
              <a:rPr lang="zh-CN" altLang="en-US" dirty="0" smtClean="0"/>
              <a:t>年再次提出，概念已经天翻地覆的改变，现在被广泛接受的</a:t>
            </a:r>
            <a:r>
              <a:rPr lang="en-US" altLang="zh-CN" dirty="0" smtClean="0"/>
              <a:t>NoSQL</a:t>
            </a:r>
            <a:r>
              <a:rPr lang="zh-CN" altLang="en-US" dirty="0" smtClean="0"/>
              <a:t>，意思是“不仅仅是</a:t>
            </a:r>
            <a:r>
              <a:rPr lang="en-US" altLang="zh-CN" dirty="0" smtClean="0"/>
              <a:t>SQL” Not Only SQL</a:t>
            </a:r>
            <a:r>
              <a:rPr lang="zh-CN" altLang="en-US" dirty="0" smtClean="0"/>
              <a:t>。</a:t>
            </a:r>
            <a:endParaRPr lang="en-US" altLang="zh-CN" dirty="0" smtClean="0"/>
          </a:p>
          <a:p>
            <a:r>
              <a:rPr lang="en-US" altLang="zh-CN" dirty="0" smtClean="0"/>
              <a:t>CAP</a:t>
            </a:r>
            <a:r>
              <a:rPr lang="zh-CN" altLang="en-US" dirty="0" smtClean="0"/>
              <a:t>理论指出：任何分布式系统无法同时满足一 致性</a:t>
            </a:r>
            <a:r>
              <a:rPr lang="en-US" altLang="zh-CN" dirty="0" smtClean="0"/>
              <a:t>(consistency)</a:t>
            </a:r>
            <a:r>
              <a:rPr lang="zh-CN" altLang="en-US" dirty="0" smtClean="0"/>
              <a:t>、可用性</a:t>
            </a:r>
            <a:r>
              <a:rPr lang="en-US" altLang="zh-CN" dirty="0" smtClean="0"/>
              <a:t>(</a:t>
            </a:r>
            <a:r>
              <a:rPr lang="en-US" altLang="zh-CN" dirty="0" err="1" smtClean="0"/>
              <a:t>availab</a:t>
            </a:r>
            <a:r>
              <a:rPr lang="zh-CN" altLang="en-US" dirty="0" smtClean="0"/>
              <a:t>山</a:t>
            </a:r>
            <a:r>
              <a:rPr lang="en-US" altLang="zh-CN" dirty="0" smtClean="0"/>
              <a:t>ty) </a:t>
            </a:r>
            <a:r>
              <a:rPr lang="zh-CN" altLang="en-US" dirty="0" smtClean="0"/>
              <a:t>和分区容错性</a:t>
            </a:r>
            <a:r>
              <a:rPr lang="en-US" altLang="zh-CN" dirty="0" smtClean="0"/>
              <a:t>(partition tolerance)</a:t>
            </a:r>
            <a:r>
              <a:rPr lang="zh-CN" altLang="en-US" dirty="0" smtClean="0"/>
              <a:t>，最多只能满足其中的两个。</a:t>
            </a:r>
            <a:endParaRPr lang="en-US" altLang="zh-CN" dirty="0" smtClean="0"/>
          </a:p>
          <a:p>
            <a:r>
              <a:rPr lang="en-US" altLang="zh-CN" dirty="0" smtClean="0"/>
              <a:t>BASE</a:t>
            </a:r>
            <a:r>
              <a:rPr lang="zh-CN" altLang="en-US" dirty="0" smtClean="0"/>
              <a:t>原则：</a:t>
            </a:r>
            <a:endParaRPr lang="zh-CN" altLang="en-US" dirty="0" smtClean="0"/>
          </a:p>
          <a:p>
            <a:pPr lvl="1"/>
            <a:r>
              <a:rPr lang="en-US" altLang="zh-CN" dirty="0" smtClean="0"/>
              <a:t>Basically Available</a:t>
            </a:r>
            <a:r>
              <a:rPr lang="zh-CN" altLang="en-US" dirty="0" smtClean="0"/>
              <a:t>：基本可用，是指可以容忍数据短期不可用，并不强调全天候服务；</a:t>
            </a:r>
            <a:endParaRPr lang="zh-CN" altLang="en-US" dirty="0" smtClean="0"/>
          </a:p>
          <a:p>
            <a:pPr lvl="1"/>
            <a:r>
              <a:rPr lang="en-US" altLang="zh-CN" dirty="0" smtClean="0"/>
              <a:t>Soft state</a:t>
            </a:r>
            <a:r>
              <a:rPr lang="zh-CN" altLang="en-US" dirty="0" smtClean="0"/>
              <a:t>：柔性状态，是指状态有一段时间不同步，存在异步的情况；</a:t>
            </a:r>
            <a:endParaRPr lang="zh-CN" altLang="en-US" dirty="0" smtClean="0"/>
          </a:p>
          <a:p>
            <a:pPr lvl="1"/>
            <a:r>
              <a:rPr lang="en-US" altLang="zh-CN" dirty="0" smtClean="0"/>
              <a:t>Eventual consistency</a:t>
            </a:r>
            <a:r>
              <a:rPr lang="zh-CN" altLang="en-US" dirty="0" smtClean="0"/>
              <a:t>：最终一致。是指最终数据一致，而不是严格的一致。</a:t>
            </a:r>
            <a:endParaRPr lang="zh-CN" altLang="en-US" dirty="0" smtClean="0"/>
          </a:p>
          <a:p>
            <a:r>
              <a:rPr lang="en-US" altLang="zh-CN" dirty="0" smtClean="0"/>
              <a:t>3</a:t>
            </a:r>
            <a:r>
              <a:rPr lang="zh-CN" altLang="en-US" dirty="0" smtClean="0"/>
              <a:t>备份：当前节点，同一个机架不同节点， 不同机架不同节点上数据保存三份，用以避免节点故障，机架故障问题。备份数量越多，数据冗余量越大，在安全性和冗余性折中下来，</a:t>
            </a:r>
            <a:r>
              <a:rPr lang="en-US" altLang="zh-CN" dirty="0" smtClean="0"/>
              <a:t>3</a:t>
            </a:r>
            <a:r>
              <a:rPr lang="zh-CN" altLang="en-US" dirty="0" smtClean="0"/>
              <a:t>份数据是最常规的设定。</a:t>
            </a:r>
            <a:endParaRPr lang="zh-CN" altLang="en-US" dirty="0" smtClean="0"/>
          </a:p>
          <a:p>
            <a:pPr lvl="0"/>
            <a:r>
              <a:rPr lang="en-US" altLang="zh-CN" dirty="0" smtClean="0"/>
              <a:t>ACID</a:t>
            </a:r>
            <a:r>
              <a:rPr lang="zh-CN" altLang="en-US" smtClean="0"/>
              <a:t>解释。</a:t>
            </a:r>
            <a:r>
              <a:rPr lang="zh-CN" altLang="en-US" smtClean="0">
                <a:sym typeface="+mn-lt"/>
              </a:rPr>
              <a:t>原子</a:t>
            </a:r>
            <a:r>
              <a:rPr lang="zh-CN" altLang="en-US" dirty="0" smtClean="0">
                <a:sym typeface="+mn-lt"/>
              </a:rPr>
              <a:t>性（</a:t>
            </a:r>
            <a:r>
              <a:rPr lang="en-US" altLang="zh-CN" dirty="0" smtClean="0">
                <a:sym typeface="+mn-lt"/>
              </a:rPr>
              <a:t>Atomicity</a:t>
            </a:r>
            <a:r>
              <a:rPr lang="zh-CN" altLang="en-US" dirty="0" smtClean="0">
                <a:sym typeface="+mn-lt"/>
              </a:rPr>
              <a:t>）：事务是数据库的逻辑工作单位，事务中的操作，要么都做，要么都不做。一致性（</a:t>
            </a:r>
            <a:r>
              <a:rPr lang="en-US" altLang="zh-CN" dirty="0" smtClean="0">
                <a:sym typeface="+mn-lt"/>
              </a:rPr>
              <a:t>Consistency</a:t>
            </a:r>
            <a:r>
              <a:rPr lang="zh-CN" altLang="en-US" dirty="0" smtClean="0">
                <a:sym typeface="+mn-lt"/>
              </a:rPr>
              <a:t>）：事务的执行结果必须是使数据库从一个一致性状态转到另一个一致性状态。隔离性（</a:t>
            </a:r>
            <a:r>
              <a:rPr lang="en-US" altLang="zh-CN" dirty="0" smtClean="0">
                <a:sym typeface="+mn-lt"/>
              </a:rPr>
              <a:t>Isolation</a:t>
            </a:r>
            <a:r>
              <a:rPr lang="zh-CN" altLang="en-US" dirty="0" smtClean="0">
                <a:sym typeface="+mn-lt"/>
              </a:rPr>
              <a:t>）：数据库中一个事务的执行不能被其他事务干扰。即一个事务的内部操作及使用的数据对其他事务是隔离的，并发执行的各个事务不能相互干扰。持久性（</a:t>
            </a:r>
            <a:r>
              <a:rPr lang="en-US" altLang="zh-CN" dirty="0" smtClean="0">
                <a:sym typeface="+mn-lt"/>
              </a:rPr>
              <a:t>Durability</a:t>
            </a:r>
            <a:r>
              <a:rPr lang="zh-CN" altLang="en-US" dirty="0" smtClean="0">
                <a:sym typeface="+mn-lt"/>
              </a:rPr>
              <a:t>）：事务一旦提交，对数据库中数据的改变是永久的。提交后的操作或者故障不会对事务的操作结果产生任何影响。</a:t>
            </a:r>
            <a:endParaRPr lang="en-US" altLang="zh-CN" dirty="0" smtClean="0">
              <a:sym typeface="+mn-lt"/>
            </a:endParaRPr>
          </a:p>
          <a:p>
            <a:endParaRPr lang="zh-CN" altLang="en-US" dirty="0"/>
          </a:p>
        </p:txBody>
      </p:sp>
      <p:sp>
        <p:nvSpPr>
          <p:cNvPr id="3" name="幻灯片图像占位符 2"/>
          <p:cNvSpPr>
            <a:spLocks noGrp="1" noRot="1" noChangeAspect="1"/>
          </p:cNvSpPr>
          <p:nvPr>
            <p:ph type="sldImg"/>
          </p:nvPr>
        </p:nvSpPr>
        <p:spPr>
          <a:xfrm>
            <a:off x="455613" y="766763"/>
            <a:ext cx="5932487" cy="3338512"/>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列式数据库的优缺点分析，参考</a:t>
            </a:r>
            <a:r>
              <a:rPr lang="en-US" altLang="zh-CN" smtClean="0"/>
              <a:t>https://www.csdn.net/article/2012-05-31/2806184</a:t>
            </a:r>
            <a:r>
              <a:rPr lang="zh-CN" altLang="en-US" smtClean="0"/>
              <a:t>。</a:t>
            </a:r>
            <a:endParaRPr lang="en-US" altLang="zh-CN" smtClean="0"/>
          </a:p>
          <a:p>
            <a:pPr lvl="1"/>
            <a:r>
              <a:rPr lang="zh-CN" altLang="en-US" smtClean="0"/>
              <a:t>数据模型比较适用特定领域，解决特定技术问题，比如图数据库在数据挖掘关联计算，关联推荐场景下适用；</a:t>
            </a:r>
            <a:endParaRPr lang="zh-CN" altLang="en-US" smtClean="0"/>
          </a:p>
          <a:p>
            <a:pPr lvl="1"/>
            <a:r>
              <a:rPr lang="en-US" altLang="zh-CN" smtClean="0"/>
              <a:t>Key-Value</a:t>
            </a:r>
            <a:r>
              <a:rPr lang="zh-CN" altLang="en-US" smtClean="0"/>
              <a:t>数据库多用来做缓存查询，用来提升查询的响应时效性。</a:t>
            </a:r>
            <a:endParaRPr lang="zh-CN" altLang="en-US" smtClean="0"/>
          </a:p>
          <a:p>
            <a:pPr lvl="0"/>
            <a:r>
              <a:rPr lang="zh-CN" altLang="en-US" smtClean="0"/>
              <a:t>其它：</a:t>
            </a:r>
            <a:endParaRPr lang="zh-CN" altLang="en-US" smtClean="0"/>
          </a:p>
          <a:p>
            <a:pPr lvl="1"/>
            <a:r>
              <a:rPr lang="zh-CN" altLang="en-US" smtClean="0"/>
              <a:t>早期的时候不提供对</a:t>
            </a:r>
            <a:r>
              <a:rPr lang="en-US" altLang="zh-CN" smtClean="0"/>
              <a:t>SQL</a:t>
            </a:r>
            <a:r>
              <a:rPr lang="zh-CN" altLang="en-US" smtClean="0"/>
              <a:t>的支持：如果不支持</a:t>
            </a:r>
            <a:r>
              <a:rPr lang="en-US" altLang="zh-CN" smtClean="0"/>
              <a:t>SQL</a:t>
            </a:r>
            <a:r>
              <a:rPr lang="zh-CN" altLang="en-US" smtClean="0"/>
              <a:t>这样的工业标准，将会对用户产生一定的学习和应用迁移成本；</a:t>
            </a:r>
            <a:endParaRPr lang="en-US" altLang="zh-CN" smtClean="0"/>
          </a:p>
          <a:p>
            <a:pPr lvl="1"/>
            <a:r>
              <a:rPr lang="zh-CN" altLang="en-US" smtClean="0"/>
              <a:t>支持的特性不够丰富：现有产品所提供的功能都比较有限，大多数</a:t>
            </a:r>
            <a:r>
              <a:rPr lang="en-US" altLang="zh-CN" smtClean="0"/>
              <a:t>NoSQL</a:t>
            </a:r>
            <a:r>
              <a:rPr lang="zh-CN" altLang="en-US" smtClean="0"/>
              <a:t>数据库都不支持事务；</a:t>
            </a:r>
            <a:endParaRPr lang="zh-CN" altLang="en-US" smtClean="0"/>
          </a:p>
          <a:p>
            <a:pPr lvl="1"/>
            <a:r>
              <a:rPr lang="zh-CN" altLang="en-US" smtClean="0"/>
              <a:t>不满足</a:t>
            </a:r>
            <a:r>
              <a:rPr lang="en-US" altLang="zh-CN" smtClean="0"/>
              <a:t>ACID</a:t>
            </a:r>
            <a:r>
              <a:rPr lang="zh-CN" altLang="en-US" smtClean="0"/>
              <a:t>要求。</a:t>
            </a:r>
            <a:endParaRPr lang="zh-CN" altLang="en-US" smtClean="0"/>
          </a:p>
          <a:p>
            <a:pPr lvl="0"/>
            <a:endParaRPr lang="zh-CN" altLang="en-US" smtClean="0"/>
          </a:p>
          <a:p>
            <a:pPr lvl="0"/>
            <a:endParaRPr lang="zh-CN" altLang="en-US"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smtClean="0"/>
              <a:t>NewSQL is a class of relational database management systems that seek to provide the scalability of NoSQL systems for online transaction processing (OLTP) workloads while maintaining the ACID guarantees of a traditional database system.    --</a:t>
            </a:r>
            <a:r>
              <a:rPr lang="zh-CN" altLang="en-US" smtClean="0"/>
              <a:t>原文摘自 </a:t>
            </a:r>
            <a:r>
              <a:rPr lang="en-US" altLang="zh-CN" smtClean="0"/>
              <a:t>wiki</a:t>
            </a:r>
            <a:endParaRPr lang="en-US" altLang="zh-CN" smtClean="0"/>
          </a:p>
          <a:p>
            <a:pPr lvl="0"/>
            <a:r>
              <a:rPr lang="zh-CN" altLang="en-US" smtClean="0"/>
              <a:t>主要面向</a:t>
            </a:r>
            <a:r>
              <a:rPr lang="en-US" altLang="zh-CN" smtClean="0"/>
              <a:t>OLTP</a:t>
            </a:r>
            <a:r>
              <a:rPr lang="zh-CN" altLang="en-US" smtClean="0"/>
              <a:t>是因为，</a:t>
            </a:r>
            <a:r>
              <a:rPr lang="en-US" altLang="zh-CN" smtClean="0"/>
              <a:t>OLTP</a:t>
            </a:r>
            <a:r>
              <a:rPr lang="zh-CN" altLang="en-US" smtClean="0"/>
              <a:t>场景中对速度和并发量有很高的要求。</a:t>
            </a:r>
            <a:endParaRPr lang="zh-CN" altLang="en-US" smtClean="0"/>
          </a:p>
          <a:p>
            <a:pPr lvl="0"/>
            <a:r>
              <a:rPr lang="en-US" altLang="zh-CN" smtClean="0"/>
              <a:t>NewSQL</a:t>
            </a:r>
            <a:r>
              <a:rPr lang="zh-CN" altLang="en-US" smtClean="0"/>
              <a:t>的信息主要参考</a:t>
            </a:r>
            <a:r>
              <a:rPr lang="en-US" altLang="zh-CN" smtClean="0"/>
              <a:t>SIGMOD Record</a:t>
            </a:r>
            <a:r>
              <a:rPr lang="zh-CN" altLang="en-US" smtClean="0"/>
              <a:t>，</a:t>
            </a:r>
            <a:r>
              <a:rPr lang="en-US" altLang="zh-CN" smtClean="0"/>
              <a:t>June 2016</a:t>
            </a:r>
            <a:r>
              <a:rPr lang="zh-CN" altLang="en-US" smtClean="0"/>
              <a:t>（</a:t>
            </a:r>
            <a:r>
              <a:rPr lang="en-US" altLang="zh-CN" smtClean="0"/>
              <a:t>Vol. 45, No.2</a:t>
            </a:r>
            <a:r>
              <a:rPr lang="zh-CN" altLang="en-US" smtClean="0"/>
              <a:t>）的论文 “</a:t>
            </a:r>
            <a:r>
              <a:rPr lang="en-US" altLang="zh-CN" smtClean="0"/>
              <a:t>What’s Really New with NewSQL”</a:t>
            </a:r>
            <a:r>
              <a:rPr lang="zh-CN" altLang="en-US" smtClean="0"/>
              <a:t>。</a:t>
            </a:r>
            <a:endParaRPr lang="en-US" altLang="zh-CN" smtClean="0"/>
          </a:p>
          <a:p>
            <a:pPr lvl="0"/>
            <a:r>
              <a:rPr lang="en-US" altLang="zh-CN" smtClean="0"/>
              <a:t>NewSQL</a:t>
            </a:r>
            <a:r>
              <a:rPr lang="zh-CN" altLang="en-US" smtClean="0"/>
              <a:t>只是一类产品的描述，而且这个词是针对</a:t>
            </a:r>
            <a:r>
              <a:rPr lang="en-US" altLang="zh-CN" smtClean="0"/>
              <a:t>SQL NoSQL</a:t>
            </a:r>
            <a:r>
              <a:rPr lang="zh-CN" altLang="en-US" smtClean="0"/>
              <a:t>而衍生出来的，并不是具有官方定义的词语。</a:t>
            </a:r>
            <a:endParaRPr lang="en-US" altLang="zh-CN" smtClean="0"/>
          </a:p>
          <a:p>
            <a:pPr lvl="0"/>
            <a:r>
              <a:rPr lang="zh-CN" altLang="en-US" smtClean="0"/>
              <a:t>基于</a:t>
            </a:r>
            <a:r>
              <a:rPr lang="en-US" altLang="zh-CN" smtClean="0"/>
              <a:t>NewSQL</a:t>
            </a:r>
            <a:r>
              <a:rPr lang="zh-CN" altLang="en-US" smtClean="0"/>
              <a:t>模型的数据库主要有</a:t>
            </a:r>
            <a:r>
              <a:rPr lang="en-US" altLang="zh-CN" smtClean="0"/>
              <a:t>H-Store</a:t>
            </a:r>
            <a:r>
              <a:rPr lang="zh-CN" altLang="en-US" smtClean="0"/>
              <a:t>、</a:t>
            </a:r>
            <a:r>
              <a:rPr lang="en-US" altLang="zh-CN" smtClean="0"/>
              <a:t>S-Store</a:t>
            </a:r>
            <a:r>
              <a:rPr lang="zh-CN" altLang="en-US" smtClean="0"/>
              <a:t>、</a:t>
            </a:r>
            <a:r>
              <a:rPr lang="en-US" altLang="zh-CN" smtClean="0"/>
              <a:t>Spanner </a:t>
            </a:r>
            <a:r>
              <a:rPr lang="zh-CN" altLang="en-US" smtClean="0"/>
              <a:t>、</a:t>
            </a:r>
            <a:r>
              <a:rPr lang="en-US" altLang="zh-CN" smtClean="0"/>
              <a:t>VoltDB[</a:t>
            </a:r>
            <a:r>
              <a:rPr lang="zh-CN" altLang="en-US" smtClean="0"/>
              <a:t>等。</a:t>
            </a:r>
            <a:r>
              <a:rPr lang="en-US" altLang="zh-CN" smtClean="0"/>
              <a:t>H-Store</a:t>
            </a:r>
            <a:r>
              <a:rPr lang="zh-CN" altLang="en-US" smtClean="0"/>
              <a:t>是一款内存并行数据库管理系统，是一个高度分布的基于行存储的关系数据库，运行在无共享的群集上，</a:t>
            </a:r>
            <a:r>
              <a:rPr lang="en-US" altLang="zh-CN" smtClean="0"/>
              <a:t>S-Store</a:t>
            </a:r>
            <a:r>
              <a:rPr lang="zh-CN" altLang="en-US" smtClean="0"/>
              <a:t>是一个全球化的流式 </a:t>
            </a:r>
            <a:r>
              <a:rPr lang="en-US" altLang="zh-CN" smtClean="0"/>
              <a:t>OLTP</a:t>
            </a:r>
            <a:r>
              <a:rPr lang="zh-CN" altLang="en-US" smtClean="0"/>
              <a:t>引擎，将在线事务处理和实时数据流处理相结合，并支持事务的 </a:t>
            </a:r>
            <a:r>
              <a:rPr lang="en-US" altLang="zh-CN" smtClean="0"/>
              <a:t>ACID </a:t>
            </a:r>
            <a:r>
              <a:rPr lang="zh-CN" altLang="en-US" smtClean="0"/>
              <a:t>特性和事务的有序性，</a:t>
            </a:r>
            <a:r>
              <a:rPr lang="en-US" altLang="zh-CN" smtClean="0"/>
              <a:t>Spanner</a:t>
            </a:r>
            <a:r>
              <a:rPr lang="zh-CN" altLang="en-US" smtClean="0"/>
              <a:t>是</a:t>
            </a:r>
            <a:r>
              <a:rPr lang="en-US" altLang="zh-CN" smtClean="0"/>
              <a:t>Google</a:t>
            </a:r>
            <a:r>
              <a:rPr lang="zh-CN" altLang="en-US" smtClean="0"/>
              <a:t>公司推出的全球化的基于</a:t>
            </a:r>
            <a:r>
              <a:rPr lang="en-US" altLang="zh-CN" smtClean="0"/>
              <a:t>BigTable</a:t>
            </a:r>
            <a:r>
              <a:rPr lang="zh-CN" altLang="en-US" smtClean="0"/>
              <a:t>模型的</a:t>
            </a:r>
            <a:r>
              <a:rPr lang="en-US" altLang="zh-CN" smtClean="0"/>
              <a:t>NewSQL</a:t>
            </a:r>
            <a:r>
              <a:rPr lang="zh-CN" altLang="en-US" smtClean="0"/>
              <a:t>数据库，在原有</a:t>
            </a:r>
            <a:r>
              <a:rPr lang="en-US" altLang="zh-CN" smtClean="0"/>
              <a:t>BigTable</a:t>
            </a:r>
            <a:r>
              <a:rPr lang="zh-CN" altLang="en-US" smtClean="0"/>
              <a:t>模型的基础上实现了事务的</a:t>
            </a:r>
            <a:r>
              <a:rPr lang="en-US" altLang="zh-CN" smtClean="0"/>
              <a:t>ACID</a:t>
            </a:r>
            <a:r>
              <a:rPr lang="zh-CN" altLang="en-US" smtClean="0"/>
              <a:t>特性，</a:t>
            </a:r>
            <a:r>
              <a:rPr lang="en-US" altLang="zh-CN" smtClean="0"/>
              <a:t>VoltDB</a:t>
            </a:r>
            <a:r>
              <a:rPr lang="zh-CN" altLang="en-US" smtClean="0"/>
              <a:t>是一个横向可扩展的</a:t>
            </a:r>
            <a:r>
              <a:rPr lang="en-US" altLang="zh-CN" smtClean="0"/>
              <a:t>NewSQL</a:t>
            </a:r>
            <a:r>
              <a:rPr lang="zh-CN" altLang="en-US" smtClean="0"/>
              <a:t>关系数据库，支持 </a:t>
            </a:r>
            <a:r>
              <a:rPr lang="en-US" altLang="zh-CN" smtClean="0"/>
              <a:t>SQL</a:t>
            </a:r>
            <a:r>
              <a:rPr lang="zh-CN" altLang="en-US" smtClean="0"/>
              <a:t>访问和事务的</a:t>
            </a:r>
            <a:r>
              <a:rPr lang="en-US" altLang="zh-CN" smtClean="0"/>
              <a:t>ACID</a:t>
            </a:r>
            <a:r>
              <a:rPr lang="zh-CN" altLang="en-US" smtClean="0"/>
              <a:t>特性，并基于连续快照和命令日志记录的组合实现数据持久性。</a:t>
            </a:r>
            <a:endParaRPr lang="en-US" altLang="zh-CN" smtClean="0"/>
          </a:p>
          <a:p>
            <a:pPr lvl="0"/>
            <a:r>
              <a:rPr lang="en-US" altLang="zh-CN" smtClean="0"/>
              <a:t>GFS</a:t>
            </a:r>
            <a:r>
              <a:rPr lang="zh-CN" altLang="en-US" smtClean="0"/>
              <a:t>、</a:t>
            </a:r>
            <a:r>
              <a:rPr lang="en-US" altLang="zh-CN" smtClean="0"/>
              <a:t>MapReduce</a:t>
            </a:r>
            <a:r>
              <a:rPr lang="zh-CN" altLang="en-US" smtClean="0"/>
              <a:t>和</a:t>
            </a:r>
            <a:r>
              <a:rPr lang="en-US" altLang="zh-CN" smtClean="0"/>
              <a:t>BigTable</a:t>
            </a:r>
            <a:r>
              <a:rPr lang="zh-CN" altLang="en-US" smtClean="0"/>
              <a:t>，即所谓的</a:t>
            </a:r>
            <a:r>
              <a:rPr lang="en-US" altLang="zh-CN" smtClean="0"/>
              <a:t>Google</a:t>
            </a:r>
            <a:r>
              <a:rPr lang="zh-CN" altLang="en-US" smtClean="0"/>
              <a:t>三驾马车。</a:t>
            </a:r>
            <a:r>
              <a:rPr lang="en-US" altLang="zh-CN" smtClean="0"/>
              <a:t>《BigTable</a:t>
            </a:r>
            <a:r>
              <a:rPr lang="zh-CN" altLang="en-US" smtClean="0"/>
              <a:t>：结构化数据的分布式存储系统</a:t>
            </a:r>
            <a:r>
              <a:rPr lang="en-US" altLang="zh-CN" smtClean="0"/>
              <a:t>》</a:t>
            </a:r>
            <a:r>
              <a:rPr lang="zh-CN" altLang="en-US" smtClean="0"/>
              <a:t>，分析了设计用于处理海量数据的分布式结构化数据存储系统</a:t>
            </a:r>
            <a:r>
              <a:rPr lang="en-US" altLang="zh-CN" smtClean="0"/>
              <a:t>BigTable</a:t>
            </a:r>
            <a:r>
              <a:rPr lang="zh-CN" altLang="en-US" smtClean="0"/>
              <a:t>的工作原理。</a:t>
            </a:r>
            <a:endParaRPr lang="zh-CN" altLang="en-US" smtClean="0"/>
          </a:p>
          <a:p>
            <a:pPr lvl="0"/>
            <a:endParaRPr lang="zh-CN" altLang="en-US" smtClean="0"/>
          </a:p>
          <a:p>
            <a:pPr lvl="0"/>
            <a:endParaRPr lang="zh-CN" altLang="en-US" smtClean="0"/>
          </a:p>
          <a:p>
            <a:pPr lvl="0"/>
            <a:endParaRPr lang="zh-CN" altLang="en-US"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面对数据规模的爆炸式增长，以及数据应用模式的不断丰富，企业使用传统关系型数据库支撑新业务时，开始频繁出现新旧业务资源分配不合理，软硬件结构配置欠优化等问题，这促进了云计算和虚拟化技术的快速发展，开始利用虚拟化技术屏蔽硬件的物理隔离性，以服务模式代替独立部署模式，将可配置的资源（网络，服务器，存储，依赖系统等）形成共享资源池，实现弹性和高效的资源利用。</a:t>
            </a:r>
            <a:endParaRPr lang="en-US" altLang="zh-CN" smtClean="0"/>
          </a:p>
          <a:p>
            <a:pPr lvl="0"/>
            <a:r>
              <a:rPr lang="zh-CN" altLang="en-US" smtClean="0"/>
              <a:t>随着云计算技术的大规模应用，传统各类软件产品都开始由独自部署模式向云服务模式转变。其中数据库作为信息系统核心软件，逐渐被数据库企业附加云化能力，形成云数据库，以服务或产品形式对外提供技术支撑。</a:t>
            </a:r>
            <a:endParaRPr lang="en-US" altLang="zh-CN" smtClean="0"/>
          </a:p>
          <a:p>
            <a:pPr lvl="0"/>
            <a:r>
              <a:rPr lang="en-US" altLang="zh-CN" smtClean="0"/>
              <a:t>RDS</a:t>
            </a:r>
            <a:r>
              <a:rPr lang="zh-CN" altLang="en-US" smtClean="0"/>
              <a:t>：</a:t>
            </a:r>
            <a:r>
              <a:rPr lang="en-US" altLang="zh-CN" smtClean="0"/>
              <a:t>Amazon</a:t>
            </a:r>
            <a:r>
              <a:rPr lang="zh-CN" altLang="en-US" smtClean="0"/>
              <a:t>在</a:t>
            </a:r>
            <a:r>
              <a:rPr lang="en-US" altLang="zh-CN" smtClean="0"/>
              <a:t>2009</a:t>
            </a:r>
            <a:r>
              <a:rPr lang="zh-CN" altLang="en-US" smtClean="0"/>
              <a:t>年</a:t>
            </a:r>
            <a:r>
              <a:rPr lang="en-US" altLang="zh-CN" smtClean="0"/>
              <a:t>10</a:t>
            </a:r>
            <a:r>
              <a:rPr lang="zh-CN" altLang="en-US" smtClean="0"/>
              <a:t>月首次提出的关系型数据库服务。</a:t>
            </a:r>
            <a:endParaRPr lang="zh-CN" altLang="en-US" smtClean="0"/>
          </a:p>
          <a:p>
            <a:r>
              <a:rPr lang="en-US" altLang="zh-CN" smtClean="0"/>
              <a:t>DBaaS</a:t>
            </a:r>
            <a:r>
              <a:rPr lang="zh-CN" altLang="en-US" smtClean="0"/>
              <a:t>：</a:t>
            </a:r>
            <a:r>
              <a:rPr lang="en-US" altLang="zh-CN" smtClean="0"/>
              <a:t> Ferrari, Elena 2010</a:t>
            </a:r>
            <a:r>
              <a:rPr lang="zh-CN" altLang="en-US" smtClean="0"/>
              <a:t>年首次嫁接</a:t>
            </a:r>
            <a:r>
              <a:rPr lang="en-US" altLang="zh-CN" smtClean="0"/>
              <a:t>SaaS</a:t>
            </a:r>
            <a:r>
              <a:rPr lang="zh-CN" altLang="en-US" smtClean="0"/>
              <a:t>概念到</a:t>
            </a:r>
            <a:r>
              <a:rPr lang="en-US" altLang="zh-CN" smtClean="0"/>
              <a:t>DB</a:t>
            </a:r>
            <a:r>
              <a:rPr lang="zh-CN" altLang="en-US" smtClean="0"/>
              <a:t>服务化上，在</a:t>
            </a:r>
            <a:r>
              <a:rPr lang="en-US" altLang="zh-CN" smtClean="0"/>
              <a:t>Oracle</a:t>
            </a:r>
            <a:r>
              <a:rPr lang="zh-CN" altLang="en-US" smtClean="0"/>
              <a:t>力推后，被业界广为接受。</a:t>
            </a:r>
            <a:endParaRPr lang="zh-CN" altLang="en-US" smtClean="0"/>
          </a:p>
          <a:p>
            <a:pPr lvl="0"/>
            <a:r>
              <a:rPr lang="en-US" altLang="zh-CN" smtClean="0"/>
              <a:t>DRDS</a:t>
            </a:r>
            <a:r>
              <a:rPr lang="zh-CN" altLang="en-US" smtClean="0"/>
              <a:t>：</a:t>
            </a:r>
            <a:r>
              <a:rPr lang="en-US" altLang="zh-CN" smtClean="0"/>
              <a:t> 2014</a:t>
            </a:r>
            <a:r>
              <a:rPr lang="zh-CN" altLang="en-US" smtClean="0"/>
              <a:t>年由</a:t>
            </a:r>
            <a:r>
              <a:rPr lang="en-US" altLang="zh-CN" smtClean="0"/>
              <a:t>Aliyun</a:t>
            </a:r>
            <a:r>
              <a:rPr lang="zh-CN" altLang="en-US" smtClean="0"/>
              <a:t>提出的分布式关系型数据库服务，通过分布式数据库中间件层实现数据自动分库分表。</a:t>
            </a:r>
            <a:endParaRPr lang="en-US" altLang="zh-CN" smtClean="0"/>
          </a:p>
          <a:p>
            <a:pPr lvl="0"/>
            <a:r>
              <a:rPr lang="zh-CN" altLang="en-US" smtClean="0"/>
              <a:t>此页图中主要绘制了关系型数据库，各大厂家也都推出非关系型云数据库。</a:t>
            </a:r>
            <a:endParaRPr lang="zh-CN" altLang="en-US" smtClean="0"/>
          </a:p>
          <a:p>
            <a:pPr lvl="0"/>
            <a:endParaRPr lang="en-US" altLang="zh-CN" dirty="0" smtClean="0"/>
          </a:p>
        </p:txBody>
      </p:sp>
      <p:sp>
        <p:nvSpPr>
          <p:cNvPr id="7" name="幻灯片图像占位符 6"/>
          <p:cNvSpPr>
            <a:spLocks noGrp="1" noRot="1" noChangeAspect="1"/>
          </p:cNvSpPr>
          <p:nvPr>
            <p:ph type="sldImg"/>
          </p:nvPr>
        </p:nvSpPr>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如今，企业上云已是大势所趋，越来越多的企业正将业务系统迁移到云上，享受云计算带来的服务变革，如高性能计算、弹性扩展资源、一站式运维服务等，将大大降低企业的使用成本和维护成本。</a:t>
            </a:r>
            <a:endParaRPr lang="en-US" altLang="zh-CN" smtClean="0"/>
          </a:p>
          <a:p>
            <a:pPr lvl="0"/>
            <a:r>
              <a:rPr lang="zh-CN" altLang="en-US" smtClean="0"/>
              <a:t>云计算通过网络采用按用户使用付费方式获得共享的可配置计算资源服务（计算、存储、网络、应用平台和各种应用）。（五大特征：弹性、按需、可计量、自运维、多点接入）</a:t>
            </a:r>
            <a:endParaRPr lang="zh-CN" altLang="en-US" smtClean="0"/>
          </a:p>
          <a:p>
            <a:r>
              <a:rPr lang="zh-CN" altLang="en-US" smtClean="0"/>
              <a:t>市场研究机构</a:t>
            </a:r>
            <a:r>
              <a:rPr lang="en-US" altLang="zh-CN" smtClean="0"/>
              <a:t>IDC</a:t>
            </a:r>
            <a:r>
              <a:rPr lang="zh-CN" altLang="en-US" smtClean="0"/>
              <a:t>的报告数据印证了这一点：中国服务器出货量</a:t>
            </a:r>
            <a:r>
              <a:rPr lang="en-US" altLang="zh-CN" smtClean="0"/>
              <a:t>10</a:t>
            </a:r>
            <a:r>
              <a:rPr lang="zh-CN" altLang="en-US" smtClean="0"/>
              <a:t>年来首次出现下滑，企业快速迁移上云是背后主要诱因。</a:t>
            </a:r>
            <a:endParaRPr lang="en-US" altLang="zh-CN" smtClean="0"/>
          </a:p>
          <a:p>
            <a:r>
              <a:rPr lang="zh-CN" altLang="en-US" smtClean="0"/>
              <a:t>传统数据库市场正面临重新洗牌的窘境，而由云厂商主导的云原生数据库则将这种“改变”推向了高潮。</a:t>
            </a:r>
            <a:endParaRPr lang="en-US" altLang="zh-CN" smtClean="0"/>
          </a:p>
          <a:p>
            <a:r>
              <a:rPr lang="zh-CN" altLang="en-US" smtClean="0"/>
              <a:t>此前，传统数据库市场由</a:t>
            </a:r>
            <a:r>
              <a:rPr lang="en-US" altLang="zh-CN" smtClean="0"/>
              <a:t>Oracle</a:t>
            </a:r>
            <a:r>
              <a:rPr lang="zh-CN" altLang="en-US" smtClean="0"/>
              <a:t>、微软、</a:t>
            </a:r>
            <a:r>
              <a:rPr lang="en-US" altLang="zh-CN" smtClean="0"/>
              <a:t>IBM</a:t>
            </a:r>
            <a:r>
              <a:rPr lang="zh-CN" altLang="en-US" smtClean="0"/>
              <a:t>、</a:t>
            </a:r>
            <a:r>
              <a:rPr lang="en-US" altLang="zh-CN" smtClean="0"/>
              <a:t>SAP</a:t>
            </a:r>
            <a:r>
              <a:rPr lang="zh-CN" altLang="en-US" smtClean="0"/>
              <a:t>等国外厂商把持多年，中国云企业难有话语权。如今，在</a:t>
            </a:r>
            <a:r>
              <a:rPr lang="en-US" altLang="zh-CN" smtClean="0"/>
              <a:t>5G+</a:t>
            </a:r>
            <a:r>
              <a:rPr lang="zh-CN" altLang="en-US" smtClean="0"/>
              <a:t>云计算的强力冲击下，云数据库的格局已经悄然生变。</a:t>
            </a:r>
            <a:endParaRPr lang="en-US" altLang="zh-CN" smtClean="0"/>
          </a:p>
          <a:p>
            <a:pPr lvl="0"/>
            <a:r>
              <a:rPr lang="zh-CN" altLang="en-US" smtClean="0"/>
              <a:t>“易、稳、快、弹、密”是客户对</a:t>
            </a:r>
            <a:r>
              <a:rPr lang="en-US" altLang="zh-CN" smtClean="0"/>
              <a:t>DBaaS</a:t>
            </a:r>
            <a:r>
              <a:rPr lang="zh-CN" altLang="en-US" smtClean="0"/>
              <a:t>的需求，也是其演进方向。</a:t>
            </a:r>
            <a:endParaRPr lang="zh-CN" altLang="en-US" smtClean="0"/>
          </a:p>
          <a:p>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关于运维成本：</a:t>
            </a:r>
            <a:endParaRPr lang="en-US" altLang="zh-CN" smtClean="0"/>
          </a:p>
          <a:p>
            <a:pPr lvl="1"/>
            <a:r>
              <a:rPr lang="zh-CN" altLang="en-US" smtClean="0"/>
              <a:t>云数据库：高效运维：提供控制台、远程终端和</a:t>
            </a:r>
            <a:r>
              <a:rPr lang="en-US" altLang="zh-CN" smtClean="0"/>
              <a:t>API</a:t>
            </a:r>
            <a:r>
              <a:rPr lang="zh-CN" altLang="en-US" smtClean="0"/>
              <a:t>等多种管理方式，完全的管理权限。</a:t>
            </a:r>
            <a:endParaRPr lang="zh-CN" altLang="en-US"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作为本小节的一个类似附录的信息，数据来源： </a:t>
            </a:r>
            <a:r>
              <a:rPr lang="en-US" altLang="zh-CN" smtClean="0"/>
              <a:t>https://db-engines.com/en/ranking</a:t>
            </a:r>
            <a:r>
              <a:rPr lang="zh-CN" altLang="en-US" smtClean="0"/>
              <a:t>。</a:t>
            </a:r>
            <a:endParaRPr lang="en-US" altLang="zh-CN" smtClean="0"/>
          </a:p>
          <a:p>
            <a:pPr lvl="0"/>
            <a:r>
              <a:rPr lang="zh-CN" altLang="en-US" smtClean="0"/>
              <a:t>排名每月变更一次，有全部</a:t>
            </a:r>
            <a:r>
              <a:rPr lang="en-US" altLang="zh-CN" smtClean="0"/>
              <a:t>DB</a:t>
            </a:r>
            <a:r>
              <a:rPr lang="zh-CN" altLang="en-US" smtClean="0"/>
              <a:t>数据的排名，也有不同分类的排名，如</a:t>
            </a:r>
            <a:r>
              <a:rPr lang="en-US" altLang="zh-CN" smtClean="0"/>
              <a:t>RDBMS</a:t>
            </a:r>
            <a:r>
              <a:rPr lang="zh-CN" altLang="en-US" smtClean="0"/>
              <a:t>， </a:t>
            </a:r>
            <a:r>
              <a:rPr lang="en-US" altLang="zh-CN" smtClean="0"/>
              <a:t>Key-Value</a:t>
            </a:r>
            <a:r>
              <a:rPr lang="zh-CN" altLang="en-US" smtClean="0"/>
              <a:t>，时序数据库，图数据库等专项排名。</a:t>
            </a:r>
            <a:endParaRPr lang="zh-CN" altLang="en-US" smtClean="0"/>
          </a:p>
          <a:p>
            <a:pPr lvl="0"/>
            <a:r>
              <a:rPr lang="zh-CN" altLang="en-US" smtClean="0"/>
              <a:t>排名标准：</a:t>
            </a:r>
            <a:r>
              <a:rPr lang="en-US" altLang="zh-CN" smtClean="0"/>
              <a:t>https://db-engines.com/en/ranking_definition</a:t>
            </a:r>
            <a:endParaRPr lang="en-US" altLang="zh-CN" smtClean="0"/>
          </a:p>
          <a:p>
            <a:pPr lvl="1"/>
            <a:r>
              <a:rPr lang="zh-CN" altLang="en-US" smtClean="0"/>
              <a:t>网站相关度；</a:t>
            </a:r>
            <a:endParaRPr lang="zh-CN" altLang="en-US" smtClean="0"/>
          </a:p>
          <a:p>
            <a:pPr lvl="1"/>
            <a:r>
              <a:rPr lang="en-US" altLang="zh-CN" smtClean="0"/>
              <a:t>Google</a:t>
            </a:r>
            <a:r>
              <a:rPr lang="zh-CN" altLang="en-US" smtClean="0"/>
              <a:t>的搜索热度；</a:t>
            </a:r>
            <a:endParaRPr lang="zh-CN" altLang="en-US" smtClean="0"/>
          </a:p>
          <a:p>
            <a:pPr lvl="1"/>
            <a:r>
              <a:rPr lang="zh-CN" altLang="en-US" smtClean="0"/>
              <a:t>知名</a:t>
            </a:r>
            <a:r>
              <a:rPr lang="en-US" altLang="zh-CN" smtClean="0"/>
              <a:t>QA</a:t>
            </a:r>
            <a:r>
              <a:rPr lang="zh-CN" altLang="en-US" smtClean="0"/>
              <a:t>网站里面讨论的频度；</a:t>
            </a:r>
            <a:endParaRPr lang="zh-CN" altLang="en-US" smtClean="0"/>
          </a:p>
          <a:p>
            <a:pPr lvl="1"/>
            <a:r>
              <a:rPr lang="zh-CN" altLang="en-US" smtClean="0"/>
              <a:t>求职网站里面对工作需求的数量；</a:t>
            </a:r>
            <a:endParaRPr lang="zh-CN" altLang="en-US" smtClean="0"/>
          </a:p>
          <a:p>
            <a:pPr lvl="1"/>
            <a:r>
              <a:rPr lang="zh-CN" altLang="en-US" smtClean="0"/>
              <a:t>在社交网站里面的相关度等等。</a:t>
            </a:r>
            <a:endParaRPr lang="zh-CN" altLang="en-US" smtClean="0"/>
          </a:p>
          <a:p>
            <a:r>
              <a:rPr lang="zh-CN" altLang="en-US" smtClean="0"/>
              <a:t>解读</a:t>
            </a:r>
            <a:endParaRPr lang="zh-CN" altLang="en-US" smtClean="0"/>
          </a:p>
          <a:p>
            <a:pPr lvl="1"/>
            <a:r>
              <a:rPr lang="zh-CN" altLang="en-US" smtClean="0"/>
              <a:t>前三甲还是牢牢的由传统的</a:t>
            </a:r>
            <a:r>
              <a:rPr lang="en-US" altLang="zh-CN" smtClean="0"/>
              <a:t>RDBMS</a:t>
            </a:r>
            <a:r>
              <a:rPr lang="zh-CN" altLang="en-US" smtClean="0"/>
              <a:t>占据；</a:t>
            </a:r>
            <a:endParaRPr lang="zh-CN" altLang="en-US" smtClean="0"/>
          </a:p>
          <a:p>
            <a:pPr lvl="1"/>
            <a:r>
              <a:rPr lang="zh-CN" altLang="en-US" smtClean="0"/>
              <a:t>前十名已经出现了</a:t>
            </a:r>
            <a:r>
              <a:rPr lang="en-US" altLang="zh-CN" smtClean="0"/>
              <a:t>4</a:t>
            </a:r>
            <a:r>
              <a:rPr lang="zh-CN" altLang="en-US" smtClean="0"/>
              <a:t>个</a:t>
            </a:r>
            <a:r>
              <a:rPr lang="en-US" altLang="zh-CN" smtClean="0"/>
              <a:t>NoSQL</a:t>
            </a:r>
            <a:r>
              <a:rPr lang="zh-CN" altLang="en-US" smtClean="0"/>
              <a:t>；</a:t>
            </a:r>
            <a:endParaRPr lang="en-US" altLang="zh-CN" smtClean="0"/>
          </a:p>
          <a:p>
            <a:pPr lvl="1"/>
            <a:r>
              <a:rPr lang="zh-CN" altLang="en-US" smtClean="0"/>
              <a:t>前</a:t>
            </a:r>
            <a:r>
              <a:rPr lang="en-US" altLang="zh-CN" smtClean="0"/>
              <a:t>20</a:t>
            </a:r>
            <a:r>
              <a:rPr lang="zh-CN" altLang="en-US" smtClean="0"/>
              <a:t>名，基本</a:t>
            </a:r>
            <a:r>
              <a:rPr lang="en-US" altLang="zh-CN" smtClean="0"/>
              <a:t>RDBMS</a:t>
            </a:r>
            <a:r>
              <a:rPr lang="zh-CN" altLang="en-US" smtClean="0"/>
              <a:t>和</a:t>
            </a:r>
            <a:r>
              <a:rPr lang="en-US" altLang="zh-CN" smtClean="0"/>
              <a:t>Nosql</a:t>
            </a:r>
            <a:r>
              <a:rPr lang="zh-CN" altLang="en-US" smtClean="0"/>
              <a:t>平分秋色；</a:t>
            </a:r>
            <a:endParaRPr lang="zh-CN" altLang="en-US" smtClean="0"/>
          </a:p>
          <a:p>
            <a:pPr lvl="1"/>
            <a:r>
              <a:rPr lang="en-US" altLang="zh-CN" smtClean="0"/>
              <a:t>RDBMS</a:t>
            </a:r>
            <a:r>
              <a:rPr lang="zh-CN" altLang="en-US" smtClean="0"/>
              <a:t>也在扩展自己的功能和特性。</a:t>
            </a:r>
            <a:endParaRPr lang="zh-CN" altLang="en-US" smtClean="0"/>
          </a:p>
          <a:p>
            <a:pPr lvl="0"/>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这个架构的分法，是先按照主机数量来区分，</a:t>
            </a:r>
            <a:r>
              <a:rPr lang="en-US" altLang="zh-CN" smtClean="0"/>
              <a:t>1</a:t>
            </a:r>
            <a:r>
              <a:rPr lang="zh-CN" altLang="en-US" smtClean="0"/>
              <a:t>个数据库主机是单机架构，多于</a:t>
            </a:r>
            <a:r>
              <a:rPr lang="en-US" altLang="zh-CN" smtClean="0"/>
              <a:t>1</a:t>
            </a:r>
            <a:r>
              <a:rPr lang="zh-CN" altLang="en-US" smtClean="0"/>
              <a:t>个数据库主机是多机架构。</a:t>
            </a:r>
            <a:endParaRPr lang="en-US" altLang="zh-CN" smtClean="0"/>
          </a:p>
          <a:p>
            <a:pPr lvl="0"/>
            <a:r>
              <a:rPr lang="zh-CN" altLang="en-US" smtClean="0"/>
              <a:t>单机架构里面的单主机是把</a:t>
            </a:r>
            <a:r>
              <a:rPr lang="en-US" altLang="zh-CN" smtClean="0"/>
              <a:t>application</a:t>
            </a:r>
            <a:r>
              <a:rPr lang="zh-CN" altLang="en-US" smtClean="0"/>
              <a:t>和</a:t>
            </a:r>
            <a:r>
              <a:rPr lang="en-US" altLang="zh-CN" smtClean="0"/>
              <a:t>db</a:t>
            </a:r>
            <a:r>
              <a:rPr lang="zh-CN" altLang="en-US" smtClean="0"/>
              <a:t>都部署在同一个主机上，而独立主机则是两者分开，</a:t>
            </a:r>
            <a:r>
              <a:rPr lang="en-US" altLang="zh-CN" smtClean="0"/>
              <a:t>database</a:t>
            </a:r>
            <a:r>
              <a:rPr lang="zh-CN" altLang="en-US" smtClean="0"/>
              <a:t>专门部署在独立的数据库服务器上。</a:t>
            </a:r>
            <a:endParaRPr lang="en-US" altLang="zh-CN" smtClean="0"/>
          </a:p>
          <a:p>
            <a:pPr lvl="0"/>
            <a:r>
              <a:rPr lang="zh-CN" altLang="en-US" smtClean="0"/>
              <a:t>多机架构是通过增加服务器数量来提升整个数据库服务的可用性和服务能力。</a:t>
            </a:r>
            <a:endParaRPr lang="en-US" altLang="zh-CN" smtClean="0"/>
          </a:p>
          <a:p>
            <a:pPr lvl="0"/>
            <a:r>
              <a:rPr lang="zh-CN" altLang="en-US" smtClean="0"/>
              <a:t>多机架构里面按照数据是否拆分成分片状态，化为两类。</a:t>
            </a:r>
            <a:endParaRPr lang="en-US" altLang="zh-CN" smtClean="0"/>
          </a:p>
          <a:p>
            <a:pPr lvl="0"/>
            <a:r>
              <a:rPr lang="zh-CN" altLang="en-US" smtClean="0"/>
              <a:t>一个是分组，每个服务器拥有的角色不同而进一步划分为主备，主从和多主。</a:t>
            </a:r>
            <a:endParaRPr lang="en-US" altLang="zh-CN" smtClean="0"/>
          </a:p>
          <a:p>
            <a:pPr lvl="0"/>
            <a:r>
              <a:rPr lang="zh-CN" altLang="en-US" smtClean="0"/>
              <a:t>无论是哪种分组形式，具有的共同性是多个数据库结构相同，多个库存储的数据也完全相同，本质是利用同步技术在多个库之间进行数据复制。</a:t>
            </a:r>
            <a:endParaRPr lang="en-US" altLang="zh-CN" smtClean="0"/>
          </a:p>
          <a:p>
            <a:pPr lvl="0"/>
            <a:r>
              <a:rPr lang="zh-CN" altLang="en-US" smtClean="0"/>
              <a:t>分片架构里面主要会介绍基于</a:t>
            </a:r>
            <a:r>
              <a:rPr lang="en-US" altLang="zh-CN" smtClean="0"/>
              <a:t>Shared-Nothing</a:t>
            </a:r>
            <a:r>
              <a:rPr lang="zh-CN" altLang="en-US" smtClean="0"/>
              <a:t>的</a:t>
            </a:r>
            <a:r>
              <a:rPr lang="en-US" altLang="zh-CN" smtClean="0"/>
              <a:t>MPP</a:t>
            </a:r>
            <a:r>
              <a:rPr lang="zh-CN" altLang="en-US" smtClean="0"/>
              <a:t>架构。</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备注占位符 4"/>
          <p:cNvSpPr>
            <a:spLocks noGrp="1"/>
          </p:cNvSpPr>
          <p:nvPr>
            <p:ph type="body" idx="1"/>
          </p:nvPr>
        </p:nvSpPr>
        <p:spPr/>
        <p:txBody>
          <a:bodyPr/>
          <a:lstStyle/>
          <a:p>
            <a:r>
              <a:rPr lang="zh-CN" altLang="en-US" smtClean="0"/>
              <a:t>单机部署形式，在研发，学习以及模拟环境中具备灵活，部署方便等特点。</a:t>
            </a:r>
            <a:endParaRPr lang="zh-CN" altLang="en-US" smtClean="0"/>
          </a:p>
          <a:p>
            <a:r>
              <a:rPr lang="zh-CN" altLang="en-US" smtClean="0"/>
              <a:t>早期互联网的</a:t>
            </a:r>
            <a:r>
              <a:rPr lang="en-US" altLang="zh-CN" smtClean="0"/>
              <a:t>LAMP</a:t>
            </a:r>
            <a:r>
              <a:rPr lang="zh-CN" altLang="en-US" smtClean="0"/>
              <a:t>（</a:t>
            </a:r>
            <a:r>
              <a:rPr lang="en-US" altLang="zh-CN" smtClean="0"/>
              <a:t>Linux</a:t>
            </a:r>
            <a:r>
              <a:rPr lang="zh-CN" altLang="en-US" smtClean="0"/>
              <a:t>，</a:t>
            </a:r>
            <a:r>
              <a:rPr lang="en-US" altLang="zh-CN" smtClean="0"/>
              <a:t>Apache</a:t>
            </a:r>
            <a:r>
              <a:rPr lang="zh-CN" altLang="en-US" smtClean="0"/>
              <a:t>，</a:t>
            </a:r>
            <a:r>
              <a:rPr lang="en-US" altLang="zh-CN" smtClean="0"/>
              <a:t>MySQL</a:t>
            </a:r>
            <a:r>
              <a:rPr lang="zh-CN" altLang="en-US" smtClean="0"/>
              <a:t>，</a:t>
            </a:r>
            <a:r>
              <a:rPr lang="en-US" altLang="zh-CN" smtClean="0"/>
              <a:t>PHP</a:t>
            </a:r>
            <a:r>
              <a:rPr lang="zh-CN" altLang="en-US" smtClean="0"/>
              <a:t>）架构的服务器就是最典型的单机架构的使用。</a:t>
            </a:r>
            <a:endParaRPr lang="zh-CN" altLang="en-US" smtClean="0"/>
          </a:p>
          <a:p>
            <a:endParaRPr lang="zh-CN" altLang="en-US" dirty="0"/>
          </a:p>
        </p:txBody>
      </p:sp>
      <p:sp>
        <p:nvSpPr>
          <p:cNvPr id="3" name="幻灯片图像占位符 2"/>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主备机有时候也会称为主库和备库。</a:t>
            </a:r>
            <a:endParaRPr lang="en-US" altLang="zh-CN" smtClean="0"/>
          </a:p>
          <a:p>
            <a:pPr lvl="0"/>
            <a:r>
              <a:rPr lang="zh-CN" altLang="en-US" smtClean="0"/>
              <a:t>主备机的数据同步，可以有同步复制和异步复制。</a:t>
            </a:r>
            <a:endParaRPr lang="en-US" altLang="zh-CN" smtClean="0"/>
          </a:p>
          <a:p>
            <a:pPr lvl="0"/>
            <a:r>
              <a:rPr lang="zh-CN" altLang="en-US" smtClean="0"/>
              <a:t>在主机提供数据库服务的时候，备机不对外提供数据服务。只有在主机出现故障时，才会通过人工或自动地方式，启动备机的进程，对外提供数据服务，此时备机角色切换为主机角色。</a:t>
            </a:r>
            <a:endParaRPr lang="en-US" altLang="zh-CN" smtClean="0"/>
          </a:p>
          <a:p>
            <a:pPr lvl="0"/>
            <a:r>
              <a:rPr lang="zh-CN" altLang="en-US" smtClean="0"/>
              <a:t>如果为了提高整体数据的完整可用性，可以增加备机的数量，主备机模式就演变为一主多备模式。数据安全性提高的同时，成本也相对加倍，资源相对比较浪费。</a:t>
            </a:r>
            <a:endParaRPr lang="en-US" altLang="zh-CN" smtClean="0"/>
          </a:p>
          <a:p>
            <a:pPr lvl="0"/>
            <a:r>
              <a:rPr lang="zh-CN" altLang="en-US" smtClean="0"/>
              <a:t>主备机模式只是解决了数据可用性问题，无法解决性能瓶颈，性能瓶颈依然受制于单台服务器性能。增加数量无助于数据库性能提升。</a:t>
            </a:r>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使用读写分离方式，应用开发模式有时也需要进行调整：应用开发过程中要注意区分读写操作，读操作提交到主机，写操作提交到从机。</a:t>
            </a:r>
            <a:endParaRPr lang="en-US" altLang="zh-CN" smtClean="0"/>
          </a:p>
          <a:p>
            <a:pPr lvl="0"/>
            <a:r>
              <a:rPr lang="zh-CN" altLang="en-US" smtClean="0"/>
              <a:t>近年来，不同的数据库产品都出现了中间件来支持读写分离，数据库中间件起到路由功能，会识别读请求和写请求，分别把读写操作分配到读库和写库上。如开源的</a:t>
            </a:r>
            <a:r>
              <a:rPr lang="en-US" altLang="zh-CN" smtClean="0"/>
              <a:t>mycat</a:t>
            </a:r>
            <a:r>
              <a:rPr lang="zh-CN" altLang="en-US" smtClean="0"/>
              <a:t>，</a:t>
            </a:r>
            <a:r>
              <a:rPr lang="en-US" altLang="zh-CN" smtClean="0"/>
              <a:t>vitness</a:t>
            </a:r>
            <a:r>
              <a:rPr lang="zh-CN" altLang="en-US" smtClean="0"/>
              <a:t>等。</a:t>
            </a:r>
            <a:endParaRPr lang="en-US" altLang="zh-CN" smtClean="0"/>
          </a:p>
          <a:p>
            <a:pPr lvl="0"/>
            <a:r>
              <a:rPr lang="zh-CN" altLang="en-US" smtClean="0"/>
              <a:t>读多写少是相对而言，许多互联网应用场景是读的事务量远远大于写的事务量，读操作往往先成为性能瓶颈。</a:t>
            </a:r>
            <a:endParaRPr lang="en-US" altLang="zh-CN" smtClean="0"/>
          </a:p>
          <a:p>
            <a:pPr lvl="0"/>
            <a:r>
              <a:rPr lang="zh-CN" altLang="en-US" smtClean="0"/>
              <a:t>另外写库出现故障期间，读库仍然可以对外提供服务，表现出“只读”服务。</a:t>
            </a:r>
            <a:endParaRPr lang="en-US" altLang="zh-CN" smtClean="0"/>
          </a:p>
          <a:p>
            <a:pPr lvl="0"/>
            <a:r>
              <a:rPr lang="zh-CN" altLang="en-US" smtClean="0"/>
              <a:t>根据从机的数量可以分为一主一从和一主多从。</a:t>
            </a:r>
            <a:endParaRPr lang="en-US" altLang="zh-CN" smtClean="0"/>
          </a:p>
          <a:p>
            <a:pPr lvl="0"/>
            <a:r>
              <a:rPr lang="zh-CN" altLang="en-US" smtClean="0"/>
              <a:t>从机数量越多，虽然能够提升数据库读的并发访问量，但是从机之间的数据一致性问题也会带来比较多问题。</a:t>
            </a:r>
            <a:endParaRPr lang="en-US" altLang="zh-CN" smtClean="0"/>
          </a:p>
          <a:p>
            <a:pPr lvl="0"/>
            <a:r>
              <a:rPr lang="zh-CN" altLang="en-US" smtClean="0"/>
              <a:t>主机出现故障，自动切换就要解决多台从机如何选举出新主机的问题。</a:t>
            </a:r>
            <a:endParaRPr lang="en-US" altLang="zh-CN" smtClean="0"/>
          </a:p>
          <a:p>
            <a:pPr lvl="0"/>
            <a:r>
              <a:rPr lang="zh-CN" altLang="en-US" smtClean="0"/>
              <a:t>对一致性要求不高的应用：如互联网行业的社交网络应用。</a:t>
            </a:r>
            <a:endParaRPr lang="en-US" altLang="zh-CN" smtClean="0"/>
          </a:p>
          <a:p>
            <a:pPr lvl="0"/>
            <a:r>
              <a:rPr lang="zh-CN" altLang="en-US" smtClean="0"/>
              <a:t>对一致性要求高的场景：与金融，计费相关的应用。</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多主架构，也称为双活，多活架构。</a:t>
            </a:r>
            <a:endParaRPr lang="en-US" altLang="zh-CN" smtClean="0"/>
          </a:p>
          <a:p>
            <a:pPr lvl="0"/>
            <a:r>
              <a:rPr lang="zh-CN" altLang="en-US" smtClean="0"/>
              <a:t>互为主从模式下的数据同步机制更为复杂，所以数据延迟、丢失都有可能存在，所以对于一致性要求非常高的场景，不适合使用这种架构。</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共享存储的多活架构是一种较为特殊的多主架构，它解决了主从设备之间数据同步带来的数据一致性问题。</a:t>
            </a:r>
            <a:endParaRPr lang="en-US" altLang="zh-CN" smtClean="0"/>
          </a:p>
          <a:p>
            <a:pPr lvl="0"/>
            <a:r>
              <a:rPr lang="en-US" altLang="zh-CN" smtClean="0"/>
              <a:t>Shared-Disk</a:t>
            </a:r>
            <a:r>
              <a:rPr lang="zh-CN" altLang="en-US" smtClean="0"/>
              <a:t>较为成功的案例目前，有</a:t>
            </a:r>
            <a:r>
              <a:rPr lang="en-US" altLang="zh-CN" smtClean="0"/>
              <a:t>Oracle</a:t>
            </a:r>
            <a:r>
              <a:rPr lang="zh-CN" altLang="en-US" smtClean="0"/>
              <a:t>的</a:t>
            </a:r>
            <a:r>
              <a:rPr lang="en-US" altLang="zh-CN" smtClean="0"/>
              <a:t>RAC</a:t>
            </a:r>
            <a:r>
              <a:rPr lang="zh-CN" altLang="en-US" smtClean="0"/>
              <a:t>（</a:t>
            </a:r>
            <a:r>
              <a:rPr lang="en-US" altLang="zh-CN" smtClean="0"/>
              <a:t>Real Application Cluster</a:t>
            </a:r>
            <a:r>
              <a:rPr lang="zh-CN" altLang="en-US" smtClean="0"/>
              <a:t>）产品， 微软的</a:t>
            </a:r>
            <a:r>
              <a:rPr lang="en-US" altLang="zh-CN" smtClean="0"/>
              <a:t>SQL Server Failover Cluster</a:t>
            </a:r>
            <a:r>
              <a:rPr lang="zh-CN" altLang="en-US" smtClean="0"/>
              <a:t>。</a:t>
            </a:r>
            <a:endParaRPr lang="en-US" altLang="zh-CN" smtClean="0"/>
          </a:p>
          <a:p>
            <a:pPr lvl="0"/>
            <a:r>
              <a:rPr lang="en-US" altLang="zh-CN" smtClean="0"/>
              <a:t>GaussDB(for MySQL)</a:t>
            </a:r>
            <a:r>
              <a:rPr lang="zh-CN" altLang="en-US" smtClean="0"/>
              <a:t>采用多节点集群的架构，集群中有一个写节点（主节点）和多个读节点（只读节点），各节点共享底层的存储（</a:t>
            </a:r>
            <a:r>
              <a:rPr lang="en-US" altLang="zh-CN" smtClean="0"/>
              <a:t>DFV</a:t>
            </a:r>
            <a:r>
              <a:rPr lang="zh-CN" altLang="en-US" smtClean="0"/>
              <a:t>）。</a:t>
            </a:r>
            <a:endParaRPr lang="en-US" altLang="zh-CN" dirty="0" smtClean="0"/>
          </a:p>
        </p:txBody>
      </p:sp>
      <p:sp>
        <p:nvSpPr>
          <p:cNvPr id="7" name="幻灯片图像占位符 6"/>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4" name="备注占位符 3"/>
          <p:cNvSpPr>
            <a:spLocks noGrp="1"/>
          </p:cNvSpPr>
          <p:nvPr>
            <p:ph type="body" idx="1"/>
          </p:nvPr>
        </p:nvSpPr>
        <p:spPr/>
        <p:txBody>
          <a:bodyPr/>
          <a:lstStyle/>
          <a:p>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可以说明一下，在硬件发展到当前时代，一个节点或一个物理主机上可以部署多个处理单元，所以</a:t>
            </a:r>
            <a:r>
              <a:rPr lang="en-US" altLang="zh-CN" smtClean="0"/>
              <a:t>Shared-Nothing</a:t>
            </a:r>
            <a:r>
              <a:rPr lang="zh-CN" altLang="en-US" smtClean="0"/>
              <a:t>的最小单元可能不是物理节点，而是逻辑上的虚拟处理单元。比如一个物理主机具有</a:t>
            </a:r>
            <a:r>
              <a:rPr lang="en-US" altLang="zh-CN" smtClean="0"/>
              <a:t>4</a:t>
            </a:r>
            <a:r>
              <a:rPr lang="zh-CN" altLang="en-US" smtClean="0"/>
              <a:t>核</a:t>
            </a:r>
            <a:r>
              <a:rPr lang="en-US" altLang="zh-CN" smtClean="0"/>
              <a:t>CPU</a:t>
            </a:r>
            <a:r>
              <a:rPr lang="zh-CN" altLang="en-US" smtClean="0"/>
              <a:t>，部署的时候可以部署</a:t>
            </a:r>
            <a:r>
              <a:rPr lang="en-US" altLang="zh-CN" smtClean="0"/>
              <a:t>4</a:t>
            </a:r>
            <a:r>
              <a:rPr lang="zh-CN" altLang="en-US" smtClean="0"/>
              <a:t>个数据库实例，也就相当于拥有</a:t>
            </a:r>
            <a:r>
              <a:rPr lang="en-US" altLang="zh-CN" smtClean="0"/>
              <a:t>4</a:t>
            </a:r>
            <a:r>
              <a:rPr lang="zh-CN" altLang="en-US" smtClean="0"/>
              <a:t>个处理单元。</a:t>
            </a:r>
            <a:endParaRPr lang="en-US" altLang="zh-CN" smtClean="0"/>
          </a:p>
          <a:p>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smtClean="0"/>
              <a:t>Teradata</a:t>
            </a:r>
            <a:r>
              <a:rPr lang="zh-CN" altLang="en-US" smtClean="0"/>
              <a:t>，</a:t>
            </a:r>
            <a:r>
              <a:rPr lang="en-US" altLang="zh-CN" smtClean="0"/>
              <a:t>Netezza</a:t>
            </a:r>
            <a:r>
              <a:rPr lang="zh-CN" altLang="en-US" smtClean="0"/>
              <a:t>是软硬件一体机。</a:t>
            </a:r>
            <a:endParaRPr lang="en-US" altLang="zh-CN" smtClean="0"/>
          </a:p>
          <a:p>
            <a:pPr lvl="0"/>
            <a:r>
              <a:rPr lang="en-US" altLang="zh-CN" smtClean="0"/>
              <a:t>GaussDB(DWS)</a:t>
            </a:r>
            <a:r>
              <a:rPr lang="zh-CN" altLang="en-US" smtClean="0"/>
              <a:t>，</a:t>
            </a:r>
            <a:r>
              <a:rPr lang="en-US" altLang="zh-CN" smtClean="0"/>
              <a:t>Greeplum</a:t>
            </a:r>
            <a:r>
              <a:rPr lang="zh-CN" altLang="en-US" smtClean="0"/>
              <a:t>，</a:t>
            </a:r>
            <a:r>
              <a:rPr lang="en-US" altLang="zh-CN" smtClean="0"/>
              <a:t>Vertica</a:t>
            </a:r>
            <a:r>
              <a:rPr lang="zh-CN" altLang="en-US" smtClean="0"/>
              <a:t>是软件版</a:t>
            </a:r>
            <a:r>
              <a:rPr lang="en-US" altLang="zh-CN" smtClean="0"/>
              <a:t>MPP</a:t>
            </a:r>
            <a:r>
              <a:rPr lang="zh-CN" altLang="en-US" smtClean="0"/>
              <a:t>数据库。</a:t>
            </a:r>
            <a:endParaRPr lang="en-US" altLang="zh-CN" smtClean="0"/>
          </a:p>
          <a:p>
            <a:r>
              <a:rPr lang="en-US" altLang="zh-CN" smtClean="0"/>
              <a:t>Sharding</a:t>
            </a:r>
            <a:r>
              <a:rPr lang="zh-CN" altLang="en-US" smtClean="0"/>
              <a:t>是</a:t>
            </a:r>
            <a:r>
              <a:rPr lang="en-US" altLang="zh-CN" smtClean="0"/>
              <a:t>Shared-Nothing</a:t>
            </a:r>
            <a:r>
              <a:rPr lang="zh-CN" altLang="en-US" smtClean="0"/>
              <a:t>架构的基础，只有对数据进行分片才可能对实现集群的</a:t>
            </a:r>
            <a:r>
              <a:rPr lang="en-US" altLang="zh-CN" smtClean="0"/>
              <a:t>Shared-Nothing</a:t>
            </a:r>
            <a:r>
              <a:rPr lang="zh-CN" altLang="en-US" smtClean="0"/>
              <a:t>。</a:t>
            </a:r>
            <a:endParaRPr lang="en-US" altLang="zh-CN" smtClean="0"/>
          </a:p>
          <a:p>
            <a:r>
              <a:rPr lang="en-US" altLang="zh-CN" smtClean="0"/>
              <a:t>Shared-Nothing</a:t>
            </a:r>
            <a:r>
              <a:rPr lang="zh-CN" altLang="en-US" smtClean="0"/>
              <a:t>概念是从资源独立性角度来描述架构，</a:t>
            </a:r>
            <a:r>
              <a:rPr lang="en-US" altLang="zh-CN" smtClean="0"/>
              <a:t>Sharding</a:t>
            </a:r>
            <a:r>
              <a:rPr lang="zh-CN" altLang="en-US" smtClean="0"/>
              <a:t>则是从数据的独立性角度来描述架构，</a:t>
            </a:r>
            <a:r>
              <a:rPr lang="en-US" altLang="zh-CN" smtClean="0"/>
              <a:t>MPP</a:t>
            </a:r>
            <a:r>
              <a:rPr lang="zh-CN" altLang="en-US" smtClean="0"/>
              <a:t>是并行计算的角度来描述架构，是并行计算技术在分布式数据库上的应用和体现。</a:t>
            </a:r>
            <a:endParaRPr lang="en-US" altLang="zh-CN" smtClean="0"/>
          </a:p>
          <a:p>
            <a:r>
              <a:rPr lang="en-US" altLang="zh-CN" smtClean="0"/>
              <a:t>Sharding</a:t>
            </a:r>
            <a:r>
              <a:rPr lang="zh-CN" altLang="en-US" smtClean="0"/>
              <a:t>，</a:t>
            </a:r>
            <a:r>
              <a:rPr lang="en-US" altLang="zh-CN" smtClean="0"/>
              <a:t>Shared-Nothing</a:t>
            </a:r>
            <a:r>
              <a:rPr lang="zh-CN" altLang="en-US" smtClean="0"/>
              <a:t>，</a:t>
            </a:r>
            <a:r>
              <a:rPr lang="en-US" altLang="zh-CN" smtClean="0"/>
              <a:t>MPP</a:t>
            </a:r>
            <a:r>
              <a:rPr lang="zh-CN" altLang="en-US" smtClean="0"/>
              <a:t>三个术语都可以看做是分布式数据库架构的专有名词。</a:t>
            </a:r>
            <a:endParaRPr lang="en-US" altLang="zh-CN" smtClean="0"/>
          </a:p>
          <a:p>
            <a:r>
              <a:rPr lang="zh-CN" altLang="en-US" smtClean="0"/>
              <a:t>技术的交叉性产生了当前分布式数据库的主流架构。</a:t>
            </a:r>
            <a:endParaRPr lang="en-US" altLang="zh-CN" smtClean="0"/>
          </a:p>
          <a:p>
            <a:pPr lvl="0"/>
            <a:endParaRPr lang="en-US" altLang="zh-CN" dirty="0" smtClean="0"/>
          </a:p>
        </p:txBody>
      </p:sp>
      <p:sp>
        <p:nvSpPr>
          <p:cNvPr id="5" name="幻灯片图像占位符 4"/>
          <p:cNvSpPr>
            <a:spLocks noGrp="1" noRot="1" noChangeAspect="1"/>
          </p:cNvSpPr>
          <p:nvPr>
            <p:ph type="sldImg"/>
          </p:nvPr>
        </p:nvSpPr>
        <p:spPr>
          <a:xfrm>
            <a:off x="455613" y="766763"/>
            <a:ext cx="5932487" cy="3338512"/>
          </a:xfr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备注占位符 4"/>
          <p:cNvSpPr>
            <a:spLocks noGrp="1"/>
          </p:cNvSpPr>
          <p:nvPr>
            <p:ph type="body" idx="1"/>
          </p:nvPr>
        </p:nvSpPr>
        <p:spPr/>
        <p:txBody>
          <a:bodyPr/>
          <a:lstStyle/>
          <a:p>
            <a:r>
              <a:rPr lang="zh-CN" altLang="en-US" smtClean="0"/>
              <a:t>简单的说，数据库事务是数据库执行过程中的一个基本逻辑单位，数据库系统要确保一个事务中的所有操作都成功完成且结果永久保存在数据库中。</a:t>
            </a:r>
            <a:endParaRPr lang="zh-CN" altLang="en-US" smtClean="0"/>
          </a:p>
          <a:p>
            <a:r>
              <a:rPr lang="zh-CN" altLang="en-US" smtClean="0"/>
              <a:t>事务举例：某人要在商店使用电子货币购买</a:t>
            </a:r>
            <a:r>
              <a:rPr lang="en-US" altLang="zh-CN" smtClean="0"/>
              <a:t>100</a:t>
            </a:r>
            <a:r>
              <a:rPr lang="zh-CN" altLang="en-US" smtClean="0"/>
              <a:t>元的东西，当中至少包括两个操作：</a:t>
            </a:r>
            <a:r>
              <a:rPr lang="en-US" altLang="zh-CN" smtClean="0"/>
              <a:t>1.</a:t>
            </a:r>
            <a:r>
              <a:rPr lang="zh-CN" altLang="en-US" smtClean="0"/>
              <a:t>该人账户减少</a:t>
            </a:r>
            <a:r>
              <a:rPr lang="en-US" altLang="zh-CN" smtClean="0"/>
              <a:t>100</a:t>
            </a:r>
            <a:r>
              <a:rPr lang="zh-CN" altLang="en-US" smtClean="0"/>
              <a:t>元；</a:t>
            </a:r>
            <a:r>
              <a:rPr lang="en-US" altLang="zh-CN" smtClean="0"/>
              <a:t>2.</a:t>
            </a:r>
            <a:r>
              <a:rPr lang="zh-CN" altLang="en-US" smtClean="0"/>
              <a:t>商店账户增加</a:t>
            </a:r>
            <a:r>
              <a:rPr lang="en-US" altLang="zh-CN" smtClean="0"/>
              <a:t>100</a:t>
            </a:r>
            <a:r>
              <a:rPr lang="zh-CN" altLang="en-US" smtClean="0"/>
              <a:t>元。</a:t>
            </a:r>
            <a:endParaRPr lang="zh-CN" altLang="en-US" smtClean="0"/>
          </a:p>
          <a:p>
            <a:r>
              <a:rPr lang="zh-CN" altLang="en-US" smtClean="0"/>
              <a:t>支持事务的数据库管理系统（</a:t>
            </a:r>
            <a:r>
              <a:rPr lang="en-US" altLang="zh-CN" smtClean="0"/>
              <a:t>transactional DBMS</a:t>
            </a:r>
            <a:r>
              <a:rPr lang="zh-CN" altLang="en-US" smtClean="0"/>
              <a:t>）就是要确保以上两个操作（整个“事务”）都能完成，或一起取消；否则就会出现</a:t>
            </a:r>
            <a:r>
              <a:rPr lang="en-US" altLang="zh-CN" smtClean="0"/>
              <a:t>100</a:t>
            </a:r>
            <a:r>
              <a:rPr lang="zh-CN" altLang="en-US" smtClean="0"/>
              <a:t>元平白消失或出现的情况。</a:t>
            </a:r>
            <a:endParaRPr lang="zh-CN" altLang="en-US" smtClean="0"/>
          </a:p>
          <a:p>
            <a:r>
              <a:rPr lang="zh-CN" altLang="en-US" smtClean="0"/>
              <a:t>但在现实情况下，失败的风险很高。在一个数据库事务的执行过程中，有可能会遇上事务操作失败、数据库系统／操作系统出错，甚至是存储介质出错等情况。这便需要</a:t>
            </a:r>
            <a:r>
              <a:rPr lang="en-US" altLang="zh-CN" smtClean="0"/>
              <a:t>DBMS</a:t>
            </a:r>
            <a:r>
              <a:rPr lang="zh-CN" altLang="en-US" smtClean="0"/>
              <a:t>对一个执行失败的事务执行恢复操作，将其数据库状态恢复到一致状态（数据的一致性得到保证的状态）。为了实现将数据库状态恢复到一致状态的功能，</a:t>
            </a:r>
            <a:r>
              <a:rPr lang="en-US" altLang="zh-CN" smtClean="0"/>
              <a:t>DBMS</a:t>
            </a:r>
            <a:r>
              <a:rPr lang="zh-CN" altLang="en-US" smtClean="0"/>
              <a:t>通常需要维护事务日志以追踪事务中所有影响数据库数据的操作。</a:t>
            </a:r>
            <a:endParaRPr lang="zh-CN" altLang="en-US" smtClean="0"/>
          </a:p>
          <a:p>
            <a:endParaRPr lang="zh-CN" altLang="en-US" smtClean="0"/>
          </a:p>
          <a:p>
            <a:endParaRPr lang="zh-CN" altLang="en-US" smtClean="0"/>
          </a:p>
          <a:p>
            <a:endParaRPr lang="zh-CN" altLang="en-US" dirty="0"/>
          </a:p>
        </p:txBody>
      </p:sp>
      <p:sp>
        <p:nvSpPr>
          <p:cNvPr id="3" name="幻灯片图像占位符 2"/>
          <p:cNvSpPr>
            <a:spLocks noGrp="1" noRot="1" noChangeAspect="1"/>
          </p:cNvSpPr>
          <p:nvPr>
            <p:ph type="sldImg"/>
          </p:nvPr>
        </p:nvSpPr>
        <p:spPr>
          <a:xfrm>
            <a:off x="455613" y="766763"/>
            <a:ext cx="5932487" cy="3338512"/>
          </a:xfr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报表系统是产生固定周期报表的，或者上报固定格式报表数据的平台或系统，如日报，周报，月报，年报，为经营决策提供电子化报表数据。</a:t>
            </a:r>
            <a:endParaRPr lang="en-US" altLang="zh-CN" smtClean="0"/>
          </a:p>
          <a:p>
            <a:r>
              <a:rPr lang="en-US" altLang="zh-CN" smtClean="0"/>
              <a:t>CRM</a:t>
            </a:r>
            <a:r>
              <a:rPr lang="zh-CN" altLang="en-US" smtClean="0"/>
              <a:t>系统，客户关系管理系统是维护客户，对客户相关信息进行存储，客户行为进行分析， 对客户进行响应，挽留和市场活动管理等综合性业务系统平台。</a:t>
            </a:r>
            <a:endParaRPr lang="en-US" altLang="zh-CN" smtClean="0"/>
          </a:p>
          <a:p>
            <a:r>
              <a:rPr lang="zh-CN" altLang="en-US" smtClean="0"/>
              <a:t>数据集市一般是面向一个组织中某个部门级别需求的应用需要，比如信用卡部门的分析需求。</a:t>
            </a:r>
            <a:endParaRPr lang="en-US" altLang="zh-CN" smtClean="0"/>
          </a:p>
          <a:p>
            <a:r>
              <a:rPr lang="zh-CN" altLang="en-US" smtClean="0"/>
              <a:t>数据仓库是面向企业级别的构建整个企业分析处理环境而产生的分析类平台系统。</a:t>
            </a:r>
            <a:endParaRPr lang="zh-CN" altLang="en-US" dirty="0"/>
          </a:p>
        </p:txBody>
      </p:sp>
      <p:sp>
        <p:nvSpPr>
          <p:cNvPr id="5" name="幻灯片图像占位符 4"/>
          <p:cNvSpPr>
            <a:spLocks noGrp="1" noRot="1" noChangeAspect="1"/>
          </p:cNvSpPr>
          <p:nvPr>
            <p:ph type="sldImg"/>
          </p:nvPr>
        </p:nvSpPr>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这个对比分析来自数据仓库概念创始人 </a:t>
            </a:r>
            <a:r>
              <a:rPr lang="en-US" altLang="zh-CN" smtClean="0"/>
              <a:t>W.H.Inmon</a:t>
            </a:r>
            <a:r>
              <a:rPr lang="zh-CN" altLang="en-US" smtClean="0"/>
              <a:t>在</a:t>
            </a:r>
            <a:r>
              <a:rPr lang="en-US" altLang="zh-CN" smtClean="0"/>
              <a:t>《Building the DataWarehouse》</a:t>
            </a:r>
            <a:r>
              <a:rPr lang="zh-CN" altLang="en-US" smtClean="0"/>
              <a:t>一书中列举出的区别。</a:t>
            </a:r>
            <a:endParaRPr lang="en-US" altLang="zh-CN" smtClean="0"/>
          </a:p>
          <a:p>
            <a:r>
              <a:rPr lang="en-US" altLang="zh-CN" smtClean="0"/>
              <a:t>OLAP</a:t>
            </a:r>
            <a:r>
              <a:rPr lang="zh-CN" altLang="en-US" smtClean="0"/>
              <a:t>系统操作需求不可预期，操作的数据集大，会进行大量的数据加工计算，但是时效性要求相对较低。所以对数据库架构的并行处理能力以及扩展能力的要求要高于</a:t>
            </a:r>
            <a:r>
              <a:rPr lang="en-US" altLang="zh-CN" smtClean="0"/>
              <a:t>OLTP</a:t>
            </a:r>
            <a:r>
              <a:rPr lang="zh-CN" altLang="en-US" smtClean="0"/>
              <a:t>系统，综合考虑，</a:t>
            </a:r>
            <a:r>
              <a:rPr lang="en-US" altLang="zh-CN" smtClean="0"/>
              <a:t>MPP</a:t>
            </a:r>
            <a:r>
              <a:rPr lang="zh-CN" altLang="en-US" smtClean="0"/>
              <a:t>架构更适用于</a:t>
            </a:r>
            <a:r>
              <a:rPr lang="en-US" altLang="zh-CN" smtClean="0"/>
              <a:t>OLAP</a:t>
            </a:r>
            <a:r>
              <a:rPr lang="zh-CN" altLang="en-US" smtClean="0"/>
              <a:t>系统。</a:t>
            </a:r>
            <a:endParaRPr lang="en-US" altLang="zh-CN" smtClean="0"/>
          </a:p>
          <a:p>
            <a:r>
              <a:rPr lang="zh-CN" altLang="en-US" smtClean="0"/>
              <a:t>无论</a:t>
            </a:r>
            <a:r>
              <a:rPr lang="en-US" altLang="zh-CN" smtClean="0"/>
              <a:t>OLTP</a:t>
            </a:r>
            <a:r>
              <a:rPr lang="zh-CN" altLang="en-US" smtClean="0"/>
              <a:t>还是</a:t>
            </a:r>
            <a:r>
              <a:rPr lang="en-US" altLang="zh-CN" smtClean="0"/>
              <a:t>OLAP</a:t>
            </a:r>
            <a:r>
              <a:rPr lang="zh-CN" altLang="en-US" smtClean="0"/>
              <a:t>系统都是遵守</a:t>
            </a:r>
            <a:r>
              <a:rPr lang="en-US" altLang="zh-CN" smtClean="0"/>
              <a:t>ACID</a:t>
            </a:r>
            <a:r>
              <a:rPr lang="zh-CN" altLang="en-US" smtClean="0"/>
              <a:t>原则的关系型数据库。两者在功能上是相似的，都支持</a:t>
            </a:r>
            <a:r>
              <a:rPr lang="en-US" altLang="zh-CN" smtClean="0"/>
              <a:t>SQL</a:t>
            </a:r>
            <a:r>
              <a:rPr lang="zh-CN" altLang="en-US" smtClean="0"/>
              <a:t>，都可以处理大量数据，都是强一致事务处理。但是对于应用场景来说，</a:t>
            </a:r>
            <a:r>
              <a:rPr lang="en-US" altLang="zh-CN" smtClean="0"/>
              <a:t>OLTP</a:t>
            </a:r>
            <a:r>
              <a:rPr lang="zh-CN" altLang="en-US" smtClean="0"/>
              <a:t>更强调实时性要求，</a:t>
            </a:r>
            <a:r>
              <a:rPr lang="en-US" altLang="zh-CN" smtClean="0"/>
              <a:t>OLAP</a:t>
            </a:r>
            <a:r>
              <a:rPr lang="zh-CN" altLang="en-US" smtClean="0"/>
              <a:t>更强调大数据量分析。一般情况下由于在各自应用场景下追求的目标不同，如果替换使用，比如</a:t>
            </a:r>
            <a:r>
              <a:rPr lang="en-US" altLang="zh-CN" smtClean="0"/>
              <a:t>OLTP</a:t>
            </a:r>
            <a:r>
              <a:rPr lang="zh-CN" altLang="en-US" smtClean="0"/>
              <a:t>数据库做</a:t>
            </a:r>
            <a:r>
              <a:rPr lang="en-US" altLang="zh-CN" smtClean="0"/>
              <a:t>OLAP</a:t>
            </a:r>
            <a:r>
              <a:rPr lang="zh-CN" altLang="en-US" smtClean="0"/>
              <a:t>的分析应用，</a:t>
            </a:r>
            <a:r>
              <a:rPr lang="en-US" altLang="zh-CN" smtClean="0"/>
              <a:t>OLAP</a:t>
            </a:r>
            <a:r>
              <a:rPr lang="zh-CN" altLang="en-US" smtClean="0"/>
              <a:t>去承担进行实时性要求极高的核心交易系统，目前的产品是不合适的。但是现在新型的</a:t>
            </a:r>
            <a:r>
              <a:rPr lang="en-US" altLang="zh-CN" smtClean="0"/>
              <a:t>HTAP(Hybrid transaction-analytical processing</a:t>
            </a:r>
            <a:r>
              <a:rPr lang="zh-CN" altLang="en-US" smtClean="0"/>
              <a:t>数据库系统其目标是使用一套系统能同时承载</a:t>
            </a:r>
            <a:r>
              <a:rPr lang="en-US" altLang="zh-CN" smtClean="0"/>
              <a:t>OLTP</a:t>
            </a:r>
            <a:r>
              <a:rPr lang="zh-CN" altLang="en-US" smtClean="0"/>
              <a:t>和</a:t>
            </a:r>
            <a:r>
              <a:rPr lang="en-US" altLang="zh-CN" smtClean="0"/>
              <a:t>OLAP</a:t>
            </a:r>
            <a:r>
              <a:rPr lang="zh-CN" altLang="en-US" smtClean="0"/>
              <a:t>两种环境的，这种技术已经不断出现相关产品，是</a:t>
            </a:r>
            <a:r>
              <a:rPr lang="en-US" altLang="zh-CN" smtClean="0"/>
              <a:t>NewSQL</a:t>
            </a:r>
            <a:r>
              <a:rPr lang="zh-CN" altLang="en-US" smtClean="0"/>
              <a:t>数据库技术发展方向的目标之一。</a:t>
            </a:r>
            <a:endParaRPr lang="en-US" altLang="zh-CN" smtClean="0"/>
          </a:p>
          <a:p>
            <a:r>
              <a:rPr lang="zh-CN" altLang="en-US" smtClean="0"/>
              <a:t>分析粒度：</a:t>
            </a:r>
            <a:r>
              <a:rPr lang="en-US" altLang="zh-CN" smtClean="0"/>
              <a:t>OLTP</a:t>
            </a:r>
            <a:r>
              <a:rPr lang="zh-CN" altLang="en-US" smtClean="0"/>
              <a:t>处理的是业务系统交易的详细数据， </a:t>
            </a:r>
            <a:r>
              <a:rPr lang="en-US" altLang="zh-CN" smtClean="0"/>
              <a:t>OLAP</a:t>
            </a:r>
            <a:r>
              <a:rPr lang="zh-CN" altLang="en-US" smtClean="0"/>
              <a:t>是基于详细交易数据基础上，进行汇总，聚合，关联等提炼处理。</a:t>
            </a:r>
            <a:endParaRPr lang="en-US" altLang="zh-CN" smtClean="0"/>
          </a:p>
          <a:p>
            <a:r>
              <a:rPr lang="zh-CN" altLang="en-US" smtClean="0"/>
              <a:t>时效性：</a:t>
            </a:r>
            <a:r>
              <a:rPr lang="en-US" altLang="zh-CN" smtClean="0"/>
              <a:t>OLTP</a:t>
            </a:r>
            <a:r>
              <a:rPr lang="zh-CN" altLang="en-US" smtClean="0"/>
              <a:t>事务是瞬时发生的，</a:t>
            </a:r>
            <a:r>
              <a:rPr lang="en-US" altLang="zh-CN" smtClean="0"/>
              <a:t>OLAP</a:t>
            </a:r>
            <a:r>
              <a:rPr lang="zh-CN" altLang="en-US" smtClean="0"/>
              <a:t>考虑是对长期的历史数据的变化趋势分析。</a:t>
            </a:r>
            <a:endParaRPr lang="en-US" altLang="zh-CN" smtClean="0"/>
          </a:p>
          <a:p>
            <a:r>
              <a:rPr lang="zh-CN" altLang="en-US" smtClean="0"/>
              <a:t>数据更新需求：这里的不可更新不是说数据不能被</a:t>
            </a:r>
            <a:r>
              <a:rPr lang="en-US" altLang="zh-CN" smtClean="0"/>
              <a:t>update</a:t>
            </a:r>
            <a:r>
              <a:rPr lang="zh-CN" altLang="en-US" smtClean="0"/>
              <a:t>，而是说</a:t>
            </a:r>
            <a:r>
              <a:rPr lang="en-US" altLang="zh-CN" smtClean="0"/>
              <a:t>OLAP</a:t>
            </a:r>
            <a:r>
              <a:rPr lang="zh-CN" altLang="en-US" smtClean="0"/>
              <a:t>系统的数据一般情况下数据存放到数据仓库，数据是不能被更新的，如果更新变化，需要保留变化的历史操作。也就是从业务操作方面讲，</a:t>
            </a:r>
            <a:r>
              <a:rPr lang="en-US" altLang="zh-CN" smtClean="0"/>
              <a:t>OLAP</a:t>
            </a:r>
            <a:r>
              <a:rPr lang="zh-CN" altLang="en-US" smtClean="0"/>
              <a:t>系统不应当在原始记录上进行更新。</a:t>
            </a:r>
            <a:endParaRPr lang="en-US" altLang="zh-CN" smtClean="0"/>
          </a:p>
          <a:p>
            <a:r>
              <a:rPr lang="zh-CN" altLang="en-US" smtClean="0"/>
              <a:t>驱动方式：指的是应用程序开发的驱动方式，</a:t>
            </a:r>
            <a:r>
              <a:rPr lang="en-US" altLang="zh-CN" smtClean="0"/>
              <a:t>OLTP</a:t>
            </a:r>
            <a:r>
              <a:rPr lang="zh-CN" altLang="en-US" smtClean="0"/>
              <a:t>是事务驱动，就是需求来自于业务要实现的事务性需求，满足事务性需求来驱动应用的开发，而</a:t>
            </a:r>
            <a:r>
              <a:rPr lang="en-US" altLang="zh-CN" smtClean="0"/>
              <a:t>OLAP</a:t>
            </a:r>
            <a:r>
              <a:rPr lang="zh-CN" altLang="en-US" smtClean="0"/>
              <a:t>是分析的需求，要出报表，满足即系查询，管理分析等综合性的分析需求来开发相应的应用程序。</a:t>
            </a:r>
            <a:endParaRPr lang="en-US" altLang="zh-CN" dirty="0"/>
          </a:p>
        </p:txBody>
      </p:sp>
      <p:sp>
        <p:nvSpPr>
          <p:cNvPr id="5" name="幻灯片图像占位符 4"/>
          <p:cNvSpPr>
            <a:spLocks noGrp="1" noRot="1" noChangeAspect="1"/>
          </p:cNvSpPr>
          <p:nvPr>
            <p:ph type="sldImg"/>
          </p:nvPr>
        </p:nvSpPr>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en-US" altLang="zh-CN" smtClean="0"/>
              <a:t>TPC</a:t>
            </a:r>
            <a:r>
              <a:rPr lang="zh-CN" altLang="en-US" smtClean="0"/>
              <a:t>组织是总部在美国的非营利性组织。</a:t>
            </a:r>
            <a:endParaRPr lang="zh-CN" altLang="en-US" smtClean="0"/>
          </a:p>
          <a:p>
            <a:pPr lvl="0"/>
            <a:r>
              <a:rPr lang="en-US" altLang="zh-CN" smtClean="0"/>
              <a:t>2015</a:t>
            </a:r>
            <a:r>
              <a:rPr lang="zh-CN" altLang="en-US" smtClean="0"/>
              <a:t>年</a:t>
            </a:r>
            <a:r>
              <a:rPr lang="en-US" altLang="zh-CN" smtClean="0"/>
              <a:t>12</a:t>
            </a:r>
            <a:r>
              <a:rPr lang="zh-CN" altLang="en-US" smtClean="0"/>
              <a:t>月，</a:t>
            </a:r>
            <a:r>
              <a:rPr lang="en-US" altLang="zh-CN" smtClean="0"/>
              <a:t>TPC</a:t>
            </a:r>
            <a:r>
              <a:rPr lang="zh-CN" altLang="en-US" smtClean="0"/>
              <a:t>发布了第一个衡量基于</a:t>
            </a:r>
            <a:r>
              <a:rPr lang="en-US" altLang="zh-CN" smtClean="0"/>
              <a:t>SQL</a:t>
            </a:r>
            <a:r>
              <a:rPr lang="zh-CN" altLang="en-US" smtClean="0"/>
              <a:t>的大数据系统性能的工业基准测试标准，</a:t>
            </a:r>
            <a:r>
              <a:rPr lang="en-US" altLang="zh-CN" smtClean="0"/>
              <a:t>TPC-DS 2.0</a:t>
            </a:r>
            <a:r>
              <a:rPr lang="zh-CN" altLang="en-US" smtClean="0"/>
              <a:t>。构建在充分研究的</a:t>
            </a:r>
            <a:r>
              <a:rPr lang="en-US" altLang="zh-CN" smtClean="0"/>
              <a:t>TPC-DS</a:t>
            </a:r>
            <a:r>
              <a:rPr lang="zh-CN" altLang="en-US" smtClean="0"/>
              <a:t>之上，</a:t>
            </a:r>
            <a:r>
              <a:rPr lang="en-US" altLang="zh-CN" smtClean="0"/>
              <a:t>2.0</a:t>
            </a:r>
            <a:r>
              <a:rPr lang="zh-CN" altLang="en-US" smtClean="0"/>
              <a:t>版本特别针对基于</a:t>
            </a:r>
            <a:r>
              <a:rPr lang="en-US" altLang="zh-CN" smtClean="0"/>
              <a:t>SQL</a:t>
            </a:r>
            <a:r>
              <a:rPr lang="zh-CN" altLang="en-US" smtClean="0"/>
              <a:t>的大数据而设计、同时保留了所有用于支持基准测试决策的关键特性。</a:t>
            </a:r>
            <a:endParaRPr lang="zh-CN" altLang="en-US" smtClean="0"/>
          </a:p>
          <a:p>
            <a:pPr lvl="0"/>
            <a:r>
              <a:rPr lang="en-US" altLang="zh-CN" smtClean="0"/>
              <a:t>TPC-DS 2.0</a:t>
            </a:r>
            <a:r>
              <a:rPr lang="zh-CN" altLang="en-US" smtClean="0"/>
              <a:t>的简介 </a:t>
            </a:r>
            <a:r>
              <a:rPr lang="en-US" altLang="zh-CN" smtClean="0"/>
              <a:t>https://zhuanlan.zhihu.com/p/25296188</a:t>
            </a:r>
            <a:endParaRPr lang="en-US" altLang="zh-CN" smtClean="0"/>
          </a:p>
          <a:p>
            <a:pPr lvl="0"/>
            <a:r>
              <a:rPr lang="en-US" altLang="zh-CN" smtClean="0"/>
              <a:t>Tpc-C</a:t>
            </a:r>
            <a:r>
              <a:rPr lang="zh-CN" altLang="en-US" smtClean="0"/>
              <a:t>案例： </a:t>
            </a:r>
            <a:r>
              <a:rPr lang="en-US" altLang="zh-CN" smtClean="0"/>
              <a:t>https://blog.csdn.net/zhangxinrun/article/details/5964444</a:t>
            </a:r>
            <a:endParaRPr lang="en-US" altLang="zh-CN" smtClean="0"/>
          </a:p>
          <a:p>
            <a:pPr lvl="0"/>
            <a:r>
              <a:rPr lang="en-US" altLang="zh-CN" smtClean="0"/>
              <a:t>Tpc-H</a:t>
            </a:r>
            <a:r>
              <a:rPr lang="zh-CN" altLang="en-US" smtClean="0"/>
              <a:t>： </a:t>
            </a:r>
            <a:r>
              <a:rPr lang="en-US" altLang="zh-CN" smtClean="0"/>
              <a:t>https://blog.csdn.net/leixingbang1989/article/details/8766047</a:t>
            </a:r>
            <a:endParaRPr lang="en-US" altLang="zh-CN" smtClean="0"/>
          </a:p>
          <a:p>
            <a:pPr lvl="0"/>
            <a:r>
              <a:rPr lang="en-US" altLang="zh-CN" smtClean="0"/>
              <a:t>Power</a:t>
            </a:r>
            <a:r>
              <a:rPr lang="zh-CN" altLang="en-US" smtClean="0"/>
              <a:t>能力测试：是数据初始加载完成后，数据库处于初始状态，未进行其它任何操作，特别是缓冲区还没有被测试数据库的数据，被称为</a:t>
            </a:r>
            <a:r>
              <a:rPr lang="en-US" altLang="zh-CN" smtClean="0"/>
              <a:t>raw</a:t>
            </a:r>
            <a:r>
              <a:rPr lang="zh-CN" altLang="en-US" smtClean="0"/>
              <a:t>查询。</a:t>
            </a:r>
            <a:endParaRPr lang="zh-CN" altLang="en-US" smtClean="0"/>
          </a:p>
          <a:p>
            <a:pPr lvl="0"/>
            <a:r>
              <a:rPr lang="en-US" altLang="zh-CN" smtClean="0"/>
              <a:t>Througput</a:t>
            </a:r>
            <a:r>
              <a:rPr lang="zh-CN" altLang="en-US" smtClean="0"/>
              <a:t>测试更类似压力测试，接进去实际环境。</a:t>
            </a:r>
            <a:endParaRPr lang="zh-CN" altLang="en-US" dirty="0"/>
          </a:p>
        </p:txBody>
      </p:sp>
      <p:sp>
        <p:nvSpPr>
          <p:cNvPr id="4" name="幻灯片图像占位符 3"/>
          <p:cNvSpPr>
            <a:spLocks noGrp="1" noRot="1" noChangeAspect="1"/>
          </p:cNvSpPr>
          <p:nvPr>
            <p:ph type="sldImg"/>
          </p:nvPr>
        </p:nvSpPr>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a:xfrm>
            <a:off x="455613" y="766763"/>
            <a:ext cx="5932487" cy="3338512"/>
          </a:xfrm>
        </p:spPr>
      </p:sp>
      <p:sp>
        <p:nvSpPr>
          <p:cNvPr id="5" name="备注占位符 4"/>
          <p:cNvSpPr>
            <a:spLocks noGrp="1"/>
          </p:cNvSpPr>
          <p:nvPr>
            <p:ph type="body" idx="1"/>
          </p:nvPr>
        </p:nvSpPr>
        <p:spPr/>
        <p:txBody>
          <a:bodyPr/>
          <a:lstStyle/>
          <a:p>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742950" y="717550"/>
            <a:ext cx="5557838" cy="3125788"/>
          </a:xfrm>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zh-CN" altLang="en-US" smtClean="0"/>
              <a:t>数据库技术概念来源</a:t>
            </a:r>
            <a:r>
              <a:rPr lang="en-US" altLang="zh-CN" smtClean="0"/>
              <a:t>《</a:t>
            </a:r>
            <a:r>
              <a:rPr lang="zh-CN" altLang="en-US" smtClean="0"/>
              <a:t>数据库原理及应用</a:t>
            </a:r>
            <a:r>
              <a:rPr lang="en-US" altLang="zh-CN" smtClean="0"/>
              <a:t>》</a:t>
            </a:r>
            <a:r>
              <a:rPr lang="zh-CN" altLang="en-US" smtClean="0"/>
              <a:t>第</a:t>
            </a:r>
            <a:r>
              <a:rPr lang="en-US" altLang="zh-CN" smtClean="0"/>
              <a:t>2</a:t>
            </a:r>
            <a:r>
              <a:rPr lang="zh-CN" altLang="en-US" smtClean="0"/>
              <a:t>版，何玉洁 刘福刚 主编， </a:t>
            </a:r>
            <a:r>
              <a:rPr lang="en-US" altLang="zh-CN" smtClean="0"/>
              <a:t>2012.3 </a:t>
            </a:r>
            <a:r>
              <a:rPr lang="zh-CN" altLang="en-US" smtClean="0"/>
              <a:t>人民邮电出版社出版。</a:t>
            </a:r>
            <a:endParaRPr lang="en-US" altLang="zh-CN" smtClean="0"/>
          </a:p>
          <a:p>
            <a:r>
              <a:rPr lang="zh-CN" altLang="en-US" smtClean="0"/>
              <a:t>这四个基本概念的划分来源 </a:t>
            </a:r>
            <a:r>
              <a:rPr lang="en-US" altLang="zh-CN" smtClean="0"/>
              <a:t>《</a:t>
            </a:r>
            <a:r>
              <a:rPr lang="zh-CN" altLang="en-US" smtClean="0"/>
              <a:t>数据库系统概论</a:t>
            </a:r>
            <a:r>
              <a:rPr lang="en-US" altLang="zh-CN" smtClean="0"/>
              <a:t>》</a:t>
            </a:r>
            <a:r>
              <a:rPr lang="zh-CN" altLang="en-US" smtClean="0"/>
              <a:t>第</a:t>
            </a:r>
            <a:r>
              <a:rPr lang="en-US" altLang="zh-CN" smtClean="0"/>
              <a:t>5</a:t>
            </a:r>
            <a:r>
              <a:rPr lang="zh-CN" altLang="en-US" smtClean="0"/>
              <a:t>版，王珊 萨师煊 编著， </a:t>
            </a:r>
            <a:r>
              <a:rPr lang="en-US" altLang="zh-CN" smtClean="0"/>
              <a:t>2014.9 </a:t>
            </a:r>
            <a:r>
              <a:rPr lang="zh-CN" altLang="en-US" smtClean="0"/>
              <a:t>高等教育出版社出版。</a:t>
            </a:r>
            <a:endParaRPr lang="en-US" altLang="zh-CN" smtClean="0"/>
          </a:p>
          <a:p>
            <a:r>
              <a:rPr lang="zh-CN" altLang="en-US" smtClean="0"/>
              <a:t>数据库技术包含四个相关概念：数据，数据库，数据库管理系统，数据库系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数值型数据也就是广义概念数据里面的数字。</a:t>
            </a:r>
            <a:endParaRPr lang="en-US" altLang="zh-CN" smtClean="0"/>
          </a:p>
          <a:p>
            <a:pPr lvl="0"/>
            <a:r>
              <a:rPr lang="zh-CN" altLang="en-US" smtClean="0"/>
              <a:t>广义的数据有多种形式，都可以经过数字化后存入计算机。</a:t>
            </a:r>
            <a:endParaRPr lang="en-US" altLang="zh-CN" smtClean="0"/>
          </a:p>
          <a:p>
            <a:pPr lvl="0"/>
            <a:r>
              <a:rPr lang="zh-CN" altLang="en-US" smtClean="0"/>
              <a:t>数据和数据的语义密切相关，比如</a:t>
            </a:r>
            <a:r>
              <a:rPr lang="en-US" altLang="zh-CN" smtClean="0"/>
              <a:t>88</a:t>
            </a:r>
            <a:r>
              <a:rPr lang="zh-CN" altLang="en-US" smtClean="0"/>
              <a:t>是一个数据，可以是一个部门的总的人数，</a:t>
            </a:r>
            <a:r>
              <a:rPr lang="en-US" altLang="zh-CN" smtClean="0"/>
              <a:t>88</a:t>
            </a:r>
            <a:r>
              <a:rPr lang="zh-CN" altLang="en-US" smtClean="0"/>
              <a:t>人；也可以是一门课的考试成绩，</a:t>
            </a:r>
            <a:r>
              <a:rPr lang="en-US" altLang="zh-CN" smtClean="0"/>
              <a:t>88</a:t>
            </a:r>
            <a:r>
              <a:rPr lang="zh-CN" altLang="en-US" smtClean="0"/>
              <a:t>分；甚至还可以是一个人的体重，</a:t>
            </a:r>
            <a:r>
              <a:rPr lang="en-US" altLang="zh-CN" smtClean="0"/>
              <a:t>88kg</a:t>
            </a:r>
            <a:r>
              <a:rPr lang="zh-CN" altLang="en-US" smtClean="0"/>
              <a:t>。</a:t>
            </a:r>
            <a:endParaRPr lang="en-US" altLang="zh-CN" smtClean="0"/>
          </a:p>
          <a:p>
            <a:pPr lvl="0"/>
            <a:r>
              <a:rPr lang="zh-CN" altLang="en-US" smtClean="0"/>
              <a:t>描述事务的符号可以是数字，也可以是文字、图形、图像、音频、视频等，数据有多种表现形式，他们都可以经过数字化后存入计算机。</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使用多方面的数据来描述某校计算机系的一位同学的基本情况，比如姓名，性别，出生年月，籍贯等等。</a:t>
            </a:r>
            <a:endParaRPr lang="en-US" altLang="zh-CN" smtClean="0"/>
          </a:p>
          <a:p>
            <a:pPr lvl="0"/>
            <a:r>
              <a:rPr lang="zh-CN" altLang="en-US" smtClean="0"/>
              <a:t>把这些数据组织在一起，构成一条记录，这个学生记录就是描述学生的数据，通过这种格式的数据就可以描述其他学生。</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数据库是长期存储在计算机内、有组织的、可共享的大量数据的集合。</a:t>
            </a:r>
            <a:endParaRPr lang="en-US" altLang="zh-CN" smtClean="0"/>
          </a:p>
          <a:p>
            <a:pPr lvl="0"/>
            <a:r>
              <a:rPr lang="zh-CN" altLang="en-US" smtClean="0"/>
              <a:t>有组织：按一定的数据模型组织，描述和储存。按照模型存储可以让数据具有较小的冗余度，较高的数据独立型和易扩展性。</a:t>
            </a:r>
            <a:endParaRPr lang="en-US" altLang="zh-CN" smtClean="0"/>
          </a:p>
          <a:p>
            <a:pPr lvl="0"/>
            <a:r>
              <a:rPr lang="zh-CN" altLang="en-US" smtClean="0"/>
              <a:t>可共享：为各种用户共享使用，而不是某个用户所专有。</a:t>
            </a:r>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pPr lvl="0"/>
            <a:r>
              <a:rPr lang="zh-CN" altLang="en-US" smtClean="0"/>
              <a:t>数据定义功能：数据库管理系统提供数据定义语言</a:t>
            </a:r>
            <a:r>
              <a:rPr lang="en-US" altLang="zh-CN" smtClean="0"/>
              <a:t>(DDL)</a:t>
            </a:r>
            <a:r>
              <a:rPr lang="zh-CN" altLang="en-US" smtClean="0"/>
              <a:t>，用户可以通过它可以方便地对数据库中的数据对象的组成与结构进行定义；</a:t>
            </a:r>
            <a:endParaRPr lang="en-US" altLang="zh-CN" smtClean="0"/>
          </a:p>
          <a:p>
            <a:pPr lvl="0"/>
            <a:r>
              <a:rPr lang="zh-CN" altLang="en-US" smtClean="0"/>
              <a:t>数据组织、存储和管理功能：数据库管理系统要分类组织、存储和管理数据，包括数据字典，用户数据、数据的存取路径等。要确定以何种文件结构和存取方式在存储上组织这些数据，如何实现数据之间的联系；</a:t>
            </a:r>
            <a:endParaRPr lang="en-US" altLang="zh-CN" smtClean="0"/>
          </a:p>
          <a:p>
            <a:pPr lvl="0"/>
            <a:r>
              <a:rPr lang="zh-CN" altLang="en-US" smtClean="0"/>
              <a:t>数据组织和存储的基本目标是提高存储空间利用率和方便存取，提供多种存取方法来提高存取效率；</a:t>
            </a:r>
            <a:endParaRPr lang="en-US" altLang="zh-CN" smtClean="0"/>
          </a:p>
          <a:p>
            <a:pPr lvl="0"/>
            <a:r>
              <a:rPr lang="zh-CN" altLang="en-US" smtClean="0"/>
              <a:t>数据操纵功能：数据库系统管理系统还提供数据操纵语言</a:t>
            </a:r>
            <a:r>
              <a:rPr lang="en-US" altLang="zh-CN" smtClean="0"/>
              <a:t>(DML)</a:t>
            </a:r>
            <a:r>
              <a:rPr lang="zh-CN" altLang="en-US" smtClean="0"/>
              <a:t>，用户可以使用它来操纵数据，实现对数据库的基本操作，如查询、插入、删除和修改等；</a:t>
            </a:r>
            <a:endParaRPr lang="en-US" altLang="zh-CN" smtClean="0"/>
          </a:p>
          <a:p>
            <a:pPr lvl="0"/>
            <a:r>
              <a:rPr lang="zh-CN" altLang="en-US" smtClean="0"/>
              <a:t>数据库的事务管理和运行管理：数据库在建立、运用和维护时由数据库管理系统统一管理和控制，以保证事务的正确运行，保证数据的安全性、完整性、多用户对数据的并发使用及发生故障后的系统恢复；</a:t>
            </a:r>
            <a:endParaRPr lang="en-US" altLang="zh-CN" smtClean="0"/>
          </a:p>
          <a:p>
            <a:pPr lvl="0"/>
            <a:r>
              <a:rPr lang="zh-CN" altLang="en-US" smtClean="0"/>
              <a:t>数据库的建立和维护功能：包括数据库初始数据的输入和转换功能，数据库的转储、恢复功能，数据库的重组织功能和性能监视、分析功能等，这些功能通常由一些使用程序或管理工具完成的。</a:t>
            </a:r>
            <a:endParaRPr lang="en-US" altLang="zh-CN" smtClean="0"/>
          </a:p>
          <a:p>
            <a:pPr lvl="0"/>
            <a:endParaRPr lang="en-US" altLang="zh-CN" smtClean="0"/>
          </a:p>
          <a:p>
            <a:pPr lvl="0"/>
            <a:endParaRPr lang="en-US" altLang="zh-CN" dirty="0" smtClean="0"/>
          </a:p>
        </p:txBody>
      </p:sp>
      <p:sp>
        <p:nvSpPr>
          <p:cNvPr id="5" name="幻灯片图像占位符 4"/>
          <p:cNvSpPr>
            <a:spLocks noGrp="1" noRot="1" noChangeAspect="1"/>
          </p:cNvSpPr>
          <p:nvPr>
            <p:ph type="sldImg"/>
          </p:nvPr>
        </p:nvSpPr>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修订记录">
    <p:spTree>
      <p:nvGrpSpPr>
        <p:cNvPr id="1" name=""/>
        <p:cNvGrpSpPr/>
        <p:nvPr/>
      </p:nvGrpSpPr>
      <p:grpSpPr>
        <a:xfrm>
          <a:off x="0" y="0"/>
          <a:ext cx="0" cy="0"/>
          <a:chOff x="0" y="0"/>
          <a:chExt cx="0" cy="0"/>
        </a:xfrm>
      </p:grpSpPr>
      <p:graphicFrame>
        <p:nvGraphicFramePr>
          <p:cNvPr id="3" name="Group 3"/>
          <p:cNvGraphicFramePr>
            <a:graphicFrameLocks noGrp="1"/>
          </p:cNvGraphicFramePr>
          <p:nvPr userDrawn="1"/>
        </p:nvGraphicFramePr>
        <p:xfrm>
          <a:off x="1007140" y="1254490"/>
          <a:ext cx="10460715" cy="1082675"/>
        </p:xfrm>
        <a:graphic>
          <a:graphicData uri="http://schemas.openxmlformats.org/drawingml/2006/table">
            <a:tbl>
              <a:tblPr/>
              <a:tblGrid>
                <a:gridCol w="3119031"/>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编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适用产品</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产品版本</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课程版本</a:t>
                      </a:r>
                      <a:endParaRPr kumimoji="1" lang="en-US" altLang="zh-CN"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 name="Group 21"/>
          <p:cNvGraphicFramePr>
            <a:graphicFrameLocks noGrp="1"/>
          </p:cNvGraphicFramePr>
          <p:nvPr userDrawn="1"/>
        </p:nvGraphicFramePr>
        <p:xfrm>
          <a:off x="1007140" y="2776902"/>
          <a:ext cx="10460714" cy="3038475"/>
        </p:xfrm>
        <a:graphic>
          <a:graphicData uri="http://schemas.openxmlformats.org/drawingml/2006/table">
            <a:tbl>
              <a:tblPr/>
              <a:tblGrid>
                <a:gridCol w="3119030"/>
                <a:gridCol w="1967450"/>
                <a:gridCol w="3023155"/>
                <a:gridCol w="2351079"/>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作者</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时间</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en-US" sz="1800" b="1" i="0" u="none" strike="noStrike" cap="none" normalizeH="0" baseline="0" dirty="0">
                          <a:ln>
                            <a:noFill/>
                          </a:ln>
                          <a:solidFill>
                            <a:schemeClr val="tx1"/>
                          </a:solidFill>
                          <a:effectLst/>
                          <a:latin typeface="+mn-lt"/>
                          <a:ea typeface="+mn-ea"/>
                        </a:rPr>
                        <a:t>审核人</a:t>
                      </a:r>
                      <a:r>
                        <a:rPr kumimoji="1" lang="en-US" altLang="zh-CN" sz="1800" b="1" i="0" u="none" strike="noStrike" cap="none" normalizeH="0" baseline="0" dirty="0">
                          <a:ln>
                            <a:noFill/>
                          </a:ln>
                          <a:solidFill>
                            <a:schemeClr val="tx1"/>
                          </a:solidFill>
                          <a:effectLst/>
                          <a:latin typeface="+mn-lt"/>
                          <a:ea typeface="+mn-ea"/>
                        </a:rPr>
                        <a:t>/</a:t>
                      </a:r>
                      <a:r>
                        <a:rPr kumimoji="1" lang="zh-CN" altLang="en-US" sz="1800" b="1" i="0" u="none" strike="noStrike" cap="none" normalizeH="0" baseline="0" dirty="0">
                          <a:ln>
                            <a:noFill/>
                          </a:ln>
                          <a:solidFill>
                            <a:schemeClr val="tx1"/>
                          </a:solidFill>
                          <a:effectLst/>
                          <a:latin typeface="+mn-lt"/>
                          <a:ea typeface="+mn-ea"/>
                        </a:rPr>
                        <a:t>工号</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r>
                        <a:rPr kumimoji="1" lang="zh-CN" altLang="zh-CN" sz="1800" b="1" i="0" u="none" strike="noStrike" cap="none" normalizeH="0" baseline="0" dirty="0">
                          <a:ln>
                            <a:noFill/>
                          </a:ln>
                          <a:solidFill>
                            <a:schemeClr val="tx1"/>
                          </a:solidFill>
                          <a:effectLst/>
                          <a:latin typeface="+mn-lt"/>
                          <a:ea typeface="+mn-ea"/>
                        </a:rPr>
                        <a:t>新开发/优化</a:t>
                      </a:r>
                      <a:endParaRPr kumimoji="1" lang="zh-CN" altLang="en-US" sz="1800" b="1" i="0" u="none" strike="noStrike" cap="none" normalizeH="0" baseline="0" dirty="0">
                        <a:ln>
                          <a:noFill/>
                        </a:ln>
                        <a:solidFill>
                          <a:schemeClr val="tx1"/>
                        </a:solidFill>
                        <a:effectLst/>
                        <a:latin typeface="+mn-lt"/>
                        <a:ea typeface="+mn-ea"/>
                      </a:endParaRPr>
                    </a:p>
                  </a:txBody>
                  <a:tcPr marL="102659" marR="10265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en-US"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anose="05000000000000000000" pitchFamily="2" charset="2"/>
                        <a:buNone/>
                      </a:pPr>
                      <a:endParaRPr kumimoji="0" lang="zh-CN" altLang="zh-CN" sz="1600" b="0" i="0" u="none" strike="noStrike" cap="none" normalizeH="0" baseline="0" dirty="0">
                        <a:ln>
                          <a:noFill/>
                        </a:ln>
                        <a:solidFill>
                          <a:schemeClr val="tx1"/>
                        </a:solidFill>
                        <a:effectLst/>
                        <a:latin typeface="+mn-lt"/>
                        <a:ea typeface="+mn-ea"/>
                      </a:endParaRPr>
                    </a:p>
                  </a:txBody>
                  <a:tcPr marL="104303" marR="104303"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文本占位符 7"/>
          <p:cNvSpPr>
            <a:spLocks noGrp="1"/>
          </p:cNvSpPr>
          <p:nvPr>
            <p:ph type="body" sz="quarter" idx="17" hasCustomPrompt="1"/>
          </p:nvPr>
        </p:nvSpPr>
        <p:spPr>
          <a:xfrm>
            <a:off x="1007139" y="1825692"/>
            <a:ext cx="311903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课程编码</a:t>
            </a:r>
            <a:endParaRPr lang="zh-CN" altLang="en-US" dirty="0"/>
          </a:p>
        </p:txBody>
      </p:sp>
      <p:sp>
        <p:nvSpPr>
          <p:cNvPr id="6" name="文本占位符 7"/>
          <p:cNvSpPr>
            <a:spLocks noGrp="1"/>
          </p:cNvSpPr>
          <p:nvPr>
            <p:ph type="body" sz="quarter" idx="18" hasCustomPrompt="1"/>
          </p:nvPr>
        </p:nvSpPr>
        <p:spPr>
          <a:xfrm>
            <a:off x="4126170" y="1825692"/>
            <a:ext cx="1967450"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适用的产品</a:t>
            </a:r>
            <a:endParaRPr lang="zh-CN" altLang="en-US" dirty="0"/>
          </a:p>
        </p:txBody>
      </p:sp>
      <p:sp>
        <p:nvSpPr>
          <p:cNvPr id="7" name="文本占位符 7"/>
          <p:cNvSpPr>
            <a:spLocks noGrp="1"/>
          </p:cNvSpPr>
          <p:nvPr>
            <p:ph type="body" sz="quarter" idx="19" hasCustomPrompt="1"/>
          </p:nvPr>
        </p:nvSpPr>
        <p:spPr>
          <a:xfrm>
            <a:off x="6093619" y="1825692"/>
            <a:ext cx="3023155"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5R2</a:t>
            </a:r>
            <a:endParaRPr lang="zh-CN" altLang="en-US" dirty="0"/>
          </a:p>
        </p:txBody>
      </p:sp>
      <p:sp>
        <p:nvSpPr>
          <p:cNvPr id="8" name="文本占位符 7"/>
          <p:cNvSpPr>
            <a:spLocks noGrp="1"/>
          </p:cNvSpPr>
          <p:nvPr>
            <p:ph type="body" sz="quarter" idx="20" hasCustomPrompt="1"/>
          </p:nvPr>
        </p:nvSpPr>
        <p:spPr>
          <a:xfrm>
            <a:off x="9116775" y="1825692"/>
            <a:ext cx="2351079" cy="504887"/>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a:t>V1R1</a:t>
            </a:r>
            <a:endParaRPr lang="zh-CN" altLang="en-US" dirty="0"/>
          </a:p>
        </p:txBody>
      </p:sp>
      <p:sp>
        <p:nvSpPr>
          <p:cNvPr id="9" name="文本占位符 7"/>
          <p:cNvSpPr>
            <a:spLocks noGrp="1"/>
          </p:cNvSpPr>
          <p:nvPr>
            <p:ph type="body" sz="quarter" idx="13" hasCustomPrompt="1"/>
          </p:nvPr>
        </p:nvSpPr>
        <p:spPr>
          <a:xfrm>
            <a:off x="1007042" y="337386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0" name="文本占位符 7"/>
          <p:cNvSpPr>
            <a:spLocks noGrp="1"/>
          </p:cNvSpPr>
          <p:nvPr>
            <p:ph type="body" sz="quarter" idx="14" hasCustomPrompt="1"/>
          </p:nvPr>
        </p:nvSpPr>
        <p:spPr>
          <a:xfrm>
            <a:off x="4126170" y="337386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1" name="文本占位符 7"/>
          <p:cNvSpPr>
            <a:spLocks noGrp="1"/>
          </p:cNvSpPr>
          <p:nvPr>
            <p:ph type="body" sz="quarter" idx="15" hasCustomPrompt="1"/>
          </p:nvPr>
        </p:nvSpPr>
        <p:spPr>
          <a:xfrm>
            <a:off x="6093619" y="337386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2" name="文本占位符 7"/>
          <p:cNvSpPr>
            <a:spLocks noGrp="1"/>
          </p:cNvSpPr>
          <p:nvPr>
            <p:ph type="body" sz="quarter" idx="16" hasCustomPrompt="1"/>
          </p:nvPr>
        </p:nvSpPr>
        <p:spPr>
          <a:xfrm>
            <a:off x="9116775" y="3337858"/>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新开发</a:t>
            </a:r>
            <a:endParaRPr lang="zh-CN" altLang="en-US" dirty="0"/>
          </a:p>
        </p:txBody>
      </p:sp>
      <p:sp>
        <p:nvSpPr>
          <p:cNvPr id="13" name="Rectangle 2"/>
          <p:cNvSpPr>
            <a:spLocks noChangeArrowheads="1"/>
          </p:cNvSpPr>
          <p:nvPr userDrawn="1"/>
        </p:nvSpPr>
        <p:spPr bwMode="auto">
          <a:xfrm>
            <a:off x="952130" y="368661"/>
            <a:ext cx="2802144" cy="479425"/>
          </a:xfrm>
          <a:prstGeom prst="rect">
            <a:avLst/>
          </a:prstGeom>
          <a:noFill/>
          <a:ln w="9525">
            <a:noFill/>
            <a:miter lim="800000"/>
          </a:ln>
        </p:spPr>
        <p:txBody>
          <a:bodyPr lIns="78227" tIns="39112" rIns="78227" bIns="39112" anchor="ctr"/>
          <a:lstStyle/>
          <a:p>
            <a:pPr algn="l" defTabSz="1001395" rtl="0" eaLnBrk="0" fontAlgn="ctr" hangingPunct="0">
              <a:spcBef>
                <a:spcPct val="0"/>
              </a:spcBef>
              <a:spcAft>
                <a:spcPct val="0"/>
              </a:spcAft>
            </a:pPr>
            <a:r>
              <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修订记录</a:t>
            </a:r>
            <a:endParaRPr lang="zh-CN" altLang="en-US" sz="3500" b="1" kern="1200"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4" name="Text Box 58"/>
          <p:cNvSpPr txBox="1">
            <a:spLocks noChangeArrowheads="1"/>
          </p:cNvSpPr>
          <p:nvPr userDrawn="1"/>
        </p:nvSpPr>
        <p:spPr bwMode="auto">
          <a:xfrm>
            <a:off x="8900835" y="296652"/>
            <a:ext cx="2771225" cy="707886"/>
          </a:xfrm>
          <a:prstGeom prst="rect">
            <a:avLst/>
          </a:prstGeom>
          <a:noFill/>
          <a:ln w="9525" algn="ctr">
            <a:noFill/>
            <a:miter lim="800000"/>
          </a:ln>
        </p:spPr>
        <p:txBody>
          <a:bodyPr wrap="square">
            <a:spAutoFit/>
          </a:bodyPr>
          <a:lstStyle/>
          <a:p>
            <a:pPr fontAlgn="ctr">
              <a:spcBef>
                <a:spcPct val="50000"/>
              </a:spcBef>
            </a:pPr>
            <a:r>
              <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rPr>
              <a:t>本页不打印</a:t>
            </a:r>
            <a:endParaRPr lang="zh-CN" altLang="en-US" sz="4000" i="0" baseline="0" dirty="0">
              <a:solidFill>
                <a:schemeClr val="bg2">
                  <a:lumMod val="50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5" name="文本占位符 7"/>
          <p:cNvSpPr>
            <a:spLocks noGrp="1"/>
          </p:cNvSpPr>
          <p:nvPr>
            <p:ph type="body" sz="quarter" idx="21" hasCustomPrompt="1"/>
          </p:nvPr>
        </p:nvSpPr>
        <p:spPr>
          <a:xfrm>
            <a:off x="1007042" y="3877918"/>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6" name="文本占位符 7"/>
          <p:cNvSpPr>
            <a:spLocks noGrp="1"/>
          </p:cNvSpPr>
          <p:nvPr>
            <p:ph type="body" sz="quarter" idx="22" hasCustomPrompt="1"/>
          </p:nvPr>
        </p:nvSpPr>
        <p:spPr>
          <a:xfrm>
            <a:off x="4126170" y="3877918"/>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17" name="文本占位符 7"/>
          <p:cNvSpPr>
            <a:spLocks noGrp="1"/>
          </p:cNvSpPr>
          <p:nvPr>
            <p:ph type="body" sz="quarter" idx="23" hasCustomPrompt="1"/>
          </p:nvPr>
        </p:nvSpPr>
        <p:spPr>
          <a:xfrm>
            <a:off x="6093619" y="3877918"/>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18" name="文本占位符 7"/>
          <p:cNvSpPr>
            <a:spLocks noGrp="1"/>
          </p:cNvSpPr>
          <p:nvPr>
            <p:ph type="body" sz="quarter" idx="24" hasCustomPrompt="1"/>
          </p:nvPr>
        </p:nvSpPr>
        <p:spPr>
          <a:xfrm>
            <a:off x="9116775" y="3841914"/>
            <a:ext cx="2351342" cy="504056"/>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19" name="文本占位符 7"/>
          <p:cNvSpPr>
            <a:spLocks noGrp="1"/>
          </p:cNvSpPr>
          <p:nvPr>
            <p:ph type="body" sz="quarter" idx="25" hasCustomPrompt="1"/>
          </p:nvPr>
        </p:nvSpPr>
        <p:spPr>
          <a:xfrm>
            <a:off x="1007042" y="434597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0" name="文本占位符 7"/>
          <p:cNvSpPr>
            <a:spLocks noGrp="1"/>
          </p:cNvSpPr>
          <p:nvPr>
            <p:ph type="body" sz="quarter" idx="26" hasCustomPrompt="1"/>
          </p:nvPr>
        </p:nvSpPr>
        <p:spPr>
          <a:xfrm>
            <a:off x="4126170" y="434597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1" name="文本占位符 7"/>
          <p:cNvSpPr>
            <a:spLocks noGrp="1"/>
          </p:cNvSpPr>
          <p:nvPr>
            <p:ph type="body" sz="quarter" idx="27" hasCustomPrompt="1"/>
          </p:nvPr>
        </p:nvSpPr>
        <p:spPr>
          <a:xfrm>
            <a:off x="6093619" y="434597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2" name="文本占位符 7"/>
          <p:cNvSpPr>
            <a:spLocks noGrp="1"/>
          </p:cNvSpPr>
          <p:nvPr>
            <p:ph type="body" sz="quarter" idx="28" hasCustomPrompt="1"/>
          </p:nvPr>
        </p:nvSpPr>
        <p:spPr>
          <a:xfrm>
            <a:off x="9116775" y="434597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3" name="文本占位符 7"/>
          <p:cNvSpPr>
            <a:spLocks noGrp="1"/>
          </p:cNvSpPr>
          <p:nvPr>
            <p:ph type="body" sz="quarter" idx="29" hasCustomPrompt="1"/>
          </p:nvPr>
        </p:nvSpPr>
        <p:spPr>
          <a:xfrm>
            <a:off x="1007042" y="4886030"/>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4" name="文本占位符 7"/>
          <p:cNvSpPr>
            <a:spLocks noGrp="1"/>
          </p:cNvSpPr>
          <p:nvPr>
            <p:ph type="body" sz="quarter" idx="30" hasCustomPrompt="1"/>
          </p:nvPr>
        </p:nvSpPr>
        <p:spPr>
          <a:xfrm>
            <a:off x="4126170" y="4886030"/>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5" name="文本占位符 7"/>
          <p:cNvSpPr>
            <a:spLocks noGrp="1"/>
          </p:cNvSpPr>
          <p:nvPr>
            <p:ph type="body" sz="quarter" idx="31" hasCustomPrompt="1"/>
          </p:nvPr>
        </p:nvSpPr>
        <p:spPr>
          <a:xfrm>
            <a:off x="6093619" y="4886030"/>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6" name="文本占位符 7"/>
          <p:cNvSpPr>
            <a:spLocks noGrp="1"/>
          </p:cNvSpPr>
          <p:nvPr>
            <p:ph type="body" sz="quarter" idx="32" hasCustomPrompt="1"/>
          </p:nvPr>
        </p:nvSpPr>
        <p:spPr>
          <a:xfrm>
            <a:off x="9116775" y="4886030"/>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
        <p:nvSpPr>
          <p:cNvPr id="27" name="文本占位符 7"/>
          <p:cNvSpPr>
            <a:spLocks noGrp="1"/>
          </p:cNvSpPr>
          <p:nvPr>
            <p:ph type="body" sz="quarter" idx="33" hasCustomPrompt="1"/>
          </p:nvPr>
        </p:nvSpPr>
        <p:spPr>
          <a:xfrm>
            <a:off x="1007042" y="5354082"/>
            <a:ext cx="3119128"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28" name="文本占位符 7"/>
          <p:cNvSpPr>
            <a:spLocks noGrp="1"/>
          </p:cNvSpPr>
          <p:nvPr>
            <p:ph type="body" sz="quarter" idx="34" hasCustomPrompt="1"/>
          </p:nvPr>
        </p:nvSpPr>
        <p:spPr>
          <a:xfrm>
            <a:off x="4126170" y="5354082"/>
            <a:ext cx="1967450"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en-US" altLang="zh-CN" dirty="0" smtClean="0"/>
              <a:t>2019.01.25</a:t>
            </a:r>
            <a:endParaRPr lang="zh-CN" altLang="en-US" dirty="0"/>
          </a:p>
        </p:txBody>
      </p:sp>
      <p:sp>
        <p:nvSpPr>
          <p:cNvPr id="29" name="文本占位符 7"/>
          <p:cNvSpPr>
            <a:spLocks noGrp="1"/>
          </p:cNvSpPr>
          <p:nvPr>
            <p:ph type="body" sz="quarter" idx="35" hasCustomPrompt="1"/>
          </p:nvPr>
        </p:nvSpPr>
        <p:spPr>
          <a:xfrm>
            <a:off x="6093619" y="5354082"/>
            <a:ext cx="3023155"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姓名</a:t>
            </a:r>
            <a:r>
              <a:rPr lang="en-US" altLang="zh-CN" dirty="0"/>
              <a:t>/</a:t>
            </a:r>
            <a:r>
              <a:rPr lang="zh-CN" altLang="en-US" dirty="0"/>
              <a:t>工号</a:t>
            </a:r>
            <a:endParaRPr lang="zh-CN" altLang="en-US" dirty="0"/>
          </a:p>
        </p:txBody>
      </p:sp>
      <p:sp>
        <p:nvSpPr>
          <p:cNvPr id="30" name="文本占位符 7"/>
          <p:cNvSpPr>
            <a:spLocks noGrp="1"/>
          </p:cNvSpPr>
          <p:nvPr>
            <p:ph type="body" sz="quarter" idx="36" hasCustomPrompt="1"/>
          </p:nvPr>
        </p:nvSpPr>
        <p:spPr>
          <a:xfrm>
            <a:off x="9116775" y="5354082"/>
            <a:ext cx="2351342" cy="468052"/>
          </a:xfrm>
          <a:prstGeom prst="rect">
            <a:avLst/>
          </a:prstGeom>
        </p:spPr>
        <p:txBody>
          <a:bodyPr anchor="ctr"/>
          <a:lstStyle>
            <a:lvl1pPr algn="ctr">
              <a:lnSpc>
                <a:spcPct val="100000"/>
              </a:lnSpc>
              <a:buNone/>
              <a:defRPr sz="1600" baseline="0">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优化</a:t>
            </a:r>
            <a:endParaRPr lang="zh-CN" alt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思考题">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思考题</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90" y="424270"/>
            <a:ext cx="495425" cy="592462"/>
            <a:chOff x="5554662" y="2422526"/>
            <a:chExt cx="690564" cy="825500"/>
          </a:xfrm>
          <a:solidFill>
            <a:schemeClr val="bg1"/>
          </a:solidFill>
        </p:grpSpPr>
        <p:sp>
          <p:nvSpPr>
            <p:cNvPr id="8" name="Freeform 30"/>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31"/>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32"/>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35"/>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38"/>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Freeform 39"/>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40"/>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Freeform 41"/>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Freeform 42"/>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1" name="Freeform 6"/>
          <p:cNvSpPr/>
          <p:nvPr userDrawn="1"/>
        </p:nvSpPr>
        <p:spPr bwMode="auto">
          <a:xfrm>
            <a:off x="3588303" y="296368"/>
            <a:ext cx="8603697"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11"/>
          <p:cNvSpPr/>
          <p:nvPr userDrawn="1"/>
        </p:nvSpPr>
        <p:spPr bwMode="auto">
          <a:xfrm>
            <a:off x="3482973" y="296368"/>
            <a:ext cx="223610"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文本占位符 6"/>
          <p:cNvSpPr>
            <a:spLocks noGrp="1"/>
          </p:cNvSpPr>
          <p:nvPr>
            <p:ph type="body" sz="quarter" idx="11" hasCustomPrompt="1"/>
          </p:nvPr>
        </p:nvSpPr>
        <p:spPr>
          <a:xfrm>
            <a:off x="451191" y="1247555"/>
            <a:ext cx="11307600" cy="4680000"/>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baseline="0">
                <a:latin typeface="Huawei Sans" panose="020C0503030203020204" pitchFamily="34" charset="0"/>
                <a:ea typeface="方正兰亭黑简体" panose="02000000000000000000" pitchFamily="2" charset="-122"/>
                <a:cs typeface="Huawei Sans" panose="020C0503030203020204" pitchFamily="34" charset="0"/>
              </a:defRPr>
            </a:lvl1pPr>
            <a:lvl2pPr marL="401320" indent="0" algn="just">
              <a:buSzPct val="100000"/>
              <a:buFont typeface="+mj-lt"/>
              <a:buNone/>
              <a:defRPr sz="1800" baseline="0">
                <a:latin typeface="Huawei Sans" panose="020C0503030203020204" pitchFamily="34" charset="0"/>
              </a:defRPr>
            </a:lvl2pPr>
            <a:lvl3pPr>
              <a:defRPr/>
            </a:lvl3pPr>
            <a:lvl5pPr>
              <a:buNone/>
              <a:defRPr/>
            </a:lvl5pPr>
          </a:lstStyle>
          <a:p>
            <a:r>
              <a:rPr lang="zh-CN" altLang="en-US" dirty="0" smtClean="0"/>
              <a:t>此版式用于思考题</a:t>
            </a:r>
            <a:r>
              <a:rPr lang="en-US" altLang="zh-CN" dirty="0" smtClean="0"/>
              <a:t>-201501</a:t>
            </a:r>
            <a:r>
              <a:rPr lang="zh-CN" altLang="en-US" dirty="0" smtClean="0"/>
              <a:t>具体格式（序号格式需以模板展示）</a:t>
            </a:r>
            <a:endParaRPr lang="en-US" altLang="zh-CN" dirty="0" smtClean="0"/>
          </a:p>
          <a:p>
            <a:pPr lvl="1"/>
            <a:endParaRPr lang="en-US" altLang="zh-CN"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本节小结(可选)">
    <p:spTree>
      <p:nvGrpSpPr>
        <p:cNvPr id="1" name=""/>
        <p:cNvGrpSpPr/>
        <p:nvPr/>
      </p:nvGrpSpPr>
      <p:grpSpPr>
        <a:xfrm>
          <a:off x="0" y="0"/>
          <a:ext cx="0" cy="0"/>
          <a:chOff x="0" y="0"/>
          <a:chExt cx="0" cy="0"/>
        </a:xfrm>
      </p:grpSpPr>
      <p:sp>
        <p:nvSpPr>
          <p:cNvPr id="4"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小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90849"/>
            <a:ext cx="470510" cy="475421"/>
            <a:chOff x="5540375" y="2868613"/>
            <a:chExt cx="1106488" cy="1117600"/>
          </a:xfrm>
          <a:solidFill>
            <a:schemeClr val="bg1"/>
          </a:solidFill>
        </p:grpSpPr>
        <p:sp>
          <p:nvSpPr>
            <p:cNvPr id="8"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smtClean="0"/>
              <a:t>此版式用于每一节的小结</a:t>
            </a:r>
            <a:endParaRPr lang="zh-CN" altLang="en-US" dirty="0" smtClean="0"/>
          </a:p>
          <a:p>
            <a:pPr lvl="1"/>
            <a:r>
              <a:rPr lang="zh-CN" altLang="en-US" dirty="0" smtClean="0"/>
              <a:t>第二</a:t>
            </a:r>
            <a:r>
              <a:rPr lang="zh-CN" altLang="en-US" dirty="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本章总结">
    <p:spTree>
      <p:nvGrpSpPr>
        <p:cNvPr id="1" name=""/>
        <p:cNvGrpSpPr/>
        <p:nvPr/>
      </p:nvGrpSpPr>
      <p:grpSpPr>
        <a:xfrm>
          <a:off x="0" y="0"/>
          <a:ext cx="0" cy="0"/>
          <a:chOff x="0" y="0"/>
          <a:chExt cx="0" cy="0"/>
        </a:xfrm>
      </p:grpSpPr>
      <p:sp>
        <p:nvSpPr>
          <p:cNvPr id="3" name="TextBox 10"/>
          <p:cNvSpPr txBox="1"/>
          <p:nvPr userDrawn="1"/>
        </p:nvSpPr>
        <p:spPr bwMode="auto">
          <a:xfrm>
            <a:off x="1594877" y="408780"/>
            <a:ext cx="2015437"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章总结</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15179" y="490849"/>
            <a:ext cx="470510" cy="475421"/>
            <a:chOff x="5540375" y="2868613"/>
            <a:chExt cx="1106488" cy="1117600"/>
          </a:xfrm>
          <a:solidFill>
            <a:schemeClr val="bg1"/>
          </a:solidFill>
        </p:grpSpPr>
        <p:sp>
          <p:nvSpPr>
            <p:cNvPr id="7" name="Freeform 6"/>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0" name="内容占位符 6"/>
          <p:cNvSpPr>
            <a:spLocks noGrp="1"/>
          </p:cNvSpPr>
          <p:nvPr>
            <p:ph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更多信息(可选)">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5pPr>
              <a:buNone/>
              <a:defRPr/>
            </a:lvl5pPr>
          </a:lstStyle>
          <a:p>
            <a:r>
              <a:rPr lang="zh-CN" altLang="en-US" dirty="0"/>
              <a:t>此版式用于提供给学员更多学习信息。</a:t>
            </a:r>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更多信息</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79189" y="480269"/>
            <a:ext cx="496387" cy="496581"/>
            <a:chOff x="4485904" y="3429000"/>
            <a:chExt cx="2003425" cy="2003425"/>
          </a:xfrm>
          <a:solidFill>
            <a:schemeClr val="bg1"/>
          </a:solidFill>
        </p:grpSpPr>
        <p:sp>
          <p:nvSpPr>
            <p:cNvPr id="8"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学习推荐(可选)">
    <p:spTree>
      <p:nvGrpSpPr>
        <p:cNvPr id="1" name=""/>
        <p:cNvGrpSpPr/>
        <p:nvPr/>
      </p:nvGrpSpPr>
      <p:grpSpPr>
        <a:xfrm>
          <a:off x="0" y="0"/>
          <a:ext cx="0" cy="0"/>
          <a:chOff x="0" y="0"/>
          <a:chExt cx="0" cy="0"/>
        </a:xfrm>
      </p:grpSpPr>
      <p:sp>
        <p:nvSpPr>
          <p:cNvPr id="3" name="文本占位符 6"/>
          <p:cNvSpPr>
            <a:spLocks noGrp="1"/>
          </p:cNvSpPr>
          <p:nvPr>
            <p:ph type="body" sz="quarter" idx="10"/>
          </p:nvPr>
        </p:nvSpPr>
        <p:spPr>
          <a:xfrm>
            <a:off x="44528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endParaRPr lang="zh-CN" altLang="en-US" dirty="0"/>
          </a:p>
        </p:txBody>
      </p:sp>
      <p:sp>
        <p:nvSpPr>
          <p:cNvPr id="4" name="TextBox 10"/>
          <p:cNvSpPr txBox="1"/>
          <p:nvPr userDrawn="1"/>
        </p:nvSpPr>
        <p:spPr bwMode="auto">
          <a:xfrm>
            <a:off x="1594877" y="408780"/>
            <a:ext cx="503859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学习推荐</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15179" y="456929"/>
            <a:ext cx="461783" cy="485190"/>
            <a:chOff x="-779463" y="1835151"/>
            <a:chExt cx="1136650" cy="1193799"/>
          </a:xfrm>
          <a:solidFill>
            <a:schemeClr val="bg1"/>
          </a:solidFill>
        </p:grpSpPr>
        <p:sp>
          <p:nvSpPr>
            <p:cNvPr id="8" name="Freeform 6"/>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谢谢">
    <p:spTree>
      <p:nvGrpSpPr>
        <p:cNvPr id="1" name=""/>
        <p:cNvGrpSpPr/>
        <p:nvPr/>
      </p:nvGrpSpPr>
      <p:grpSpPr>
        <a:xfrm>
          <a:off x="0" y="0"/>
          <a:ext cx="0" cy="0"/>
          <a:chOff x="0" y="0"/>
          <a:chExt cx="0" cy="0"/>
        </a:xfrm>
      </p:grpSpPr>
      <p:pic>
        <p:nvPicPr>
          <p:cNvPr id="9" name="Picture 2" descr="D:\201207257配图\培训\shutterstock_242224906.jpg"/>
          <p:cNvPicPr>
            <a:picLocks noChangeAspect="1" noChangeArrowheads="1"/>
          </p:cNvPicPr>
          <p:nvPr userDrawn="1"/>
        </p:nvPicPr>
        <p:blipFill rotWithShape="1">
          <a:blip r:embed="rId2" cstate="email"/>
          <a:srcRect t="17896" b="10658"/>
          <a:stretch>
            <a:fillRect/>
          </a:stretch>
        </p:blipFill>
        <p:spPr bwMode="auto">
          <a:xfrm>
            <a:off x="1549" y="0"/>
            <a:ext cx="1218890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userDrawn="1"/>
        </p:nvSpPr>
        <p:spPr bwMode="auto">
          <a:xfrm>
            <a:off x="2380" y="0"/>
            <a:ext cx="12187239" cy="6858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lstStyle/>
          <a:p>
            <a:pPr marL="0" marR="0" indent="0" algn="l" defTabSz="913765" rtl="0" eaLnBrk="1" fontAlgn="ctr" latinLnBrk="0" hangingPunct="1">
              <a:lnSpc>
                <a:spcPct val="100000"/>
              </a:lnSpc>
              <a:spcBef>
                <a:spcPct val="0"/>
              </a:spcBef>
              <a:spcAft>
                <a:spcPct val="0"/>
              </a:spcAft>
              <a:buClrTx/>
              <a:buSzTx/>
              <a:buFontTx/>
              <a:buNone/>
            </a:pPr>
            <a:endParaRPr kumimoji="0" lang="zh-CN" altLang="en-US" sz="1000" b="0" i="0" u="none" strike="noStrike" cap="none" normalizeH="0" baseline="0">
              <a:ln>
                <a:noFill/>
              </a:ln>
              <a:solidFill>
                <a:schemeClr val="tx1"/>
              </a:solidFill>
              <a:effectLst/>
              <a:latin typeface="Huawei Sans" panose="020C0503030203020204" pitchFamily="34" charset="0"/>
              <a:ea typeface="方正兰亭黑简体" panose="02000000000000000000" pitchFamily="2" charset="-122"/>
            </a:endParaRPr>
          </a:p>
        </p:txBody>
      </p:sp>
      <p:grpSp>
        <p:nvGrpSpPr>
          <p:cNvPr id="16" name="组合 15"/>
          <p:cNvGrpSpPr/>
          <p:nvPr userDrawn="1"/>
        </p:nvGrpSpPr>
        <p:grpSpPr>
          <a:xfrm>
            <a:off x="4148952" y="2637135"/>
            <a:ext cx="3894096" cy="1598831"/>
            <a:chOff x="4302972" y="2345035"/>
            <a:chExt cx="3895617" cy="1598831"/>
          </a:xfrm>
        </p:grpSpPr>
        <p:sp>
          <p:nvSpPr>
            <p:cNvPr id="14" name="矩形 13"/>
            <p:cNvSpPr/>
            <p:nvPr userDrawn="1"/>
          </p:nvSpPr>
          <p:spPr>
            <a:xfrm>
              <a:off x="5357748" y="2345035"/>
              <a:ext cx="1786065" cy="923330"/>
            </a:xfrm>
            <a:prstGeom prst="rect">
              <a:avLst/>
            </a:prstGeom>
            <a:noFill/>
          </p:spPr>
          <p:txBody>
            <a:bodyPr wrap="none" lIns="91440" tIns="45720" rIns="91440" bIns="45720">
              <a:spAutoFit/>
            </a:bodyPr>
            <a:lstStyle/>
            <a:p>
              <a:pPr algn="ctr" fontAlgn="ctr"/>
              <a:r>
                <a:rPr lang="zh-CN" altLang="en-US"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谢 谢</a:t>
              </a:r>
              <a:endParaRPr lang="en-US" altLang="zh-CN" sz="54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sp>
          <p:nvSpPr>
            <p:cNvPr id="15" name="矩形 14"/>
            <p:cNvSpPr/>
            <p:nvPr userDrawn="1"/>
          </p:nvSpPr>
          <p:spPr>
            <a:xfrm>
              <a:off x="4302972" y="3297535"/>
              <a:ext cx="3895617" cy="646331"/>
            </a:xfrm>
            <a:prstGeom prst="rect">
              <a:avLst/>
            </a:prstGeom>
            <a:noFill/>
          </p:spPr>
          <p:txBody>
            <a:bodyPr wrap="none" lIns="91440" tIns="45720" rIns="91440" bIns="45720">
              <a:spAutoFit/>
            </a:bodyPr>
            <a:lstStyle/>
            <a:p>
              <a:pPr algn="ctr" fontAlgn="ctr"/>
              <a:r>
                <a:rPr lang="en-US" altLang="zh-CN" sz="3600" b="0" cap="none" spc="0" baseline="0" dirty="0" smtClean="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rPr>
                <a:t>www.huawei.com</a:t>
              </a:r>
              <a:endParaRPr lang="zh-CN" altLang="en-US" sz="3600" b="0" cap="none" spc="0" baseline="0" dirty="0">
                <a:ln w="0"/>
                <a:solidFill>
                  <a:schemeClr val="bg1"/>
                </a:solidFill>
                <a:effectLst>
                  <a:outerShdw blurRad="38100" dist="19050" dir="2700000" algn="tl" rotWithShape="0">
                    <a:schemeClr val="dk1">
                      <a:alpha val="40000"/>
                    </a:schemeClr>
                  </a:outerShdw>
                </a:effectLst>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15#谢谢">
    <p:bg>
      <p:bgPr>
        <a:solidFill>
          <a:srgbClr val="FFFFFF"/>
        </a:solidFill>
        <a:effectLst/>
      </p:bgPr>
    </p:bg>
    <p:spTree>
      <p:nvGrpSpPr>
        <p:cNvPr id="1" name=""/>
        <p:cNvGrpSpPr/>
        <p:nvPr/>
      </p:nvGrpSpPr>
      <p:grpSpPr>
        <a:xfrm>
          <a:off x="0" y="0"/>
          <a:ext cx="0" cy="0"/>
          <a:chOff x="0" y="0"/>
          <a:chExt cx="0" cy="0"/>
        </a:xfrm>
      </p:grpSpPr>
      <p:sp>
        <p:nvSpPr>
          <p:cNvPr id="3" name="TextBox 3"/>
          <p:cNvSpPr txBox="1"/>
          <p:nvPr userDrawn="1"/>
        </p:nvSpPr>
        <p:spPr>
          <a:xfrm>
            <a:off x="607486" y="1402064"/>
            <a:ext cx="3921034" cy="854717"/>
          </a:xfrm>
          <a:prstGeom prst="rect">
            <a:avLst/>
          </a:prstGeom>
          <a:noFill/>
        </p:spPr>
        <p:txBody>
          <a:bodyPr wrap="square" rtlCol="0">
            <a:spAutoFit/>
          </a:bodyPr>
          <a:lstStyle/>
          <a:p>
            <a:pPr algn="l"/>
            <a:r>
              <a:rPr lang="en-US" sz="4940" dirty="0" smtClean="0">
                <a:solidFill>
                  <a:schemeClr val="tx1"/>
                </a:solidFill>
              </a:rPr>
              <a:t>Thank you.</a:t>
            </a:r>
            <a:endParaRPr lang="en-US" sz="4940" dirty="0">
              <a:solidFill>
                <a:schemeClr val="tx1"/>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总标题">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1"/>
            <a:ext cx="12192000" cy="5602224"/>
          </a:xfrm>
          <a:prstGeom prst="rect">
            <a:avLst/>
          </a:prstGeom>
          <a:ln>
            <a:noFill/>
            <a:prstDash val="dash"/>
          </a:ln>
        </p:spPr>
      </p:pic>
      <p:sp>
        <p:nvSpPr>
          <p:cNvPr id="8" name="L 形 7"/>
          <p:cNvSpPr/>
          <p:nvPr userDrawn="1"/>
        </p:nvSpPr>
        <p:spPr>
          <a:xfrm rot="16200000" flipH="1">
            <a:off x="6634196" y="2578036"/>
            <a:ext cx="701032" cy="717656"/>
          </a:xfrm>
          <a:prstGeom prst="corner">
            <a:avLst>
              <a:gd name="adj1" fmla="val 3243"/>
              <a:gd name="adj2" fmla="val 3048"/>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baseline="0">
              <a:latin typeface="Huawei Sans" panose="020C0503030203020204" pitchFamily="34" charset="0"/>
              <a:ea typeface="方正兰亭黑简体" panose="02000000000000000000" pitchFamily="2" charset="-122"/>
            </a:endParaRPr>
          </a:p>
        </p:txBody>
      </p:sp>
      <p:sp>
        <p:nvSpPr>
          <p:cNvPr id="9" name="Title 1"/>
          <p:cNvSpPr>
            <a:spLocks noGrp="1"/>
          </p:cNvSpPr>
          <p:nvPr>
            <p:ph type="ctrTitle" hasCustomPrompt="1"/>
          </p:nvPr>
        </p:nvSpPr>
        <p:spPr>
          <a:xfrm>
            <a:off x="916560" y="907092"/>
            <a:ext cx="8125839" cy="690255"/>
          </a:xfrm>
          <a:prstGeom prst="rect">
            <a:avLst/>
          </a:prstGeom>
          <a:ln>
            <a:noFill/>
            <a:prstDash val="dash"/>
          </a:ln>
        </p:spPr>
        <p:txBody>
          <a:bodyPr lIns="0" tIns="0" rIns="0" bIns="0" anchor="t">
            <a:normAutofit/>
          </a:bodyPr>
          <a:lstStyle>
            <a:lvl1pPr>
              <a:defRPr lang="en-US" sz="3200" b="0" i="0" baseline="0" dirty="0">
                <a:latin typeface="Huawei Sans" panose="020C0503030203020204" pitchFamily="34" charset="0"/>
                <a:ea typeface="方正兰亭黑简体" panose="02000000000000000000" pitchFamily="2" charset="-122"/>
              </a:defRPr>
            </a:lvl1pPr>
          </a:lstStyle>
          <a:p>
            <a:pPr lvl="0" defTabSz="913765">
              <a:lnSpc>
                <a:spcPts val="3440"/>
              </a:lnSpc>
            </a:pPr>
            <a:r>
              <a:rPr lang="zh-CN" altLang="en-US" dirty="0"/>
              <a:t>单击此处添加标题</a:t>
            </a:r>
            <a:endParaRPr lang="en-US" dirty="0"/>
          </a:p>
        </p:txBody>
      </p:sp>
      <p:sp>
        <p:nvSpPr>
          <p:cNvPr id="10" name="Text Placeholder 5"/>
          <p:cNvSpPr>
            <a:spLocks noGrp="1"/>
          </p:cNvSpPr>
          <p:nvPr>
            <p:ph type="body" sz="quarter" idx="10" hasCustomPrompt="1"/>
          </p:nvPr>
        </p:nvSpPr>
        <p:spPr>
          <a:xfrm>
            <a:off x="916561" y="1949372"/>
            <a:ext cx="8125840" cy="643926"/>
          </a:xfrm>
        </p:spPr>
        <p:txBody>
          <a:bodyPr vert="horz" lIns="0" tIns="0" rIns="0" bIns="0" rtlCol="0">
            <a:noAutofit/>
          </a:bodyPr>
          <a:lstStyle>
            <a:lvl1pPr marL="228600" indent="-228600">
              <a:buNone/>
              <a:defRPr lang="en-US" sz="1400" baseline="0" dirty="0">
                <a:latin typeface="Huawei Sans" panose="020C0503030203020204" pitchFamily="34" charset="0"/>
                <a:ea typeface="方正兰亭黑简体" panose="02000000000000000000" pitchFamily="2" charset="-122"/>
                <a:cs typeface="Huawei Sans" panose="020C0503030203020204" pitchFamily="34" charset="0"/>
              </a:defRPr>
            </a:lvl1pPr>
          </a:lstStyle>
          <a:p>
            <a:pPr marL="0" lvl="0" indent="0">
              <a:lnSpc>
                <a:spcPct val="100000"/>
              </a:lnSpc>
              <a:spcBef>
                <a:spcPts val="0"/>
              </a:spcBef>
            </a:pPr>
            <a:r>
              <a:rPr lang="zh-CN" altLang="en-US" dirty="0" smtClean="0"/>
              <a:t>单击此处添加文本</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总标题">
    <p:spTree>
      <p:nvGrpSpPr>
        <p:cNvPr id="1" name=""/>
        <p:cNvGrpSpPr/>
        <p:nvPr/>
      </p:nvGrpSpPr>
      <p:grpSpPr>
        <a:xfrm>
          <a:off x="0" y="0"/>
          <a:ext cx="0" cy="0"/>
          <a:chOff x="0" y="0"/>
          <a:chExt cx="0" cy="0"/>
        </a:xfrm>
      </p:grpSpPr>
      <p:pic>
        <p:nvPicPr>
          <p:cNvPr id="8"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3542"/>
          <a:stretch>
            <a:fillRect/>
          </a:stretch>
        </p:blipFill>
        <p:spPr bwMode="auto">
          <a:xfrm>
            <a:off x="0" y="42"/>
            <a:ext cx="12187239" cy="68579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1"/>
          <p:cNvSpPr>
            <a:spLocks noGrp="1" noChangeArrowheads="1"/>
          </p:cNvSpPr>
          <p:nvPr>
            <p:ph type="ctrTitle" sz="quarter"/>
          </p:nvPr>
        </p:nvSpPr>
        <p:spPr>
          <a:xfrm>
            <a:off x="1030893" y="4957156"/>
            <a:ext cx="10437489" cy="831600"/>
          </a:xfrm>
          <a:prstGeom prst="rect">
            <a:avLst/>
          </a:prstGeom>
          <a:ln algn="ctr"/>
        </p:spPr>
        <p:txBody>
          <a:bodyPr lIns="87802" tIns="43901" rIns="87802" bIns="43901"/>
          <a:lstStyle>
            <a:lvl1pPr algn="l" defTabSz="801370" rtl="0" eaLnBrk="0" fontAlgn="ctr" hangingPunct="0">
              <a:spcBef>
                <a:spcPct val="0"/>
              </a:spcBef>
              <a:spcAft>
                <a:spcPct val="0"/>
              </a:spcAft>
              <a:defRPr lang="zh-CN" altLang="en-US" sz="4300" b="1" kern="1200" baseline="0" dirty="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编辑母版标题样式</a:t>
            </a:r>
            <a:endParaRPr lang="zh-CN" altLang="en-US" dirty="0"/>
          </a:p>
        </p:txBody>
      </p:sp>
      <p:sp>
        <p:nvSpPr>
          <p:cNvPr id="10" name="文本占位符 29"/>
          <p:cNvSpPr>
            <a:spLocks noGrp="1"/>
          </p:cNvSpPr>
          <p:nvPr>
            <p:ph type="body" sz="quarter" idx="10"/>
          </p:nvPr>
        </p:nvSpPr>
        <p:spPr>
          <a:xfrm>
            <a:off x="1030892" y="5816120"/>
            <a:ext cx="6909301" cy="493200"/>
          </a:xfrm>
          <a:prstGeom prst="rect">
            <a:avLst/>
          </a:prstGeom>
        </p:spPr>
        <p:txBody>
          <a:bodyPr/>
          <a:lstStyle>
            <a:lvl1pPr marL="0" indent="0" algn="l" defTabSz="801370" rtl="0" eaLnBrk="0" fontAlgn="ctr" hangingPunct="0">
              <a:spcBef>
                <a:spcPct val="0"/>
              </a:spcBef>
              <a:spcAft>
                <a:spcPct val="0"/>
              </a:spcAft>
              <a:buNone/>
              <a:defRPr lang="zh-CN" altLang="en-US" sz="2000" kern="1200" baseline="0" dirty="0" smtClean="0">
                <a:solidFill>
                  <a:srgbClr val="0070C0"/>
                </a:solidFill>
                <a:latin typeface="Huawei Sans" panose="020C0503030203020204" pitchFamily="34" charset="0"/>
                <a:ea typeface="方正兰亭黑简体" panose="02000000000000000000" pitchFamily="2" charset="-122"/>
                <a:cs typeface="Huawei Sans" panose="020C0503030203020204" pitchFamily="34" charset="0"/>
              </a:defRPr>
            </a:lvl1pPr>
          </a:lstStyle>
          <a:p>
            <a:pPr lvl="0"/>
            <a:r>
              <a:rPr lang="zh-CN" altLang="en-US" dirty="0"/>
              <a:t>单击此处编辑母版文本样式</a:t>
            </a:r>
            <a:endParaRPr lang="zh-CN" altLang="en-US" dirty="0"/>
          </a:p>
        </p:txBody>
      </p:sp>
      <p:sp>
        <p:nvSpPr>
          <p:cNvPr id="11"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12" name="图片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8026" y="251069"/>
            <a:ext cx="1964832" cy="430102"/>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前言">
    <p:spTree>
      <p:nvGrpSpPr>
        <p:cNvPr id="1" name=""/>
        <p:cNvGrpSpPr/>
        <p:nvPr/>
      </p:nvGrpSpPr>
      <p:grpSpPr>
        <a:xfrm>
          <a:off x="0" y="0"/>
          <a:ext cx="0" cy="0"/>
          <a:chOff x="0" y="0"/>
          <a:chExt cx="0" cy="0"/>
        </a:xfrm>
      </p:grpSpPr>
      <p:sp>
        <p:nvSpPr>
          <p:cNvPr id="15" name="文本占位符 6"/>
          <p:cNvSpPr>
            <a:spLocks noGrp="1"/>
          </p:cNvSpPr>
          <p:nvPr>
            <p:ph type="body" sz="quarter" idx="10" hasCustomPrompt="1"/>
          </p:nvPr>
        </p:nvSpPr>
        <p:spPr>
          <a:xfrm>
            <a:off x="445851" y="1247556"/>
            <a:ext cx="11307600" cy="4679788"/>
          </a:xfrm>
          <a:prstGeom prst="rect">
            <a:avLst/>
          </a:prstGeom>
        </p:spPr>
        <p:txBody>
          <a:bodyPr/>
          <a:lstStyle>
            <a:lvl1pPr marL="302260" indent="-302260" algn="just" fontAlgn="ctr">
              <a:buClrTx/>
              <a:buSzPct val="50000"/>
              <a:buFont typeface="Wingdings" panose="05000000000000000000" pitchFamily="2" charset="2"/>
              <a:buChar char="l"/>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marL="1003935" indent="-201295" fontAlgn="ctr">
              <a:buSzPct val="50000"/>
              <a:buFont typeface="Wingdings" panose="05000000000000000000" pitchFamily="2" charset="2"/>
              <a:buChar char="n"/>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a:t>本章主要讲述</a:t>
            </a:r>
            <a:r>
              <a:rPr lang="en-US" altLang="zh-CN" dirty="0"/>
              <a:t>...</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
        <p:nvSpPr>
          <p:cNvPr id="16"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algn="l" defTabSz="1001395" eaLnBrk="0" fontAlgn="auto"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前言</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17"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19" name="组合 18"/>
          <p:cNvGrpSpPr/>
          <p:nvPr userDrawn="1"/>
        </p:nvGrpSpPr>
        <p:grpSpPr>
          <a:xfrm>
            <a:off x="335229" y="498828"/>
            <a:ext cx="627913" cy="459460"/>
            <a:chOff x="3275013" y="1363663"/>
            <a:chExt cx="5645150" cy="4129087"/>
          </a:xfrm>
          <a:solidFill>
            <a:schemeClr val="bg1"/>
          </a:solidFill>
        </p:grpSpPr>
        <p:sp>
          <p:nvSpPr>
            <p:cNvPr id="20"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Freeform 7"/>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Freeform 8"/>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Freeform 9"/>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4" name="Freeform 10"/>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5"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6"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目标">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标</a:t>
            </a:r>
            <a:endParaRPr lang="en-US" altLang="zh-CN"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443199" y="440668"/>
            <a:ext cx="533761" cy="533470"/>
            <a:chOff x="2960687" y="4865687"/>
            <a:chExt cx="1698626" cy="1697038"/>
          </a:xfrm>
          <a:solidFill>
            <a:schemeClr val="bg1"/>
          </a:solidFill>
        </p:grpSpPr>
        <p:sp>
          <p:nvSpPr>
            <p:cNvPr id="8" name="Freeform 6"/>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Freeform 8"/>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Freeform 9"/>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1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文本占位符 6"/>
          <p:cNvSpPr>
            <a:spLocks noGrp="1"/>
          </p:cNvSpPr>
          <p:nvPr>
            <p:ph type="body" sz="quarter" idx="10" hasCustomPrompt="1"/>
          </p:nvPr>
        </p:nvSpPr>
        <p:spPr>
          <a:xfrm>
            <a:off x="445851" y="1247556"/>
            <a:ext cx="11307600" cy="4679788"/>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fontAlgn="ctr">
              <a:buClrTx/>
              <a:buSzPct val="50000"/>
              <a:buFont typeface="Wingdings" panose="05000000000000000000" pitchFamily="2" charset="2"/>
              <a:buChar char="p"/>
              <a:defRPr baseline="0">
                <a:solidFill>
                  <a:schemeClr val="tx1"/>
                </a:solidFill>
                <a:latin typeface="Huawei Sans" panose="020C0503030203020204" pitchFamily="34" charset="0"/>
                <a:ea typeface="方正兰亭黑简体" panose="02000000000000000000" pitchFamily="2" charset="-122"/>
              </a:defRPr>
            </a:lvl2pPr>
            <a:lvl3pPr fontAlgn="ctr">
              <a:defRPr lang="zh-CN" altLang="en-US" baseline="0" dirty="0" smtClean="0">
                <a:solidFill>
                  <a:schemeClr val="tx1"/>
                </a:solidFill>
                <a:latin typeface="Huawei Sans" panose="020C0503030203020204" pitchFamily="34" charset="0"/>
                <a:ea typeface="方正兰亭黑简体" panose="02000000000000000000" pitchFamily="2" charset="-122"/>
              </a:defRPr>
            </a:lvl3pPr>
            <a:lvl4pPr fontAlgn="ctr">
              <a:defRPr baseline="0">
                <a:latin typeface="Huawei Sans" panose="020C0503030203020204" pitchFamily="34" charset="0"/>
                <a:ea typeface="方正兰亭黑简体" panose="02000000000000000000" pitchFamily="2" charset="-122"/>
              </a:defRPr>
            </a:lvl4pPr>
            <a:lvl5pPr marL="1802765" indent="-201295" fontAlgn="ctr">
              <a:buClrTx/>
              <a:buFont typeface="Huawei Sans" panose="020C0503030203020204" pitchFamily="34" charset="0"/>
              <a:buChar char="~"/>
              <a:defRPr baseline="0">
                <a:latin typeface="Huawei Sans" panose="020C0503030203020204" pitchFamily="34" charset="0"/>
                <a:ea typeface="方正兰亭黑简体" panose="02000000000000000000" pitchFamily="2" charset="-122"/>
              </a:defRPr>
            </a:lvl5pPr>
          </a:lstStyle>
          <a:p>
            <a:pPr eaLnBrk="1" hangingPunct="1"/>
            <a:r>
              <a:rPr lang="zh-CN" altLang="en-US" dirty="0" smtClean="0"/>
              <a:t>学完本课程后，您将能够：</a:t>
            </a:r>
            <a:endParaRPr lang="en-US" altLang="zh-CN" dirty="0"/>
          </a:p>
          <a:p>
            <a:pPr lvl="1"/>
            <a:r>
              <a:rPr lang="zh-CN" altLang="en-US" dirty="0"/>
              <a:t>第二</a:t>
            </a:r>
            <a:r>
              <a:rPr lang="zh-CN" altLang="en-US" dirty="0" smtClean="0"/>
              <a:t>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a:p>
            <a:pPr eaLnBrk="1" hangingPunct="1"/>
            <a:endParaRPr lang="en-US" altLang="zh-CN"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目录">
    <p:spTree>
      <p:nvGrpSpPr>
        <p:cNvPr id="1" name=""/>
        <p:cNvGrpSpPr/>
        <p:nvPr/>
      </p:nvGrpSpPr>
      <p:grpSpPr>
        <a:xfrm>
          <a:off x="0" y="0"/>
          <a:ext cx="0" cy="0"/>
          <a:chOff x="0" y="0"/>
          <a:chExt cx="0" cy="0"/>
        </a:xfrm>
      </p:grpSpPr>
      <p:sp>
        <p:nvSpPr>
          <p:cNvPr id="4" name="TextBox 10"/>
          <p:cNvSpPr txBox="1"/>
          <p:nvPr userDrawn="1"/>
        </p:nvSpPr>
        <p:spPr bwMode="auto">
          <a:xfrm>
            <a:off x="1594877" y="408780"/>
            <a:ext cx="1664752"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目录</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9" y="515380"/>
            <a:ext cx="358195" cy="426359"/>
            <a:chOff x="3295650" y="230188"/>
            <a:chExt cx="936625" cy="1114426"/>
          </a:xfrm>
          <a:solidFill>
            <a:schemeClr val="bg1"/>
          </a:solidFill>
        </p:grpSpPr>
        <p:sp>
          <p:nvSpPr>
            <p:cNvPr id="8"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0"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1"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2"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3"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4" name="Freeform 22"/>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5"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6"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7"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8"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19"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0"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1"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2"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23"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24" name="Freeform 6"/>
          <p:cNvSpPr/>
          <p:nvPr userDrawn="1"/>
        </p:nvSpPr>
        <p:spPr bwMode="auto">
          <a:xfrm>
            <a:off x="3211785" y="296368"/>
            <a:ext cx="8975455"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1" fmla="*/ 7021 w 10000"/>
              <a:gd name="connsiteY0-2" fmla="*/ 0 h 10000"/>
              <a:gd name="connsiteX1-3" fmla="*/ 0 w 10000"/>
              <a:gd name="connsiteY1-4" fmla="*/ 0 h 10000"/>
              <a:gd name="connsiteX2-5" fmla="*/ 197 w 10000"/>
              <a:gd name="connsiteY2-6" fmla="*/ 5024 h 10000"/>
              <a:gd name="connsiteX3-7" fmla="*/ 0 w 10000"/>
              <a:gd name="connsiteY3-8" fmla="*/ 10000 h 10000"/>
              <a:gd name="connsiteX4-9" fmla="*/ 10000 w 10000"/>
              <a:gd name="connsiteY4-10" fmla="*/ 10000 h 10000"/>
              <a:gd name="connsiteX5-11" fmla="*/ 7736 w 10000"/>
              <a:gd name="connsiteY5-12" fmla="*/ 5574 h 10000"/>
              <a:gd name="connsiteX6-13" fmla="*/ 7021 w 10000"/>
              <a:gd name="connsiteY6-14" fmla="*/ 0 h 10000"/>
              <a:gd name="connsiteX0-15" fmla="*/ 7021 w 7736"/>
              <a:gd name="connsiteY0-16" fmla="*/ 0 h 10038"/>
              <a:gd name="connsiteX1-17" fmla="*/ 0 w 7736"/>
              <a:gd name="connsiteY1-18" fmla="*/ 0 h 10038"/>
              <a:gd name="connsiteX2-19" fmla="*/ 197 w 7736"/>
              <a:gd name="connsiteY2-20" fmla="*/ 5024 h 10038"/>
              <a:gd name="connsiteX3-21" fmla="*/ 0 w 7736"/>
              <a:gd name="connsiteY3-22" fmla="*/ 10000 h 10038"/>
              <a:gd name="connsiteX4-23" fmla="*/ 7017 w 7736"/>
              <a:gd name="connsiteY4-24" fmla="*/ 10038 h 10038"/>
              <a:gd name="connsiteX5-25" fmla="*/ 7736 w 7736"/>
              <a:gd name="connsiteY5-26" fmla="*/ 5574 h 10038"/>
              <a:gd name="connsiteX6-27" fmla="*/ 7021 w 7736"/>
              <a:gd name="connsiteY6-28" fmla="*/ 0 h 10038"/>
              <a:gd name="connsiteX0-29" fmla="*/ 9076 w 9316"/>
              <a:gd name="connsiteY0-30" fmla="*/ 0 h 10000"/>
              <a:gd name="connsiteX1-31" fmla="*/ 0 w 9316"/>
              <a:gd name="connsiteY1-32" fmla="*/ 0 h 10000"/>
              <a:gd name="connsiteX2-33" fmla="*/ 255 w 9316"/>
              <a:gd name="connsiteY2-34" fmla="*/ 5005 h 10000"/>
              <a:gd name="connsiteX3-35" fmla="*/ 0 w 9316"/>
              <a:gd name="connsiteY3-36" fmla="*/ 9962 h 10000"/>
              <a:gd name="connsiteX4-37" fmla="*/ 9071 w 9316"/>
              <a:gd name="connsiteY4-38" fmla="*/ 10000 h 10000"/>
              <a:gd name="connsiteX5-39" fmla="*/ 9316 w 9316"/>
              <a:gd name="connsiteY5-40" fmla="*/ 5668 h 10000"/>
              <a:gd name="connsiteX6-41" fmla="*/ 9076 w 9316"/>
              <a:gd name="connsiteY6-42" fmla="*/ 0 h 10000"/>
              <a:gd name="connsiteX0-43" fmla="*/ 9742 w 10000"/>
              <a:gd name="connsiteY0-44" fmla="*/ 0 h 10000"/>
              <a:gd name="connsiteX1-45" fmla="*/ 0 w 10000"/>
              <a:gd name="connsiteY1-46" fmla="*/ 0 h 10000"/>
              <a:gd name="connsiteX2-47" fmla="*/ 274 w 10000"/>
              <a:gd name="connsiteY2-48" fmla="*/ 5005 h 10000"/>
              <a:gd name="connsiteX3-49" fmla="*/ 0 w 10000"/>
              <a:gd name="connsiteY3-50" fmla="*/ 9962 h 10000"/>
              <a:gd name="connsiteX4-51" fmla="*/ 9737 w 10000"/>
              <a:gd name="connsiteY4-52" fmla="*/ 10000 h 10000"/>
              <a:gd name="connsiteX5-53" fmla="*/ 10000 w 10000"/>
              <a:gd name="connsiteY5-54" fmla="*/ 5668 h 10000"/>
              <a:gd name="connsiteX6-55" fmla="*/ 9742 w 10000"/>
              <a:gd name="connsiteY6-56" fmla="*/ 0 h 10000"/>
              <a:gd name="connsiteX0-57" fmla="*/ 9742 w 9877"/>
              <a:gd name="connsiteY0-58" fmla="*/ 0 h 10000"/>
              <a:gd name="connsiteX1-59" fmla="*/ 0 w 9877"/>
              <a:gd name="connsiteY1-60" fmla="*/ 0 h 10000"/>
              <a:gd name="connsiteX2-61" fmla="*/ 274 w 9877"/>
              <a:gd name="connsiteY2-62" fmla="*/ 5005 h 10000"/>
              <a:gd name="connsiteX3-63" fmla="*/ 0 w 9877"/>
              <a:gd name="connsiteY3-64" fmla="*/ 9962 h 10000"/>
              <a:gd name="connsiteX4-65" fmla="*/ 9737 w 9877"/>
              <a:gd name="connsiteY4-66" fmla="*/ 10000 h 10000"/>
              <a:gd name="connsiteX5-67" fmla="*/ 9738 w 9877"/>
              <a:gd name="connsiteY5-68" fmla="*/ 5783 h 10000"/>
              <a:gd name="connsiteX6-69" fmla="*/ 9742 w 9877"/>
              <a:gd name="connsiteY6-70" fmla="*/ 0 h 10000"/>
              <a:gd name="connsiteX0-71" fmla="*/ 9863 w 9991"/>
              <a:gd name="connsiteY0-72" fmla="*/ 0 h 10000"/>
              <a:gd name="connsiteX1-73" fmla="*/ 0 w 9991"/>
              <a:gd name="connsiteY1-74" fmla="*/ 0 h 10000"/>
              <a:gd name="connsiteX2-75" fmla="*/ 277 w 9991"/>
              <a:gd name="connsiteY2-76" fmla="*/ 5005 h 10000"/>
              <a:gd name="connsiteX3-77" fmla="*/ 0 w 9991"/>
              <a:gd name="connsiteY3-78" fmla="*/ 9962 h 10000"/>
              <a:gd name="connsiteX4-79" fmla="*/ 9858 w 9991"/>
              <a:gd name="connsiteY4-80" fmla="*/ 10000 h 10000"/>
              <a:gd name="connsiteX5-81" fmla="*/ 9817 w 9991"/>
              <a:gd name="connsiteY5-82" fmla="*/ 5783 h 10000"/>
              <a:gd name="connsiteX6-83" fmla="*/ 9863 w 9991"/>
              <a:gd name="connsiteY6-84" fmla="*/ 0 h 10000"/>
              <a:gd name="connsiteX0-85" fmla="*/ 9872 w 10014"/>
              <a:gd name="connsiteY0-86" fmla="*/ 0 h 10000"/>
              <a:gd name="connsiteX1-87" fmla="*/ 0 w 10014"/>
              <a:gd name="connsiteY1-88" fmla="*/ 0 h 10000"/>
              <a:gd name="connsiteX2-89" fmla="*/ 277 w 10014"/>
              <a:gd name="connsiteY2-90" fmla="*/ 5005 h 10000"/>
              <a:gd name="connsiteX3-91" fmla="*/ 0 w 10014"/>
              <a:gd name="connsiteY3-92" fmla="*/ 9962 h 10000"/>
              <a:gd name="connsiteX4-93" fmla="*/ 9867 w 10014"/>
              <a:gd name="connsiteY4-94" fmla="*/ 10000 h 10000"/>
              <a:gd name="connsiteX5-95" fmla="*/ 9890 w 10014"/>
              <a:gd name="connsiteY5-96" fmla="*/ 5745 h 10000"/>
              <a:gd name="connsiteX6-97" fmla="*/ 9872 w 10014"/>
              <a:gd name="connsiteY6-98" fmla="*/ 0 h 10000"/>
              <a:gd name="connsiteX0-99" fmla="*/ 9872 w 10030"/>
              <a:gd name="connsiteY0-100" fmla="*/ 0 h 10000"/>
              <a:gd name="connsiteX1-101" fmla="*/ 0 w 10030"/>
              <a:gd name="connsiteY1-102" fmla="*/ 0 h 10000"/>
              <a:gd name="connsiteX2-103" fmla="*/ 277 w 10030"/>
              <a:gd name="connsiteY2-104" fmla="*/ 5005 h 10000"/>
              <a:gd name="connsiteX3-105" fmla="*/ 0 w 10030"/>
              <a:gd name="connsiteY3-106" fmla="*/ 9962 h 10000"/>
              <a:gd name="connsiteX4-107" fmla="*/ 9867 w 10030"/>
              <a:gd name="connsiteY4-108" fmla="*/ 10000 h 10000"/>
              <a:gd name="connsiteX5-109" fmla="*/ 9890 w 10030"/>
              <a:gd name="connsiteY5-110" fmla="*/ 5745 h 10000"/>
              <a:gd name="connsiteX6-111" fmla="*/ 9872 w 10030"/>
              <a:gd name="connsiteY6-112" fmla="*/ 0 h 10000"/>
              <a:gd name="connsiteX0-113" fmla="*/ 9872 w 9921"/>
              <a:gd name="connsiteY0-114" fmla="*/ 0 h 10000"/>
              <a:gd name="connsiteX1-115" fmla="*/ 0 w 9921"/>
              <a:gd name="connsiteY1-116" fmla="*/ 0 h 10000"/>
              <a:gd name="connsiteX2-117" fmla="*/ 277 w 9921"/>
              <a:gd name="connsiteY2-118" fmla="*/ 5005 h 10000"/>
              <a:gd name="connsiteX3-119" fmla="*/ 0 w 9921"/>
              <a:gd name="connsiteY3-120" fmla="*/ 9962 h 10000"/>
              <a:gd name="connsiteX4-121" fmla="*/ 9867 w 9921"/>
              <a:gd name="connsiteY4-122" fmla="*/ 10000 h 10000"/>
              <a:gd name="connsiteX5-123" fmla="*/ 9890 w 9921"/>
              <a:gd name="connsiteY5-124" fmla="*/ 5745 h 10000"/>
              <a:gd name="connsiteX6-125" fmla="*/ 9872 w 9921"/>
              <a:gd name="connsiteY6-126" fmla="*/ 0 h 10000"/>
              <a:gd name="connsiteX0-127" fmla="*/ 9951 w 9974"/>
              <a:gd name="connsiteY0-128" fmla="*/ 0 h 10000"/>
              <a:gd name="connsiteX1-129" fmla="*/ 0 w 9974"/>
              <a:gd name="connsiteY1-130" fmla="*/ 0 h 10000"/>
              <a:gd name="connsiteX2-131" fmla="*/ 279 w 9974"/>
              <a:gd name="connsiteY2-132" fmla="*/ 5005 h 10000"/>
              <a:gd name="connsiteX3-133" fmla="*/ 0 w 9974"/>
              <a:gd name="connsiteY3-134" fmla="*/ 9962 h 10000"/>
              <a:gd name="connsiteX4-135" fmla="*/ 9946 w 9974"/>
              <a:gd name="connsiteY4-136" fmla="*/ 10000 h 10000"/>
              <a:gd name="connsiteX5-137" fmla="*/ 9969 w 9974"/>
              <a:gd name="connsiteY5-138" fmla="*/ 5745 h 10000"/>
              <a:gd name="connsiteX6-139" fmla="*/ 9951 w 9974"/>
              <a:gd name="connsiteY6-140" fmla="*/ 0 h 10000"/>
              <a:gd name="connsiteX0-141" fmla="*/ 9977 w 10001"/>
              <a:gd name="connsiteY0-142" fmla="*/ 0 h 10000"/>
              <a:gd name="connsiteX1-143" fmla="*/ 0 w 10001"/>
              <a:gd name="connsiteY1-144" fmla="*/ 0 h 10000"/>
              <a:gd name="connsiteX2-145" fmla="*/ 280 w 10001"/>
              <a:gd name="connsiteY2-146" fmla="*/ 5005 h 10000"/>
              <a:gd name="connsiteX3-147" fmla="*/ 0 w 10001"/>
              <a:gd name="connsiteY3-148" fmla="*/ 9962 h 10000"/>
              <a:gd name="connsiteX4-149" fmla="*/ 9972 w 10001"/>
              <a:gd name="connsiteY4-150" fmla="*/ 10000 h 10000"/>
              <a:gd name="connsiteX5-151" fmla="*/ 9995 w 10001"/>
              <a:gd name="connsiteY5-152" fmla="*/ 5745 h 10000"/>
              <a:gd name="connsiteX6-153" fmla="*/ 9977 w 10001"/>
              <a:gd name="connsiteY6-154" fmla="*/ 0 h 10000"/>
              <a:gd name="connsiteX0-155" fmla="*/ 9977 w 10001"/>
              <a:gd name="connsiteY0-156" fmla="*/ 0 h 10000"/>
              <a:gd name="connsiteX1-157" fmla="*/ 0 w 10001"/>
              <a:gd name="connsiteY1-158" fmla="*/ 0 h 10000"/>
              <a:gd name="connsiteX2-159" fmla="*/ 280 w 10001"/>
              <a:gd name="connsiteY2-160" fmla="*/ 5005 h 10000"/>
              <a:gd name="connsiteX3-161" fmla="*/ 0 w 10001"/>
              <a:gd name="connsiteY3-162" fmla="*/ 9962 h 10000"/>
              <a:gd name="connsiteX4-163" fmla="*/ 9972 w 10001"/>
              <a:gd name="connsiteY4-164" fmla="*/ 10000 h 10000"/>
              <a:gd name="connsiteX5-165" fmla="*/ 9995 w 10001"/>
              <a:gd name="connsiteY5-166" fmla="*/ 5745 h 10000"/>
              <a:gd name="connsiteX6-167" fmla="*/ 9977 w 10001"/>
              <a:gd name="connsiteY6-168" fmla="*/ 0 h 10000"/>
              <a:gd name="connsiteX0-169" fmla="*/ 9977 w 10001"/>
              <a:gd name="connsiteY0-170" fmla="*/ 0 h 10000"/>
              <a:gd name="connsiteX1-171" fmla="*/ 0 w 10001"/>
              <a:gd name="connsiteY1-172" fmla="*/ 0 h 10000"/>
              <a:gd name="connsiteX2-173" fmla="*/ 280 w 10001"/>
              <a:gd name="connsiteY2-174" fmla="*/ 5005 h 10000"/>
              <a:gd name="connsiteX3-175" fmla="*/ 0 w 10001"/>
              <a:gd name="connsiteY3-176" fmla="*/ 9962 h 10000"/>
              <a:gd name="connsiteX4-177" fmla="*/ 9972 w 10001"/>
              <a:gd name="connsiteY4-178" fmla="*/ 10000 h 10000"/>
              <a:gd name="connsiteX5-179" fmla="*/ 9995 w 10001"/>
              <a:gd name="connsiteY5-180" fmla="*/ 5745 h 10000"/>
              <a:gd name="connsiteX6-181" fmla="*/ 9977 w 10001"/>
              <a:gd name="connsiteY6-182" fmla="*/ 0 h 10000"/>
              <a:gd name="connsiteX0-183" fmla="*/ 9977 w 9995"/>
              <a:gd name="connsiteY0-184" fmla="*/ 0 h 10000"/>
              <a:gd name="connsiteX1-185" fmla="*/ 0 w 9995"/>
              <a:gd name="connsiteY1-186" fmla="*/ 0 h 10000"/>
              <a:gd name="connsiteX2-187" fmla="*/ 280 w 9995"/>
              <a:gd name="connsiteY2-188" fmla="*/ 5005 h 10000"/>
              <a:gd name="connsiteX3-189" fmla="*/ 0 w 9995"/>
              <a:gd name="connsiteY3-190" fmla="*/ 9962 h 10000"/>
              <a:gd name="connsiteX4-191" fmla="*/ 9972 w 9995"/>
              <a:gd name="connsiteY4-192" fmla="*/ 10000 h 10000"/>
              <a:gd name="connsiteX5-193" fmla="*/ 9995 w 9995"/>
              <a:gd name="connsiteY5-194" fmla="*/ 5745 h 10000"/>
              <a:gd name="connsiteX6-195" fmla="*/ 9977 w 9995"/>
              <a:gd name="connsiteY6-196" fmla="*/ 0 h 10000"/>
              <a:gd name="connsiteX0-197" fmla="*/ 9999 w 10000"/>
              <a:gd name="connsiteY0-198" fmla="*/ 0 h 10000"/>
              <a:gd name="connsiteX1-199" fmla="*/ 0 w 10000"/>
              <a:gd name="connsiteY1-200" fmla="*/ 0 h 10000"/>
              <a:gd name="connsiteX2-201" fmla="*/ 280 w 10000"/>
              <a:gd name="connsiteY2-202" fmla="*/ 5005 h 10000"/>
              <a:gd name="connsiteX3-203" fmla="*/ 0 w 10000"/>
              <a:gd name="connsiteY3-204" fmla="*/ 9962 h 10000"/>
              <a:gd name="connsiteX4-205" fmla="*/ 9977 w 10000"/>
              <a:gd name="connsiteY4-206" fmla="*/ 10000 h 10000"/>
              <a:gd name="connsiteX5-207" fmla="*/ 10000 w 10000"/>
              <a:gd name="connsiteY5-208" fmla="*/ 5745 h 10000"/>
              <a:gd name="connsiteX6-209" fmla="*/ 9999 w 10000"/>
              <a:gd name="connsiteY6-210" fmla="*/ 0 h 10000"/>
              <a:gd name="connsiteX0-211" fmla="*/ 9999 w 10004"/>
              <a:gd name="connsiteY0-212" fmla="*/ 0 h 10000"/>
              <a:gd name="connsiteX1-213" fmla="*/ 0 w 10004"/>
              <a:gd name="connsiteY1-214" fmla="*/ 0 h 10000"/>
              <a:gd name="connsiteX2-215" fmla="*/ 280 w 10004"/>
              <a:gd name="connsiteY2-216" fmla="*/ 5005 h 10000"/>
              <a:gd name="connsiteX3-217" fmla="*/ 0 w 10004"/>
              <a:gd name="connsiteY3-218" fmla="*/ 9962 h 10000"/>
              <a:gd name="connsiteX4-219" fmla="*/ 10000 w 10004"/>
              <a:gd name="connsiteY4-220" fmla="*/ 10000 h 10000"/>
              <a:gd name="connsiteX5-221" fmla="*/ 10000 w 10004"/>
              <a:gd name="connsiteY5-222" fmla="*/ 5745 h 10000"/>
              <a:gd name="connsiteX6-223" fmla="*/ 9999 w 10004"/>
              <a:gd name="connsiteY6-224" fmla="*/ 0 h 10000"/>
              <a:gd name="connsiteX0-225" fmla="*/ 9999 w 10000"/>
              <a:gd name="connsiteY0-226" fmla="*/ 0 h 10000"/>
              <a:gd name="connsiteX1-227" fmla="*/ 0 w 10000"/>
              <a:gd name="connsiteY1-228" fmla="*/ 0 h 10000"/>
              <a:gd name="connsiteX2-229" fmla="*/ 280 w 10000"/>
              <a:gd name="connsiteY2-230" fmla="*/ 5005 h 10000"/>
              <a:gd name="connsiteX3-231" fmla="*/ 0 w 10000"/>
              <a:gd name="connsiteY3-232" fmla="*/ 9962 h 10000"/>
              <a:gd name="connsiteX4-233" fmla="*/ 10000 w 10000"/>
              <a:gd name="connsiteY4-234" fmla="*/ 10000 h 10000"/>
              <a:gd name="connsiteX5-235" fmla="*/ 10000 w 10000"/>
              <a:gd name="connsiteY5-236" fmla="*/ 5745 h 10000"/>
              <a:gd name="connsiteX6-237" fmla="*/ 9999 w 10000"/>
              <a:gd name="connsiteY6-238" fmla="*/ 0 h 10000"/>
              <a:gd name="connsiteX0-239" fmla="*/ 14796 w 14796"/>
              <a:gd name="connsiteY0-240" fmla="*/ 0 h 10000"/>
              <a:gd name="connsiteX1-241" fmla="*/ 0 w 14796"/>
              <a:gd name="connsiteY1-242" fmla="*/ 0 h 10000"/>
              <a:gd name="connsiteX2-243" fmla="*/ 280 w 14796"/>
              <a:gd name="connsiteY2-244" fmla="*/ 5005 h 10000"/>
              <a:gd name="connsiteX3-245" fmla="*/ 0 w 14796"/>
              <a:gd name="connsiteY3-246" fmla="*/ 9962 h 10000"/>
              <a:gd name="connsiteX4-247" fmla="*/ 10000 w 14796"/>
              <a:gd name="connsiteY4-248" fmla="*/ 10000 h 10000"/>
              <a:gd name="connsiteX5-249" fmla="*/ 10000 w 14796"/>
              <a:gd name="connsiteY5-250" fmla="*/ 5745 h 10000"/>
              <a:gd name="connsiteX6-251" fmla="*/ 14796 w 14796"/>
              <a:gd name="connsiteY6-252" fmla="*/ 0 h 10000"/>
              <a:gd name="connsiteX0-253" fmla="*/ 14796 w 14796"/>
              <a:gd name="connsiteY0-254" fmla="*/ 0 h 9968"/>
              <a:gd name="connsiteX1-255" fmla="*/ 0 w 14796"/>
              <a:gd name="connsiteY1-256" fmla="*/ 0 h 9968"/>
              <a:gd name="connsiteX2-257" fmla="*/ 280 w 14796"/>
              <a:gd name="connsiteY2-258" fmla="*/ 5005 h 9968"/>
              <a:gd name="connsiteX3-259" fmla="*/ 0 w 14796"/>
              <a:gd name="connsiteY3-260" fmla="*/ 9962 h 9968"/>
              <a:gd name="connsiteX4-261" fmla="*/ 14788 w 14796"/>
              <a:gd name="connsiteY4-262" fmla="*/ 9968 h 9968"/>
              <a:gd name="connsiteX5-263" fmla="*/ 10000 w 14796"/>
              <a:gd name="connsiteY5-264" fmla="*/ 5745 h 9968"/>
              <a:gd name="connsiteX6-265" fmla="*/ 14796 w 14796"/>
              <a:gd name="connsiteY6-266" fmla="*/ 0 h 9968"/>
              <a:gd name="connsiteX0-267" fmla="*/ 10000 w 10000"/>
              <a:gd name="connsiteY0-268" fmla="*/ 0 h 10000"/>
              <a:gd name="connsiteX1-269" fmla="*/ 0 w 10000"/>
              <a:gd name="connsiteY1-270" fmla="*/ 0 h 10000"/>
              <a:gd name="connsiteX2-271" fmla="*/ 189 w 10000"/>
              <a:gd name="connsiteY2-272" fmla="*/ 5021 h 10000"/>
              <a:gd name="connsiteX3-273" fmla="*/ 0 w 10000"/>
              <a:gd name="connsiteY3-274" fmla="*/ 9994 h 10000"/>
              <a:gd name="connsiteX4-275" fmla="*/ 9995 w 10000"/>
              <a:gd name="connsiteY4-276" fmla="*/ 10000 h 10000"/>
              <a:gd name="connsiteX5-277" fmla="*/ 9998 w 10000"/>
              <a:gd name="connsiteY5-278" fmla="*/ 6152 h 10000"/>
              <a:gd name="connsiteX6-279" fmla="*/ 10000 w 10000"/>
              <a:gd name="connsiteY6-280"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5" name="Freeform 11"/>
          <p:cNvSpPr/>
          <p:nvPr userDrawn="1"/>
        </p:nvSpPr>
        <p:spPr bwMode="auto">
          <a:xfrm>
            <a:off x="3106455"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27" name="文本占位符 6"/>
          <p:cNvSpPr>
            <a:spLocks noGrp="1"/>
          </p:cNvSpPr>
          <p:nvPr>
            <p:ph type="body" sz="quarter" idx="10" hasCustomPrompt="1"/>
          </p:nvPr>
        </p:nvSpPr>
        <p:spPr>
          <a:xfrm>
            <a:off x="445851" y="1242452"/>
            <a:ext cx="11307600" cy="4680000"/>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a:latin typeface="+mn-lt"/>
                <a:ea typeface="+mn-ea"/>
                <a:cs typeface="Arial" panose="020B0604020202020204" pitchFamily="34" charset="0"/>
              </a:defRPr>
            </a:lvl1pPr>
            <a:lvl2pPr fontAlgn="ctr">
              <a:buClrTx/>
              <a:buSzPct val="100000"/>
              <a:buFont typeface="Huawei Sans" panose="020C0503030203020204" pitchFamily="34" charset="0"/>
              <a:buChar char="▫"/>
              <a:defRPr>
                <a:latin typeface="+mn-lt"/>
              </a:defRPr>
            </a:lvl2pPr>
            <a:lvl3pPr>
              <a:defRPr/>
            </a:lvl3pPr>
            <a:lvl5pPr>
              <a:buNone/>
              <a:defRPr/>
            </a:lvl5pPr>
          </a:lstStyle>
          <a:p>
            <a:pPr marL="457200" indent="-457200">
              <a:buSzPct val="100000"/>
              <a:buFont typeface="+mj-lt"/>
              <a:buAutoNum type="arabicPeriod"/>
            </a:pPr>
            <a:r>
              <a:rPr lang="zh-CN" altLang="en-US" dirty="0"/>
              <a:t>一级目录一</a:t>
            </a:r>
            <a:endParaRPr lang="en-US" altLang="zh-CN" dirty="0"/>
          </a:p>
          <a:p>
            <a:pPr marL="654050" lvl="1" indent="-457200">
              <a:buSzPct val="100000"/>
              <a:buFont typeface="+mj-lt"/>
              <a:buAutoNum type="arabicPeriod"/>
            </a:pPr>
            <a:endParaRPr lang="en-US" altLang="zh-CN" dirty="0"/>
          </a:p>
          <a:p>
            <a:pPr marL="457200" indent="-457200">
              <a:buSzPct val="100000"/>
              <a:buFont typeface="+mj-lt"/>
              <a:buAutoNum type="arabicPeriod"/>
            </a:pPr>
            <a:r>
              <a:rPr lang="zh-CN" altLang="en-US" dirty="0"/>
              <a:t>一级目录二</a:t>
            </a:r>
            <a:endParaRPr lang="en-US" altLang="zh-CN" dirty="0"/>
          </a:p>
          <a:p>
            <a:pPr marL="457200" indent="-457200">
              <a:buSzPct val="100000"/>
              <a:buFont typeface="+mj-lt"/>
              <a:buAutoNum type="arabicPeriod"/>
            </a:pPr>
            <a:r>
              <a:rPr lang="zh-CN" altLang="en-US" dirty="0"/>
              <a:t>一级目录三</a:t>
            </a:r>
            <a:endParaRPr lang="en-US" altLang="zh-CN" dirty="0"/>
          </a:p>
          <a:p>
            <a:pPr marL="457200" indent="-457200">
              <a:buSzPct val="100000"/>
              <a:buFont typeface="+mj-lt"/>
              <a:buAutoNum type="arabicPeriod"/>
            </a:pPr>
            <a:r>
              <a:rPr lang="zh-CN" altLang="en-US" dirty="0"/>
              <a:t>一级目录四</a:t>
            </a:r>
            <a:endParaRPr lang="en-US" altLang="zh-CN" dirty="0"/>
          </a:p>
          <a:p>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本节概述和学习目标(可选)">
    <p:spTree>
      <p:nvGrpSpPr>
        <p:cNvPr id="1" name=""/>
        <p:cNvGrpSpPr/>
        <p:nvPr/>
      </p:nvGrpSpPr>
      <p:grpSpPr>
        <a:xfrm>
          <a:off x="0" y="0"/>
          <a:ext cx="0" cy="0"/>
          <a:chOff x="0" y="0"/>
          <a:chExt cx="0" cy="0"/>
        </a:xfrm>
      </p:grpSpPr>
      <p:sp>
        <p:nvSpPr>
          <p:cNvPr id="3" name="内容占位符 6"/>
          <p:cNvSpPr>
            <a:spLocks noGrp="1"/>
          </p:cNvSpPr>
          <p:nvPr>
            <p:ph sz="quarter" idx="10"/>
          </p:nvPr>
        </p:nvSpPr>
        <p:spPr>
          <a:xfrm>
            <a:off x="444603" y="1247555"/>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vl2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2pPr>
            <a:lvl3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3pPr>
            <a:lvl4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4pPr>
            <a:lvl5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TextBox 10"/>
          <p:cNvSpPr txBox="1"/>
          <p:nvPr userDrawn="1"/>
        </p:nvSpPr>
        <p:spPr bwMode="auto">
          <a:xfrm>
            <a:off x="1594877" y="408780"/>
            <a:ext cx="9825899" cy="639559"/>
          </a:xfrm>
          <a:prstGeom prst="rect">
            <a:avLst/>
          </a:prstGeom>
          <a:noFill/>
          <a:ln w="9525">
            <a:noFill/>
            <a:miter lim="800000"/>
          </a:ln>
        </p:spPr>
        <p:txBody>
          <a:bodyPr wrap="square" lIns="99941" tIns="49967" rIns="99941" bIns="49967" rtlCol="0">
            <a:spAutoFit/>
          </a:bodyPr>
          <a:lstStyle/>
          <a:p>
            <a:pPr defTabSz="1001395" eaLnBrk="0" fontAlgn="ctr" hangingPunct="0"/>
            <a:r>
              <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rPr>
              <a:t>本节概述和学习目标</a:t>
            </a:r>
            <a:endParaRPr lang="zh-CN" altLang="en-US" sz="3500" b="1" baseline="0" dirty="0">
              <a:solidFill>
                <a:schemeClr val="tx1">
                  <a:lumMod val="75000"/>
                  <a:lumOff val="25000"/>
                </a:schemeClr>
              </a:solidFill>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5"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7" name="组合 6"/>
          <p:cNvGrpSpPr/>
          <p:nvPr userDrawn="1"/>
        </p:nvGrpSpPr>
        <p:grpSpPr>
          <a:xfrm>
            <a:off x="587158" y="505779"/>
            <a:ext cx="374562" cy="445558"/>
            <a:chOff x="-1647825" y="2492375"/>
            <a:chExt cx="1947863" cy="2316163"/>
          </a:xfrm>
          <a:solidFill>
            <a:schemeClr val="bg1"/>
          </a:solidFill>
        </p:grpSpPr>
        <p:sp>
          <p:nvSpPr>
            <p:cNvPr id="8"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9"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标题和内容">
    <p:spTree>
      <p:nvGrpSpPr>
        <p:cNvPr id="1" name=""/>
        <p:cNvGrpSpPr/>
        <p:nvPr/>
      </p:nvGrpSpPr>
      <p:grpSpPr>
        <a:xfrm>
          <a:off x="0" y="0"/>
          <a:ext cx="0" cy="0"/>
          <a:chOff x="0" y="0"/>
          <a:chExt cx="0" cy="0"/>
        </a:xfrm>
      </p:grpSpPr>
      <p:sp>
        <p:nvSpPr>
          <p:cNvPr id="3"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smtClean="0"/>
              <a:t>单击</a:t>
            </a:r>
            <a:r>
              <a:rPr lang="zh-CN" altLang="en-US" dirty="0"/>
              <a:t>此处编辑母版标题样式</a:t>
            </a:r>
            <a:endParaRPr lang="zh-CN" altLang="en-US" dirty="0"/>
          </a:p>
        </p:txBody>
      </p:sp>
      <p:sp>
        <p:nvSpPr>
          <p:cNvPr id="4"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grpSp>
        <p:nvGrpSpPr>
          <p:cNvPr id="6" name="组合 5"/>
          <p:cNvGrpSpPr/>
          <p:nvPr userDrawn="1"/>
        </p:nvGrpSpPr>
        <p:grpSpPr>
          <a:xfrm>
            <a:off x="587158" y="505779"/>
            <a:ext cx="374562" cy="445558"/>
            <a:chOff x="-1647825" y="2492375"/>
            <a:chExt cx="1947863" cy="2316163"/>
          </a:xfrm>
          <a:solidFill>
            <a:schemeClr val="bg1"/>
          </a:solidFill>
        </p:grpSpPr>
        <p:sp>
          <p:nvSpPr>
            <p:cNvPr id="7"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8"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grpSp>
      <p:sp>
        <p:nvSpPr>
          <p:cNvPr id="9" name="文本占位符 6"/>
          <p:cNvSpPr>
            <a:spLocks noGrp="1"/>
          </p:cNvSpPr>
          <p:nvPr>
            <p:ph type="body" sz="quarter" idx="10" hasCustomPrompt="1"/>
          </p:nvPr>
        </p:nvSpPr>
        <p:spPr>
          <a:xfrm>
            <a:off x="444603" y="1247556"/>
            <a:ext cx="11307600" cy="4680000"/>
          </a:xfrm>
          <a:prstGeom prst="rect">
            <a:avLst/>
          </a:prstGeom>
        </p:spPr>
        <p:txBody>
          <a:bodyPr/>
          <a:lstStyle>
            <a:lvl1pPr algn="just" fontAlgn="ctr">
              <a:buClrTx/>
              <a:defRPr baseline="0">
                <a:latin typeface="Huawei Sans" panose="020C0503030203020204" pitchFamily="34" charset="0"/>
                <a:ea typeface="方正兰亭黑简体" panose="02000000000000000000" pitchFamily="2" charset="-122"/>
                <a:cs typeface="Huawei Sans" panose="020C0503030203020204" pitchFamily="34" charset="0"/>
              </a:defRPr>
            </a:lvl1pPr>
          </a:lstStyle>
          <a:p>
            <a:r>
              <a:rPr lang="zh-CN" altLang="en-US" dirty="0"/>
              <a:t>单击此处输入文字</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仅标题">
    <p:spTree>
      <p:nvGrpSpPr>
        <p:cNvPr id="1" name=""/>
        <p:cNvGrpSpPr/>
        <p:nvPr/>
      </p:nvGrpSpPr>
      <p:grpSpPr>
        <a:xfrm>
          <a:off x="0" y="0"/>
          <a:ext cx="0" cy="0"/>
          <a:chOff x="0" y="0"/>
          <a:chExt cx="0" cy="0"/>
        </a:xfrm>
      </p:grpSpPr>
      <p:sp>
        <p:nvSpPr>
          <p:cNvPr id="3" name="Freeform 9"/>
          <p:cNvSpPr/>
          <p:nvPr userDrawn="1"/>
        </p:nvSpPr>
        <p:spPr bwMode="auto">
          <a:xfrm>
            <a:off x="3112" y="296368"/>
            <a:ext cx="1375826"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4" name="Freeform 11"/>
          <p:cNvSpPr/>
          <p:nvPr userDrawn="1"/>
        </p:nvSpPr>
        <p:spPr bwMode="auto">
          <a:xfrm>
            <a:off x="1245702" y="296368"/>
            <a:ext cx="233272"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noAutofit/>
          </a:bodyPr>
          <a:lstStyle/>
          <a:p>
            <a:endParaRPr lang="zh-CN" altLang="en-US" sz="1800" baseline="0">
              <a:latin typeface="Huawei Sans" panose="020C0503030203020204" pitchFamily="34" charset="0"/>
              <a:ea typeface="方正兰亭黑简体" panose="02000000000000000000" pitchFamily="2" charset="-122"/>
            </a:endParaRPr>
          </a:p>
        </p:txBody>
      </p:sp>
      <p:sp>
        <p:nvSpPr>
          <p:cNvPr id="5" name="Freeform 12"/>
          <p:cNvSpPr>
            <a:spLocks noEditPoints="1"/>
          </p:cNvSpPr>
          <p:nvPr userDrawn="1"/>
        </p:nvSpPr>
        <p:spPr bwMode="auto">
          <a:xfrm>
            <a:off x="479189" y="474076"/>
            <a:ext cx="507964"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04" tIns="45702" rIns="91404" bIns="45702" numCol="1" anchor="t" anchorCtr="0" compatLnSpc="1"/>
          <a:lstStyle/>
          <a:p>
            <a:endParaRPr lang="zh-CN" altLang="en-US" sz="1800" baseline="0">
              <a:latin typeface="Huawei Sans" panose="020C0503030203020204" pitchFamily="34" charset="0"/>
              <a:ea typeface="方正兰亭黑简体" panose="02000000000000000000" pitchFamily="2" charset="-122"/>
            </a:endParaRPr>
          </a:p>
        </p:txBody>
      </p:sp>
      <p:sp>
        <p:nvSpPr>
          <p:cNvPr id="6" name="标题 1"/>
          <p:cNvSpPr>
            <a:spLocks noGrp="1"/>
          </p:cNvSpPr>
          <p:nvPr>
            <p:ph type="title"/>
          </p:nvPr>
        </p:nvSpPr>
        <p:spPr>
          <a:xfrm>
            <a:off x="1594177" y="410400"/>
            <a:ext cx="9827761" cy="640800"/>
          </a:xfrm>
          <a:prstGeom prst="rect">
            <a:avLst/>
          </a:prstGeom>
        </p:spPr>
        <p:txBody>
          <a:bodyPr lIns="100800" tIns="50400" rIns="100800" bIns="50400" anchor="ctr" anchorCtr="0"/>
          <a:lstStyle>
            <a:lvl1pPr fontAlgn="ctr">
              <a:defRPr b="1" baseline="0">
                <a:latin typeface="Huawei Sans" panose="020C0503030203020204" pitchFamily="34" charset="0"/>
                <a:ea typeface="方正兰亭黑简体" panose="02000000000000000000" pitchFamily="2" charset="-122"/>
              </a:defRPr>
            </a:lvl1pPr>
          </a:lstStyle>
          <a:p>
            <a:r>
              <a:rPr lang="zh-CN" altLang="en-US" dirty="0"/>
              <a:t>单击此处编辑母版标题样式</a:t>
            </a:r>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9#全白背景">
    <p:spTree>
      <p:nvGrpSpPr>
        <p:cNvPr id="1" name=""/>
        <p:cNvGrpSpPr/>
        <p:nvPr/>
      </p:nvGrpSpPr>
      <p:grpSpPr>
        <a:xfrm>
          <a:off x="0" y="0"/>
          <a:ext cx="0" cy="0"/>
          <a:chOff x="0" y="0"/>
          <a:chExt cx="0" cy="0"/>
        </a:xfrm>
      </p:grpSpPr>
      <p:grpSp>
        <p:nvGrpSpPr>
          <p:cNvPr id="2" name="组合 1"/>
          <p:cNvGrpSpPr/>
          <p:nvPr userDrawn="1"/>
        </p:nvGrpSpPr>
        <p:grpSpPr>
          <a:xfrm>
            <a:off x="12162528" y="4653136"/>
            <a:ext cx="638734" cy="1729234"/>
            <a:chOff x="12162528" y="4653136"/>
            <a:chExt cx="638734" cy="1729234"/>
          </a:xfrm>
        </p:grpSpPr>
        <p:sp>
          <p:nvSpPr>
            <p:cNvPr id="3" name="矩形 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4" name="矩形 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5" name="矩形 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6" name="矩形 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7" name="矩形 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8" name="矩形 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mn-lt"/>
                <a:ea typeface="+mn-ea"/>
                <a:cs typeface="Huawei Sans" panose="020C0503030203020204" pitchFamily="34" charset="0"/>
              </a:endParaRPr>
            </a:p>
          </p:txBody>
        </p:sp>
        <p:sp>
          <p:nvSpPr>
            <p:cNvPr id="9" name="文本框 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表格表头</a:t>
              </a:r>
              <a:endParaRPr lang="zh-CN" altLang="en-US" sz="900" dirty="0">
                <a:solidFill>
                  <a:schemeClr val="bg1"/>
                </a:solidFill>
                <a:latin typeface="+mn-lt"/>
                <a:ea typeface="+mn-ea"/>
              </a:endParaRPr>
            </a:p>
          </p:txBody>
        </p:sp>
        <p:sp>
          <p:nvSpPr>
            <p:cNvPr id="10" name="文本框 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表格边框</a:t>
              </a:r>
              <a:endParaRPr lang="zh-CN" altLang="en-US" sz="900" dirty="0">
                <a:latin typeface="+mn-lt"/>
                <a:ea typeface="+mn-ea"/>
              </a:endParaRPr>
            </a:p>
          </p:txBody>
        </p:sp>
        <p:sp>
          <p:nvSpPr>
            <p:cNvPr id="11" name="文本框 1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导航灰底</a:t>
              </a:r>
              <a:endParaRPr lang="zh-CN" altLang="en-US" sz="900" dirty="0">
                <a:latin typeface="+mn-lt"/>
                <a:ea typeface="+mn-ea"/>
              </a:endParaRPr>
            </a:p>
          </p:txBody>
        </p:sp>
        <p:sp>
          <p:nvSpPr>
            <p:cNvPr id="12" name="文本框 1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mn-lt"/>
                  <a:ea typeface="+mn-ea"/>
                </a:rPr>
                <a:t>华为红</a:t>
              </a:r>
              <a:endParaRPr lang="zh-CN" altLang="en-US" sz="900" dirty="0">
                <a:solidFill>
                  <a:schemeClr val="bg1"/>
                </a:solidFill>
                <a:latin typeface="+mn-lt"/>
                <a:ea typeface="+mn-ea"/>
              </a:endParaRPr>
            </a:p>
          </p:txBody>
        </p:sp>
        <p:sp>
          <p:nvSpPr>
            <p:cNvPr id="13" name="文本框 1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底色</a:t>
              </a:r>
              <a:endParaRPr lang="zh-CN" altLang="en-US" sz="900" dirty="0">
                <a:latin typeface="+mn-lt"/>
                <a:ea typeface="+mn-ea"/>
              </a:endParaRPr>
            </a:p>
          </p:txBody>
        </p:sp>
        <p:sp>
          <p:nvSpPr>
            <p:cNvPr id="14" name="文本框 1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mn-lt"/>
                  <a:ea typeface="+mn-ea"/>
                </a:rPr>
                <a:t>文字边框</a:t>
              </a:r>
              <a:endParaRPr lang="zh-CN" altLang="en-US" sz="900" dirty="0">
                <a:latin typeface="+mn-lt"/>
                <a:ea typeface="+mn-ea"/>
              </a:endParaRPr>
            </a:p>
          </p:txBody>
        </p:sp>
      </p:gr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image" Target="../media/image5.pn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7" name="Rectangle 6"/>
          <p:cNvSpPr>
            <a:spLocks noGrp="1" noChangeArrowheads="1"/>
          </p:cNvSpPr>
          <p:nvPr>
            <p:ph type="title"/>
          </p:nvPr>
        </p:nvSpPr>
        <p:spPr bwMode="auto">
          <a:xfrm>
            <a:off x="869611" y="260649"/>
            <a:ext cx="10323183" cy="868363"/>
          </a:xfrm>
          <a:prstGeom prst="rect">
            <a:avLst/>
          </a:prstGeom>
          <a:noFill/>
          <a:ln w="9525">
            <a:noFill/>
            <a:miter lim="800000"/>
          </a:ln>
        </p:spPr>
        <p:txBody>
          <a:bodyPr vert="horz" wrap="square" lIns="80128" tIns="40064" rIns="80128" bIns="40064" numCol="1" anchor="ctr" anchorCtr="0" compatLnSpc="1"/>
          <a:lstStyle/>
          <a:p>
            <a:pPr lvl="0"/>
            <a:r>
              <a:rPr lang="zh-CN" altLang="en-US" dirty="0"/>
              <a:t>单击此处编辑母版标题样式</a:t>
            </a:r>
            <a:endParaRPr lang="zh-CN" altLang="en-US" dirty="0"/>
          </a:p>
        </p:txBody>
      </p:sp>
      <p:sp>
        <p:nvSpPr>
          <p:cNvPr id="28" name="Rectangle 57"/>
          <p:cNvSpPr>
            <a:spLocks noGrp="1" noChangeArrowheads="1"/>
          </p:cNvSpPr>
          <p:nvPr>
            <p:ph type="body" idx="1"/>
          </p:nvPr>
        </p:nvSpPr>
        <p:spPr bwMode="auto">
          <a:xfrm>
            <a:off x="442912" y="1248073"/>
            <a:ext cx="11307600" cy="4680000"/>
          </a:xfrm>
          <a:prstGeom prst="rect">
            <a:avLst/>
          </a:prstGeom>
          <a:noFill/>
          <a:ln w="9525">
            <a:noFill/>
            <a:miter lim="800000"/>
          </a:ln>
        </p:spPr>
        <p:txBody>
          <a:bodyPr vert="horz" wrap="square" lIns="80141" tIns="40071" rIns="80141" bIns="40071" numCol="1" anchor="t" anchorCtr="0" compatLnSpc="1"/>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29" name="Rectangle 69"/>
          <p:cNvSpPr>
            <a:spLocks noChangeArrowheads="1"/>
          </p:cNvSpPr>
          <p:nvPr userDrawn="1"/>
        </p:nvSpPr>
        <p:spPr bwMode="auto">
          <a:xfrm>
            <a:off x="155280" y="6500581"/>
            <a:ext cx="658440" cy="265552"/>
          </a:xfrm>
          <a:prstGeom prst="rect">
            <a:avLst/>
          </a:prstGeom>
          <a:noFill/>
          <a:ln w="9525" algn="ctr">
            <a:noFill/>
            <a:miter lim="800000"/>
          </a:ln>
          <a:effectLst/>
        </p:spPr>
        <p:txBody>
          <a:bodyPr wrap="none" lIns="80070" tIns="40036" rIns="80070" bIns="40036">
            <a:spAutoFit/>
          </a:bodyPr>
          <a:lstStyle/>
          <a:p>
            <a:pPr algn="l"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第</a:t>
            </a:r>
            <a:fld id="{2F2CF7F5-F178-4429-B6CA-28062DF31937}" type="slidenum">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fld>
            <a:r>
              <a:rPr lang="zh-CN" altLang="en-US" sz="1200" dirty="0">
                <a:latin typeface="Huawei Sans" panose="020C0503030203020204" pitchFamily="34" charset="0"/>
                <a:ea typeface="方正兰亭黑简体" panose="02000000000000000000" pitchFamily="2" charset="-122"/>
                <a:cs typeface="Huawei Sans" panose="020C0503030203020204" pitchFamily="34" charset="0"/>
              </a:rPr>
              <a:t>页</a:t>
            </a:r>
            <a:endParaRPr lang="en-US" altLang="zh-CN" sz="12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0" name="Rectangle 54"/>
          <p:cNvSpPr>
            <a:spLocks noChangeArrowheads="1"/>
          </p:cNvSpPr>
          <p:nvPr userDrawn="1"/>
        </p:nvSpPr>
        <p:spPr bwMode="auto">
          <a:xfrm>
            <a:off x="947058" y="6500581"/>
            <a:ext cx="2572620" cy="265520"/>
          </a:xfrm>
          <a:prstGeom prst="rect">
            <a:avLst/>
          </a:prstGeom>
          <a:noFill/>
          <a:ln w="9525" algn="ctr">
            <a:noFill/>
            <a:miter lim="800000"/>
          </a:ln>
          <a:effectLst/>
        </p:spPr>
        <p:txBody>
          <a:bodyPr wrap="none" lIns="80070" tIns="40036" rIns="80070" bIns="40036">
            <a:spAutoFit/>
          </a:bodyPr>
          <a:lstStyle/>
          <a:p>
            <a:pPr defTabSz="801370" eaLnBrk="0" fontAlgn="ctr" hangingPunct="0">
              <a:defRPr/>
            </a:pP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版权所有</a:t>
            </a:r>
            <a:r>
              <a:rPr lang="en-US" altLang="zh-CN" sz="1200" baseline="0" dirty="0">
                <a:latin typeface="Huawei Sans" panose="020C0503030203020204" pitchFamily="34" charset="0"/>
                <a:ea typeface="方正兰亭黑简体" panose="02000000000000000000" pitchFamily="2" charset="-122"/>
                <a:cs typeface="Huawei Sans" panose="020C0503030203020204" pitchFamily="34" charset="0"/>
              </a:rPr>
              <a:t>© </a:t>
            </a:r>
            <a:r>
              <a:rPr lang="en-US" altLang="zh-CN" sz="1200" baseline="0" dirty="0" smtClean="0">
                <a:latin typeface="Huawei Sans" panose="020C0503030203020204" pitchFamily="34" charset="0"/>
                <a:ea typeface="方正兰亭黑简体" panose="02000000000000000000" pitchFamily="2" charset="-122"/>
                <a:cs typeface="Huawei Sans" panose="020C0503030203020204" pitchFamily="34" charset="0"/>
              </a:rPr>
              <a:t>2020 </a:t>
            </a:r>
            <a:r>
              <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rPr>
              <a:t>华为技术有限公司</a:t>
            </a:r>
            <a:endParaRPr lang="zh-CN" altLang="en-US" sz="1200" baseline="0" dirty="0">
              <a:latin typeface="Huawei Sans" panose="020C0503030203020204" pitchFamily="34" charset="0"/>
              <a:ea typeface="方正兰亭黑简体" panose="02000000000000000000" pitchFamily="2" charset="-122"/>
              <a:cs typeface="Huawei Sans" panose="020C0503030203020204" pitchFamily="34" charset="0"/>
            </a:endParaRPr>
          </a:p>
        </p:txBody>
      </p:sp>
      <p:pic>
        <p:nvPicPr>
          <p:cNvPr id="31" name="图片 30"/>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670660" y="6504032"/>
            <a:ext cx="1248712" cy="273343"/>
          </a:xfrm>
          <a:prstGeom prst="rect">
            <a:avLst/>
          </a:prstGeom>
        </p:spPr>
      </p:pic>
      <p:grpSp>
        <p:nvGrpSpPr>
          <p:cNvPr id="32" name="组合 31"/>
          <p:cNvGrpSpPr/>
          <p:nvPr userDrawn="1"/>
        </p:nvGrpSpPr>
        <p:grpSpPr>
          <a:xfrm>
            <a:off x="12162528" y="4653136"/>
            <a:ext cx="638734" cy="1729234"/>
            <a:chOff x="12162528" y="4653136"/>
            <a:chExt cx="638734" cy="1729234"/>
          </a:xfrm>
        </p:grpSpPr>
        <p:sp>
          <p:nvSpPr>
            <p:cNvPr id="33" name="矩形 32"/>
            <p:cNvSpPr/>
            <p:nvPr userDrawn="1"/>
          </p:nvSpPr>
          <p:spPr>
            <a:xfrm>
              <a:off x="12212029" y="4653136"/>
              <a:ext cx="539729" cy="288726"/>
            </a:xfrm>
            <a:prstGeom prst="rect">
              <a:avLst/>
            </a:prstGeom>
            <a:solidFill>
              <a:srgbClr val="00B0F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4" name="矩形 33"/>
            <p:cNvSpPr/>
            <p:nvPr userDrawn="1"/>
          </p:nvSpPr>
          <p:spPr>
            <a:xfrm>
              <a:off x="12212029" y="4941964"/>
              <a:ext cx="539729" cy="288000"/>
            </a:xfrm>
            <a:prstGeom prst="rect">
              <a:avLst/>
            </a:prstGeom>
            <a:solidFill>
              <a:srgbClr val="A6D2FF"/>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5" name="矩形 34"/>
            <p:cNvSpPr/>
            <p:nvPr userDrawn="1"/>
          </p:nvSpPr>
          <p:spPr>
            <a:xfrm>
              <a:off x="12212029" y="5230066"/>
              <a:ext cx="539729" cy="288000"/>
            </a:xfrm>
            <a:prstGeom prst="rect">
              <a:avLst/>
            </a:prstGeom>
            <a:solidFill>
              <a:srgbClr val="D8D8D8"/>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6" name="矩形 35"/>
            <p:cNvSpPr/>
            <p:nvPr userDrawn="1"/>
          </p:nvSpPr>
          <p:spPr>
            <a:xfrm>
              <a:off x="12212029" y="5518168"/>
              <a:ext cx="539729" cy="288000"/>
            </a:xfrm>
            <a:prstGeom prst="rect">
              <a:avLst/>
            </a:prstGeom>
            <a:solidFill>
              <a:srgbClr val="C00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7" name="矩形 36"/>
            <p:cNvSpPr/>
            <p:nvPr userDrawn="1"/>
          </p:nvSpPr>
          <p:spPr>
            <a:xfrm>
              <a:off x="12212029" y="5806270"/>
              <a:ext cx="539729" cy="288000"/>
            </a:xfrm>
            <a:prstGeom prst="rect">
              <a:avLst/>
            </a:prstGeom>
            <a:solidFill>
              <a:srgbClr val="FFFFCC"/>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8" name="矩形 37"/>
            <p:cNvSpPr/>
            <p:nvPr userDrawn="1"/>
          </p:nvSpPr>
          <p:spPr>
            <a:xfrm>
              <a:off x="12212029" y="6094370"/>
              <a:ext cx="539729" cy="288000"/>
            </a:xfrm>
            <a:prstGeom prst="rect">
              <a:avLst/>
            </a:prstGeom>
            <a:solidFill>
              <a:srgbClr val="FFC000"/>
            </a:solidFill>
          </p:spPr>
          <p:txBody>
            <a:bodyPr wrap="none" rtlCol="0" anchor="ctr">
              <a:noAutofit/>
            </a:bodyPr>
            <a:lstStyle/>
            <a:p>
              <a:pPr marL="342900" indent="-342900" algn="ctr" fontAlgn="auto">
                <a:buFont typeface="+mj-lt"/>
                <a:buAutoNum type="arabicPeriod"/>
              </a:pPr>
              <a:endParaRPr lang="zh-CN" altLang="en-US" sz="900" dirty="0">
                <a:latin typeface="Huawei Sans" panose="020C0503030203020204" pitchFamily="34" charset="0"/>
                <a:ea typeface="方正兰亭黑简体" panose="02000000000000000000" pitchFamily="2" charset="-122"/>
                <a:cs typeface="Huawei Sans" panose="020C0503030203020204" pitchFamily="34" charset="0"/>
              </a:endParaRPr>
            </a:p>
          </p:txBody>
        </p:sp>
        <p:sp>
          <p:nvSpPr>
            <p:cNvPr id="39" name="文本框 38"/>
            <p:cNvSpPr txBox="1"/>
            <p:nvPr userDrawn="1"/>
          </p:nvSpPr>
          <p:spPr bwMode="auto">
            <a:xfrm>
              <a:off x="12162528" y="4683920"/>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表格表头</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0" name="文本框 39"/>
            <p:cNvSpPr txBox="1"/>
            <p:nvPr userDrawn="1"/>
          </p:nvSpPr>
          <p:spPr bwMode="auto">
            <a:xfrm>
              <a:off x="12162528" y="4972385"/>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表格边框</a:t>
              </a:r>
              <a:endParaRPr lang="zh-CN" altLang="en-US" sz="900" dirty="0">
                <a:latin typeface="Huawei Sans" panose="020C0503030203020204" pitchFamily="34" charset="0"/>
                <a:ea typeface="方正兰亭黑简体" panose="02000000000000000000" pitchFamily="2" charset="-122"/>
              </a:endParaRPr>
            </a:p>
          </p:txBody>
        </p:sp>
        <p:sp>
          <p:nvSpPr>
            <p:cNvPr id="41" name="文本框 40"/>
            <p:cNvSpPr txBox="1"/>
            <p:nvPr userDrawn="1"/>
          </p:nvSpPr>
          <p:spPr bwMode="auto">
            <a:xfrm>
              <a:off x="12162528" y="5260487"/>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导航灰底</a:t>
              </a:r>
              <a:endParaRPr lang="zh-CN" altLang="en-US" sz="900" dirty="0">
                <a:latin typeface="Huawei Sans" panose="020C0503030203020204" pitchFamily="34" charset="0"/>
                <a:ea typeface="方正兰亭黑简体" panose="02000000000000000000" pitchFamily="2" charset="-122"/>
              </a:endParaRPr>
            </a:p>
          </p:txBody>
        </p:sp>
        <p:sp>
          <p:nvSpPr>
            <p:cNvPr id="42" name="文本框 41"/>
            <p:cNvSpPr txBox="1"/>
            <p:nvPr userDrawn="1"/>
          </p:nvSpPr>
          <p:spPr bwMode="auto">
            <a:xfrm>
              <a:off x="12220212" y="5548589"/>
              <a:ext cx="52336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solidFill>
                    <a:schemeClr val="bg1"/>
                  </a:solidFill>
                  <a:latin typeface="Huawei Sans" panose="020C0503030203020204" pitchFamily="34" charset="0"/>
                  <a:ea typeface="方正兰亭黑简体" panose="02000000000000000000" pitchFamily="2" charset="-122"/>
                </a:rPr>
                <a:t>华为红</a:t>
              </a:r>
              <a:endParaRPr lang="zh-CN" altLang="en-US" sz="900" dirty="0">
                <a:solidFill>
                  <a:schemeClr val="bg1"/>
                </a:solidFill>
                <a:latin typeface="Huawei Sans" panose="020C0503030203020204" pitchFamily="34" charset="0"/>
                <a:ea typeface="方正兰亭黑简体" panose="02000000000000000000" pitchFamily="2" charset="-122"/>
              </a:endParaRPr>
            </a:p>
          </p:txBody>
        </p:sp>
        <p:sp>
          <p:nvSpPr>
            <p:cNvPr id="43" name="文本框 42"/>
            <p:cNvSpPr txBox="1"/>
            <p:nvPr userDrawn="1"/>
          </p:nvSpPr>
          <p:spPr bwMode="auto">
            <a:xfrm>
              <a:off x="12162528" y="58366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底色</a:t>
              </a:r>
              <a:endParaRPr lang="zh-CN" altLang="en-US" sz="900" dirty="0">
                <a:latin typeface="Huawei Sans" panose="020C0503030203020204" pitchFamily="34" charset="0"/>
                <a:ea typeface="方正兰亭黑简体" panose="02000000000000000000" pitchFamily="2" charset="-122"/>
              </a:endParaRPr>
            </a:p>
          </p:txBody>
        </p:sp>
        <p:sp>
          <p:nvSpPr>
            <p:cNvPr id="44" name="文本框 43"/>
            <p:cNvSpPr txBox="1"/>
            <p:nvPr userDrawn="1"/>
          </p:nvSpPr>
          <p:spPr bwMode="auto">
            <a:xfrm>
              <a:off x="12162528" y="6124791"/>
              <a:ext cx="638734" cy="227159"/>
            </a:xfrm>
            <a:prstGeom prst="rect">
              <a:avLst/>
            </a:prstGeom>
            <a:noFill/>
            <a:ln w="9525" algn="ctr">
              <a:noFill/>
              <a:miter lim="800000"/>
            </a:ln>
          </p:spPr>
          <p:txBody>
            <a:bodyPr vert="horz" wrap="none" lIns="87768" tIns="43884" rIns="87768" bIns="43884" numCol="1" rtlCol="0" anchor="ctr" anchorCtr="0" compatLnSpc="1">
              <a:spAutoFit/>
            </a:bodyPr>
            <a:lstStyle/>
            <a:p>
              <a:pPr algn="ctr" fontAlgn="auto"/>
              <a:r>
                <a:rPr lang="zh-CN" altLang="en-US" sz="900" dirty="0">
                  <a:latin typeface="Huawei Sans" panose="020C0503030203020204" pitchFamily="34" charset="0"/>
                  <a:ea typeface="方正兰亭黑简体" panose="02000000000000000000" pitchFamily="2" charset="-122"/>
                </a:rPr>
                <a:t>文字边框</a:t>
              </a:r>
              <a:endParaRPr lang="zh-CN" altLang="en-US" sz="900" dirty="0">
                <a:latin typeface="Huawei Sans" panose="020C0503030203020204" pitchFamily="34" charset="0"/>
                <a:ea typeface="方正兰亭黑简体" panose="02000000000000000000" pitchFamily="2" charset="-122"/>
              </a:endParaRP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iming>
    <p:tnLst>
      <p:par>
        <p:cTn id="1" dur="indefinite" restart="never" nodeType="tmRoot"/>
      </p:par>
    </p:tnLst>
  </p:timing>
  <p:txStyles>
    <p:titleStyle>
      <a:lvl1pPr algn="l" defTabSz="913765" rtl="0" eaLnBrk="1" fontAlgn="ctr" latinLnBrk="0" hangingPunct="1">
        <a:lnSpc>
          <a:spcPct val="90000"/>
        </a:lnSpc>
        <a:spcBef>
          <a:spcPct val="0"/>
        </a:spcBef>
        <a:buNone/>
        <a:defRPr sz="3500" kern="1200">
          <a:solidFill>
            <a:schemeClr val="tx1"/>
          </a:solidFill>
          <a:latin typeface="Huawei Sans" panose="020C0503030203020204" pitchFamily="34" charset="0"/>
          <a:ea typeface="方正兰亭黑简体" panose="02000000000000000000" pitchFamily="2" charset="-122"/>
          <a:cs typeface="+mj-cs"/>
        </a:defRPr>
      </a:lvl1pPr>
    </p:titleStyle>
    <p:body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a:solidFill>
            <a:schemeClr val="tx1"/>
          </a:solidFill>
          <a:latin typeface="Huawei Sans" panose="020C0503030203020204" pitchFamily="34" charset="0"/>
          <a:ea typeface="方正兰亭黑简体" panose="02000000000000000000" pitchFamily="2" charset="-122"/>
          <a:cs typeface="+mn-cs"/>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5365"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633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9" Type="http://schemas.openxmlformats.org/officeDocument/2006/relationships/tags" Target="../tags/tag277.xml"/><Relationship Id="rId8" Type="http://schemas.openxmlformats.org/officeDocument/2006/relationships/tags" Target="../tags/tag276.xml"/><Relationship Id="rId7" Type="http://schemas.openxmlformats.org/officeDocument/2006/relationships/tags" Target="../tags/tag275.xml"/><Relationship Id="rId6" Type="http://schemas.openxmlformats.org/officeDocument/2006/relationships/tags" Target="../tags/tag274.xml"/><Relationship Id="rId5" Type="http://schemas.openxmlformats.org/officeDocument/2006/relationships/tags" Target="../tags/tag273.xml"/><Relationship Id="rId48" Type="http://schemas.openxmlformats.org/officeDocument/2006/relationships/notesSlide" Target="../notesSlides/notesSlide10.xml"/><Relationship Id="rId47" Type="http://schemas.openxmlformats.org/officeDocument/2006/relationships/slideLayout" Target="../slideLayouts/slideLayout7.xml"/><Relationship Id="rId46" Type="http://schemas.openxmlformats.org/officeDocument/2006/relationships/tags" Target="../tags/tag314.xml"/><Relationship Id="rId45" Type="http://schemas.openxmlformats.org/officeDocument/2006/relationships/tags" Target="../tags/tag313.xml"/><Relationship Id="rId44" Type="http://schemas.openxmlformats.org/officeDocument/2006/relationships/tags" Target="../tags/tag312.xml"/><Relationship Id="rId43" Type="http://schemas.openxmlformats.org/officeDocument/2006/relationships/tags" Target="../tags/tag311.xml"/><Relationship Id="rId42" Type="http://schemas.openxmlformats.org/officeDocument/2006/relationships/tags" Target="../tags/tag310.xml"/><Relationship Id="rId41" Type="http://schemas.openxmlformats.org/officeDocument/2006/relationships/tags" Target="../tags/tag309.xml"/><Relationship Id="rId40" Type="http://schemas.openxmlformats.org/officeDocument/2006/relationships/tags" Target="../tags/tag308.xml"/><Relationship Id="rId4" Type="http://schemas.openxmlformats.org/officeDocument/2006/relationships/tags" Target="../tags/tag272.xml"/><Relationship Id="rId39" Type="http://schemas.openxmlformats.org/officeDocument/2006/relationships/tags" Target="../tags/tag307.xml"/><Relationship Id="rId38" Type="http://schemas.openxmlformats.org/officeDocument/2006/relationships/tags" Target="../tags/tag306.xml"/><Relationship Id="rId37" Type="http://schemas.openxmlformats.org/officeDocument/2006/relationships/tags" Target="../tags/tag305.xml"/><Relationship Id="rId36" Type="http://schemas.openxmlformats.org/officeDocument/2006/relationships/tags" Target="../tags/tag304.xml"/><Relationship Id="rId35" Type="http://schemas.openxmlformats.org/officeDocument/2006/relationships/tags" Target="../tags/tag303.xml"/><Relationship Id="rId34" Type="http://schemas.openxmlformats.org/officeDocument/2006/relationships/tags" Target="../tags/tag302.xml"/><Relationship Id="rId33" Type="http://schemas.openxmlformats.org/officeDocument/2006/relationships/tags" Target="../tags/tag301.xml"/><Relationship Id="rId32" Type="http://schemas.openxmlformats.org/officeDocument/2006/relationships/tags" Target="../tags/tag300.xml"/><Relationship Id="rId31" Type="http://schemas.openxmlformats.org/officeDocument/2006/relationships/tags" Target="../tags/tag299.xml"/><Relationship Id="rId30" Type="http://schemas.openxmlformats.org/officeDocument/2006/relationships/tags" Target="../tags/tag298.xml"/><Relationship Id="rId3" Type="http://schemas.openxmlformats.org/officeDocument/2006/relationships/tags" Target="../tags/tag271.xml"/><Relationship Id="rId29" Type="http://schemas.openxmlformats.org/officeDocument/2006/relationships/tags" Target="../tags/tag297.xml"/><Relationship Id="rId28" Type="http://schemas.openxmlformats.org/officeDocument/2006/relationships/tags" Target="../tags/tag296.xml"/><Relationship Id="rId27" Type="http://schemas.openxmlformats.org/officeDocument/2006/relationships/tags" Target="../tags/tag295.xml"/><Relationship Id="rId26" Type="http://schemas.openxmlformats.org/officeDocument/2006/relationships/tags" Target="../tags/tag294.xml"/><Relationship Id="rId25" Type="http://schemas.openxmlformats.org/officeDocument/2006/relationships/tags" Target="../tags/tag293.xml"/><Relationship Id="rId24" Type="http://schemas.openxmlformats.org/officeDocument/2006/relationships/tags" Target="../tags/tag292.xml"/><Relationship Id="rId23" Type="http://schemas.openxmlformats.org/officeDocument/2006/relationships/tags" Target="../tags/tag291.xml"/><Relationship Id="rId22" Type="http://schemas.openxmlformats.org/officeDocument/2006/relationships/tags" Target="../tags/tag290.xml"/><Relationship Id="rId21" Type="http://schemas.openxmlformats.org/officeDocument/2006/relationships/tags" Target="../tags/tag289.xml"/><Relationship Id="rId20" Type="http://schemas.openxmlformats.org/officeDocument/2006/relationships/tags" Target="../tags/tag288.xml"/><Relationship Id="rId2" Type="http://schemas.openxmlformats.org/officeDocument/2006/relationships/tags" Target="../tags/tag270.xml"/><Relationship Id="rId19" Type="http://schemas.openxmlformats.org/officeDocument/2006/relationships/tags" Target="../tags/tag287.xml"/><Relationship Id="rId18" Type="http://schemas.openxmlformats.org/officeDocument/2006/relationships/tags" Target="../tags/tag286.xml"/><Relationship Id="rId17" Type="http://schemas.openxmlformats.org/officeDocument/2006/relationships/tags" Target="../tags/tag285.xml"/><Relationship Id="rId16" Type="http://schemas.openxmlformats.org/officeDocument/2006/relationships/tags" Target="../tags/tag284.xml"/><Relationship Id="rId15" Type="http://schemas.openxmlformats.org/officeDocument/2006/relationships/tags" Target="../tags/tag283.xml"/><Relationship Id="rId14" Type="http://schemas.openxmlformats.org/officeDocument/2006/relationships/tags" Target="../tags/tag282.xml"/><Relationship Id="rId13" Type="http://schemas.openxmlformats.org/officeDocument/2006/relationships/tags" Target="../tags/tag281.xml"/><Relationship Id="rId12" Type="http://schemas.openxmlformats.org/officeDocument/2006/relationships/tags" Target="../tags/tag280.xml"/><Relationship Id="rId11" Type="http://schemas.openxmlformats.org/officeDocument/2006/relationships/tags" Target="../tags/tag279.xml"/><Relationship Id="rId10" Type="http://schemas.openxmlformats.org/officeDocument/2006/relationships/tags" Target="../tags/tag278.xml"/><Relationship Id="rId1" Type="http://schemas.openxmlformats.org/officeDocument/2006/relationships/tags" Target="../tags/tag26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9" Type="http://schemas.openxmlformats.org/officeDocument/2006/relationships/tags" Target="../tags/tag323.xml"/><Relationship Id="rId8" Type="http://schemas.openxmlformats.org/officeDocument/2006/relationships/tags" Target="../tags/tag322.xml"/><Relationship Id="rId7" Type="http://schemas.openxmlformats.org/officeDocument/2006/relationships/tags" Target="../tags/tag321.xml"/><Relationship Id="rId6" Type="http://schemas.openxmlformats.org/officeDocument/2006/relationships/tags" Target="../tags/tag320.xml"/><Relationship Id="rId5" Type="http://schemas.openxmlformats.org/officeDocument/2006/relationships/tags" Target="../tags/tag319.xml"/><Relationship Id="rId48" Type="http://schemas.openxmlformats.org/officeDocument/2006/relationships/notesSlide" Target="../notesSlides/notesSlide12.xml"/><Relationship Id="rId47" Type="http://schemas.openxmlformats.org/officeDocument/2006/relationships/slideLayout" Target="../slideLayouts/slideLayout7.xml"/><Relationship Id="rId46" Type="http://schemas.openxmlformats.org/officeDocument/2006/relationships/tags" Target="../tags/tag360.xml"/><Relationship Id="rId45" Type="http://schemas.openxmlformats.org/officeDocument/2006/relationships/tags" Target="../tags/tag359.xml"/><Relationship Id="rId44" Type="http://schemas.openxmlformats.org/officeDocument/2006/relationships/tags" Target="../tags/tag358.xml"/><Relationship Id="rId43" Type="http://schemas.openxmlformats.org/officeDocument/2006/relationships/tags" Target="../tags/tag357.xml"/><Relationship Id="rId42" Type="http://schemas.openxmlformats.org/officeDocument/2006/relationships/tags" Target="../tags/tag356.xml"/><Relationship Id="rId41" Type="http://schemas.openxmlformats.org/officeDocument/2006/relationships/tags" Target="../tags/tag355.xml"/><Relationship Id="rId40" Type="http://schemas.openxmlformats.org/officeDocument/2006/relationships/tags" Target="../tags/tag354.xml"/><Relationship Id="rId4" Type="http://schemas.openxmlformats.org/officeDocument/2006/relationships/tags" Target="../tags/tag318.xml"/><Relationship Id="rId39" Type="http://schemas.openxmlformats.org/officeDocument/2006/relationships/tags" Target="../tags/tag353.xml"/><Relationship Id="rId38" Type="http://schemas.openxmlformats.org/officeDocument/2006/relationships/tags" Target="../tags/tag352.xml"/><Relationship Id="rId37" Type="http://schemas.openxmlformats.org/officeDocument/2006/relationships/tags" Target="../tags/tag351.xml"/><Relationship Id="rId36" Type="http://schemas.openxmlformats.org/officeDocument/2006/relationships/tags" Target="../tags/tag350.xml"/><Relationship Id="rId35" Type="http://schemas.openxmlformats.org/officeDocument/2006/relationships/tags" Target="../tags/tag349.xml"/><Relationship Id="rId34" Type="http://schemas.openxmlformats.org/officeDocument/2006/relationships/tags" Target="../tags/tag348.xml"/><Relationship Id="rId33" Type="http://schemas.openxmlformats.org/officeDocument/2006/relationships/tags" Target="../tags/tag347.xml"/><Relationship Id="rId32" Type="http://schemas.openxmlformats.org/officeDocument/2006/relationships/tags" Target="../tags/tag346.xml"/><Relationship Id="rId31" Type="http://schemas.openxmlformats.org/officeDocument/2006/relationships/tags" Target="../tags/tag345.xml"/><Relationship Id="rId30" Type="http://schemas.openxmlformats.org/officeDocument/2006/relationships/tags" Target="../tags/tag344.xml"/><Relationship Id="rId3" Type="http://schemas.openxmlformats.org/officeDocument/2006/relationships/tags" Target="../tags/tag317.xml"/><Relationship Id="rId29" Type="http://schemas.openxmlformats.org/officeDocument/2006/relationships/tags" Target="../tags/tag343.xml"/><Relationship Id="rId28" Type="http://schemas.openxmlformats.org/officeDocument/2006/relationships/tags" Target="../tags/tag342.xml"/><Relationship Id="rId27" Type="http://schemas.openxmlformats.org/officeDocument/2006/relationships/tags" Target="../tags/tag341.xml"/><Relationship Id="rId26" Type="http://schemas.openxmlformats.org/officeDocument/2006/relationships/tags" Target="../tags/tag340.xml"/><Relationship Id="rId25" Type="http://schemas.openxmlformats.org/officeDocument/2006/relationships/tags" Target="../tags/tag339.xml"/><Relationship Id="rId24" Type="http://schemas.openxmlformats.org/officeDocument/2006/relationships/tags" Target="../tags/tag338.xml"/><Relationship Id="rId23" Type="http://schemas.openxmlformats.org/officeDocument/2006/relationships/tags" Target="../tags/tag337.xml"/><Relationship Id="rId22" Type="http://schemas.openxmlformats.org/officeDocument/2006/relationships/tags" Target="../tags/tag336.xml"/><Relationship Id="rId21" Type="http://schemas.openxmlformats.org/officeDocument/2006/relationships/tags" Target="../tags/tag335.xml"/><Relationship Id="rId20" Type="http://schemas.openxmlformats.org/officeDocument/2006/relationships/tags" Target="../tags/tag334.xml"/><Relationship Id="rId2" Type="http://schemas.openxmlformats.org/officeDocument/2006/relationships/tags" Target="../tags/tag316.xml"/><Relationship Id="rId19" Type="http://schemas.openxmlformats.org/officeDocument/2006/relationships/tags" Target="../tags/tag333.xml"/><Relationship Id="rId18" Type="http://schemas.openxmlformats.org/officeDocument/2006/relationships/tags" Target="../tags/tag332.xml"/><Relationship Id="rId17" Type="http://schemas.openxmlformats.org/officeDocument/2006/relationships/tags" Target="../tags/tag331.xml"/><Relationship Id="rId16" Type="http://schemas.openxmlformats.org/officeDocument/2006/relationships/tags" Target="../tags/tag330.xml"/><Relationship Id="rId15" Type="http://schemas.openxmlformats.org/officeDocument/2006/relationships/tags" Target="../tags/tag329.xml"/><Relationship Id="rId14" Type="http://schemas.openxmlformats.org/officeDocument/2006/relationships/tags" Target="../tags/tag328.xml"/><Relationship Id="rId13" Type="http://schemas.openxmlformats.org/officeDocument/2006/relationships/tags" Target="../tags/tag327.xml"/><Relationship Id="rId12" Type="http://schemas.openxmlformats.org/officeDocument/2006/relationships/tags" Target="../tags/tag326.xml"/><Relationship Id="rId11" Type="http://schemas.openxmlformats.org/officeDocument/2006/relationships/tags" Target="../tags/tag325.xml"/><Relationship Id="rId10" Type="http://schemas.openxmlformats.org/officeDocument/2006/relationships/tags" Target="../tags/tag324.xml"/><Relationship Id="rId1" Type="http://schemas.openxmlformats.org/officeDocument/2006/relationships/tags" Target="../tags/tag315.xml"/></Relationships>
</file>

<file path=ppt/slides/_rels/slide13.xml.rels><?xml version="1.0" encoding="UTF-8" standalone="yes"?>
<Relationships xmlns="http://schemas.openxmlformats.org/package/2006/relationships"><Relationship Id="rId9" Type="http://schemas.openxmlformats.org/officeDocument/2006/relationships/tags" Target="../tags/tag369.xml"/><Relationship Id="rId8" Type="http://schemas.openxmlformats.org/officeDocument/2006/relationships/tags" Target="../tags/tag368.xml"/><Relationship Id="rId7" Type="http://schemas.openxmlformats.org/officeDocument/2006/relationships/tags" Target="../tags/tag367.xml"/><Relationship Id="rId6" Type="http://schemas.openxmlformats.org/officeDocument/2006/relationships/tags" Target="../tags/tag366.xml"/><Relationship Id="rId5" Type="http://schemas.openxmlformats.org/officeDocument/2006/relationships/tags" Target="../tags/tag365.xml"/><Relationship Id="rId48" Type="http://schemas.openxmlformats.org/officeDocument/2006/relationships/notesSlide" Target="../notesSlides/notesSlide13.xml"/><Relationship Id="rId47" Type="http://schemas.openxmlformats.org/officeDocument/2006/relationships/slideLayout" Target="../slideLayouts/slideLayout8.xml"/><Relationship Id="rId46" Type="http://schemas.openxmlformats.org/officeDocument/2006/relationships/tags" Target="../tags/tag406.xml"/><Relationship Id="rId45" Type="http://schemas.openxmlformats.org/officeDocument/2006/relationships/tags" Target="../tags/tag405.xml"/><Relationship Id="rId44" Type="http://schemas.openxmlformats.org/officeDocument/2006/relationships/tags" Target="../tags/tag404.xml"/><Relationship Id="rId43" Type="http://schemas.openxmlformats.org/officeDocument/2006/relationships/tags" Target="../tags/tag403.xml"/><Relationship Id="rId42" Type="http://schemas.openxmlformats.org/officeDocument/2006/relationships/tags" Target="../tags/tag402.xml"/><Relationship Id="rId41" Type="http://schemas.openxmlformats.org/officeDocument/2006/relationships/tags" Target="../tags/tag401.xml"/><Relationship Id="rId40" Type="http://schemas.openxmlformats.org/officeDocument/2006/relationships/tags" Target="../tags/tag400.xml"/><Relationship Id="rId4" Type="http://schemas.openxmlformats.org/officeDocument/2006/relationships/tags" Target="../tags/tag364.xml"/><Relationship Id="rId39" Type="http://schemas.openxmlformats.org/officeDocument/2006/relationships/tags" Target="../tags/tag399.xml"/><Relationship Id="rId38" Type="http://schemas.openxmlformats.org/officeDocument/2006/relationships/tags" Target="../tags/tag398.xml"/><Relationship Id="rId37" Type="http://schemas.openxmlformats.org/officeDocument/2006/relationships/tags" Target="../tags/tag397.xml"/><Relationship Id="rId36" Type="http://schemas.openxmlformats.org/officeDocument/2006/relationships/tags" Target="../tags/tag396.xml"/><Relationship Id="rId35" Type="http://schemas.openxmlformats.org/officeDocument/2006/relationships/tags" Target="../tags/tag395.xml"/><Relationship Id="rId34" Type="http://schemas.openxmlformats.org/officeDocument/2006/relationships/tags" Target="../tags/tag394.xml"/><Relationship Id="rId33" Type="http://schemas.openxmlformats.org/officeDocument/2006/relationships/tags" Target="../tags/tag393.xml"/><Relationship Id="rId32" Type="http://schemas.openxmlformats.org/officeDocument/2006/relationships/tags" Target="../tags/tag392.xml"/><Relationship Id="rId31" Type="http://schemas.openxmlformats.org/officeDocument/2006/relationships/tags" Target="../tags/tag391.xml"/><Relationship Id="rId30" Type="http://schemas.openxmlformats.org/officeDocument/2006/relationships/tags" Target="../tags/tag390.xml"/><Relationship Id="rId3" Type="http://schemas.openxmlformats.org/officeDocument/2006/relationships/tags" Target="../tags/tag363.xml"/><Relationship Id="rId29" Type="http://schemas.openxmlformats.org/officeDocument/2006/relationships/tags" Target="../tags/tag389.xml"/><Relationship Id="rId28" Type="http://schemas.openxmlformats.org/officeDocument/2006/relationships/tags" Target="../tags/tag388.xml"/><Relationship Id="rId27" Type="http://schemas.openxmlformats.org/officeDocument/2006/relationships/tags" Target="../tags/tag387.xml"/><Relationship Id="rId26" Type="http://schemas.openxmlformats.org/officeDocument/2006/relationships/tags" Target="../tags/tag386.xml"/><Relationship Id="rId25" Type="http://schemas.openxmlformats.org/officeDocument/2006/relationships/tags" Target="../tags/tag385.xml"/><Relationship Id="rId24" Type="http://schemas.openxmlformats.org/officeDocument/2006/relationships/tags" Target="../tags/tag384.xml"/><Relationship Id="rId23" Type="http://schemas.openxmlformats.org/officeDocument/2006/relationships/tags" Target="../tags/tag383.xml"/><Relationship Id="rId22" Type="http://schemas.openxmlformats.org/officeDocument/2006/relationships/tags" Target="../tags/tag382.xml"/><Relationship Id="rId21" Type="http://schemas.openxmlformats.org/officeDocument/2006/relationships/tags" Target="../tags/tag381.xml"/><Relationship Id="rId20" Type="http://schemas.openxmlformats.org/officeDocument/2006/relationships/tags" Target="../tags/tag380.xml"/><Relationship Id="rId2" Type="http://schemas.openxmlformats.org/officeDocument/2006/relationships/tags" Target="../tags/tag362.xml"/><Relationship Id="rId19" Type="http://schemas.openxmlformats.org/officeDocument/2006/relationships/tags" Target="../tags/tag379.xml"/><Relationship Id="rId18" Type="http://schemas.openxmlformats.org/officeDocument/2006/relationships/tags" Target="../tags/tag378.xml"/><Relationship Id="rId17" Type="http://schemas.openxmlformats.org/officeDocument/2006/relationships/tags" Target="../tags/tag377.xml"/><Relationship Id="rId16" Type="http://schemas.openxmlformats.org/officeDocument/2006/relationships/tags" Target="../tags/tag376.xml"/><Relationship Id="rId15" Type="http://schemas.openxmlformats.org/officeDocument/2006/relationships/tags" Target="../tags/tag375.xml"/><Relationship Id="rId14" Type="http://schemas.openxmlformats.org/officeDocument/2006/relationships/tags" Target="../tags/tag374.xml"/><Relationship Id="rId13" Type="http://schemas.openxmlformats.org/officeDocument/2006/relationships/tags" Target="../tags/tag373.xml"/><Relationship Id="rId12" Type="http://schemas.openxmlformats.org/officeDocument/2006/relationships/tags" Target="../tags/tag372.xml"/><Relationship Id="rId11" Type="http://schemas.openxmlformats.org/officeDocument/2006/relationships/tags" Target="../tags/tag371.xml"/><Relationship Id="rId10" Type="http://schemas.openxmlformats.org/officeDocument/2006/relationships/tags" Target="../tags/tag370.xml"/><Relationship Id="rId1" Type="http://schemas.openxmlformats.org/officeDocument/2006/relationships/tags" Target="../tags/tag361.xml"/></Relationships>
</file>

<file path=ppt/slides/_rels/slide14.xml.rels><?xml version="1.0" encoding="UTF-8" standalone="yes"?>
<Relationships xmlns="http://schemas.openxmlformats.org/package/2006/relationships"><Relationship Id="rId9" Type="http://schemas.openxmlformats.org/officeDocument/2006/relationships/tags" Target="../tags/tag415.xml"/><Relationship Id="rId8" Type="http://schemas.openxmlformats.org/officeDocument/2006/relationships/tags" Target="../tags/tag414.xml"/><Relationship Id="rId7" Type="http://schemas.openxmlformats.org/officeDocument/2006/relationships/tags" Target="../tags/tag413.xml"/><Relationship Id="rId6" Type="http://schemas.openxmlformats.org/officeDocument/2006/relationships/tags" Target="../tags/tag412.xml"/><Relationship Id="rId52" Type="http://schemas.openxmlformats.org/officeDocument/2006/relationships/notesSlide" Target="../notesSlides/notesSlide14.xml"/><Relationship Id="rId51" Type="http://schemas.openxmlformats.org/officeDocument/2006/relationships/slideLayout" Target="../slideLayouts/slideLayout7.xml"/><Relationship Id="rId50" Type="http://schemas.openxmlformats.org/officeDocument/2006/relationships/tags" Target="../tags/tag456.xml"/><Relationship Id="rId5" Type="http://schemas.openxmlformats.org/officeDocument/2006/relationships/tags" Target="../tags/tag411.xml"/><Relationship Id="rId49" Type="http://schemas.openxmlformats.org/officeDocument/2006/relationships/tags" Target="../tags/tag455.xml"/><Relationship Id="rId48" Type="http://schemas.openxmlformats.org/officeDocument/2006/relationships/tags" Target="../tags/tag454.xml"/><Relationship Id="rId47" Type="http://schemas.openxmlformats.org/officeDocument/2006/relationships/tags" Target="../tags/tag453.xml"/><Relationship Id="rId46" Type="http://schemas.openxmlformats.org/officeDocument/2006/relationships/tags" Target="../tags/tag452.xml"/><Relationship Id="rId45" Type="http://schemas.openxmlformats.org/officeDocument/2006/relationships/tags" Target="../tags/tag451.xml"/><Relationship Id="rId44" Type="http://schemas.openxmlformats.org/officeDocument/2006/relationships/tags" Target="../tags/tag450.xml"/><Relationship Id="rId43" Type="http://schemas.openxmlformats.org/officeDocument/2006/relationships/tags" Target="../tags/tag449.xml"/><Relationship Id="rId42" Type="http://schemas.openxmlformats.org/officeDocument/2006/relationships/tags" Target="../tags/tag448.xml"/><Relationship Id="rId41" Type="http://schemas.openxmlformats.org/officeDocument/2006/relationships/tags" Target="../tags/tag447.xml"/><Relationship Id="rId40" Type="http://schemas.openxmlformats.org/officeDocument/2006/relationships/tags" Target="../tags/tag446.xml"/><Relationship Id="rId4" Type="http://schemas.openxmlformats.org/officeDocument/2006/relationships/tags" Target="../tags/tag410.xml"/><Relationship Id="rId39" Type="http://schemas.openxmlformats.org/officeDocument/2006/relationships/tags" Target="../tags/tag445.xml"/><Relationship Id="rId38" Type="http://schemas.openxmlformats.org/officeDocument/2006/relationships/tags" Target="../tags/tag444.xml"/><Relationship Id="rId37" Type="http://schemas.openxmlformats.org/officeDocument/2006/relationships/tags" Target="../tags/tag443.xml"/><Relationship Id="rId36" Type="http://schemas.openxmlformats.org/officeDocument/2006/relationships/tags" Target="../tags/tag442.xml"/><Relationship Id="rId35" Type="http://schemas.openxmlformats.org/officeDocument/2006/relationships/tags" Target="../tags/tag441.xml"/><Relationship Id="rId34" Type="http://schemas.openxmlformats.org/officeDocument/2006/relationships/tags" Target="../tags/tag440.xml"/><Relationship Id="rId33" Type="http://schemas.openxmlformats.org/officeDocument/2006/relationships/tags" Target="../tags/tag439.xml"/><Relationship Id="rId32" Type="http://schemas.openxmlformats.org/officeDocument/2006/relationships/tags" Target="../tags/tag438.xml"/><Relationship Id="rId31" Type="http://schemas.openxmlformats.org/officeDocument/2006/relationships/tags" Target="../tags/tag437.xml"/><Relationship Id="rId30" Type="http://schemas.openxmlformats.org/officeDocument/2006/relationships/tags" Target="../tags/tag436.xml"/><Relationship Id="rId3" Type="http://schemas.openxmlformats.org/officeDocument/2006/relationships/tags" Target="../tags/tag409.xml"/><Relationship Id="rId29" Type="http://schemas.openxmlformats.org/officeDocument/2006/relationships/tags" Target="../tags/tag435.xml"/><Relationship Id="rId28" Type="http://schemas.openxmlformats.org/officeDocument/2006/relationships/tags" Target="../tags/tag434.xml"/><Relationship Id="rId27" Type="http://schemas.openxmlformats.org/officeDocument/2006/relationships/tags" Target="../tags/tag433.xml"/><Relationship Id="rId26" Type="http://schemas.openxmlformats.org/officeDocument/2006/relationships/tags" Target="../tags/tag432.xml"/><Relationship Id="rId25" Type="http://schemas.openxmlformats.org/officeDocument/2006/relationships/tags" Target="../tags/tag431.xml"/><Relationship Id="rId24" Type="http://schemas.openxmlformats.org/officeDocument/2006/relationships/tags" Target="../tags/tag430.xml"/><Relationship Id="rId23" Type="http://schemas.openxmlformats.org/officeDocument/2006/relationships/tags" Target="../tags/tag429.xml"/><Relationship Id="rId22" Type="http://schemas.openxmlformats.org/officeDocument/2006/relationships/tags" Target="../tags/tag428.xml"/><Relationship Id="rId21" Type="http://schemas.openxmlformats.org/officeDocument/2006/relationships/tags" Target="../tags/tag427.xml"/><Relationship Id="rId20" Type="http://schemas.openxmlformats.org/officeDocument/2006/relationships/tags" Target="../tags/tag426.xml"/><Relationship Id="rId2" Type="http://schemas.openxmlformats.org/officeDocument/2006/relationships/tags" Target="../tags/tag408.xml"/><Relationship Id="rId19" Type="http://schemas.openxmlformats.org/officeDocument/2006/relationships/tags" Target="../tags/tag425.xml"/><Relationship Id="rId18" Type="http://schemas.openxmlformats.org/officeDocument/2006/relationships/tags" Target="../tags/tag424.xml"/><Relationship Id="rId17" Type="http://schemas.openxmlformats.org/officeDocument/2006/relationships/tags" Target="../tags/tag423.xml"/><Relationship Id="rId16" Type="http://schemas.openxmlformats.org/officeDocument/2006/relationships/tags" Target="../tags/tag422.xml"/><Relationship Id="rId15" Type="http://schemas.openxmlformats.org/officeDocument/2006/relationships/tags" Target="../tags/tag421.xml"/><Relationship Id="rId14" Type="http://schemas.openxmlformats.org/officeDocument/2006/relationships/tags" Target="../tags/tag420.xml"/><Relationship Id="rId13" Type="http://schemas.openxmlformats.org/officeDocument/2006/relationships/tags" Target="../tags/tag419.xml"/><Relationship Id="rId12" Type="http://schemas.openxmlformats.org/officeDocument/2006/relationships/tags" Target="../tags/tag418.xml"/><Relationship Id="rId11" Type="http://schemas.openxmlformats.org/officeDocument/2006/relationships/tags" Target="../tags/tag417.xml"/><Relationship Id="rId10" Type="http://schemas.openxmlformats.org/officeDocument/2006/relationships/tags" Target="../tags/tag416.xml"/><Relationship Id="rId1" Type="http://schemas.openxmlformats.org/officeDocument/2006/relationships/tags" Target="../tags/tag407.xml"/></Relationships>
</file>

<file path=ppt/slides/_rels/slide15.xml.rels><?xml version="1.0" encoding="UTF-8" standalone="yes"?>
<Relationships xmlns="http://schemas.openxmlformats.org/package/2006/relationships"><Relationship Id="rId9" Type="http://schemas.openxmlformats.org/officeDocument/2006/relationships/tags" Target="../tags/tag465.xml"/><Relationship Id="rId8" Type="http://schemas.openxmlformats.org/officeDocument/2006/relationships/tags" Target="../tags/tag464.xml"/><Relationship Id="rId7" Type="http://schemas.openxmlformats.org/officeDocument/2006/relationships/tags" Target="../tags/tag463.xml"/><Relationship Id="rId6" Type="http://schemas.openxmlformats.org/officeDocument/2006/relationships/tags" Target="../tags/tag462.xml"/><Relationship Id="rId5" Type="http://schemas.openxmlformats.org/officeDocument/2006/relationships/tags" Target="../tags/tag461.xml"/><Relationship Id="rId48" Type="http://schemas.openxmlformats.org/officeDocument/2006/relationships/notesSlide" Target="../notesSlides/notesSlide15.xml"/><Relationship Id="rId47" Type="http://schemas.openxmlformats.org/officeDocument/2006/relationships/slideLayout" Target="../slideLayouts/slideLayout7.xml"/><Relationship Id="rId46" Type="http://schemas.openxmlformats.org/officeDocument/2006/relationships/tags" Target="../tags/tag502.xml"/><Relationship Id="rId45" Type="http://schemas.openxmlformats.org/officeDocument/2006/relationships/tags" Target="../tags/tag501.xml"/><Relationship Id="rId44" Type="http://schemas.openxmlformats.org/officeDocument/2006/relationships/tags" Target="../tags/tag500.xml"/><Relationship Id="rId43" Type="http://schemas.openxmlformats.org/officeDocument/2006/relationships/tags" Target="../tags/tag499.xml"/><Relationship Id="rId42" Type="http://schemas.openxmlformats.org/officeDocument/2006/relationships/tags" Target="../tags/tag498.xml"/><Relationship Id="rId41" Type="http://schemas.openxmlformats.org/officeDocument/2006/relationships/tags" Target="../tags/tag497.xml"/><Relationship Id="rId40" Type="http://schemas.openxmlformats.org/officeDocument/2006/relationships/tags" Target="../tags/tag496.xml"/><Relationship Id="rId4" Type="http://schemas.openxmlformats.org/officeDocument/2006/relationships/tags" Target="../tags/tag460.xml"/><Relationship Id="rId39" Type="http://schemas.openxmlformats.org/officeDocument/2006/relationships/tags" Target="../tags/tag495.xml"/><Relationship Id="rId38" Type="http://schemas.openxmlformats.org/officeDocument/2006/relationships/tags" Target="../tags/tag494.xml"/><Relationship Id="rId37" Type="http://schemas.openxmlformats.org/officeDocument/2006/relationships/tags" Target="../tags/tag493.xml"/><Relationship Id="rId36" Type="http://schemas.openxmlformats.org/officeDocument/2006/relationships/tags" Target="../tags/tag492.xml"/><Relationship Id="rId35" Type="http://schemas.openxmlformats.org/officeDocument/2006/relationships/tags" Target="../tags/tag491.xml"/><Relationship Id="rId34" Type="http://schemas.openxmlformats.org/officeDocument/2006/relationships/tags" Target="../tags/tag490.xml"/><Relationship Id="rId33" Type="http://schemas.openxmlformats.org/officeDocument/2006/relationships/tags" Target="../tags/tag489.xml"/><Relationship Id="rId32" Type="http://schemas.openxmlformats.org/officeDocument/2006/relationships/tags" Target="../tags/tag488.xml"/><Relationship Id="rId31" Type="http://schemas.openxmlformats.org/officeDocument/2006/relationships/tags" Target="../tags/tag487.xml"/><Relationship Id="rId30" Type="http://schemas.openxmlformats.org/officeDocument/2006/relationships/tags" Target="../tags/tag486.xml"/><Relationship Id="rId3" Type="http://schemas.openxmlformats.org/officeDocument/2006/relationships/tags" Target="../tags/tag459.xml"/><Relationship Id="rId29" Type="http://schemas.openxmlformats.org/officeDocument/2006/relationships/tags" Target="../tags/tag485.xml"/><Relationship Id="rId28" Type="http://schemas.openxmlformats.org/officeDocument/2006/relationships/tags" Target="../tags/tag484.xml"/><Relationship Id="rId27" Type="http://schemas.openxmlformats.org/officeDocument/2006/relationships/tags" Target="../tags/tag483.xml"/><Relationship Id="rId26" Type="http://schemas.openxmlformats.org/officeDocument/2006/relationships/tags" Target="../tags/tag482.xml"/><Relationship Id="rId25" Type="http://schemas.openxmlformats.org/officeDocument/2006/relationships/tags" Target="../tags/tag481.xml"/><Relationship Id="rId24" Type="http://schemas.openxmlformats.org/officeDocument/2006/relationships/tags" Target="../tags/tag480.xml"/><Relationship Id="rId23" Type="http://schemas.openxmlformats.org/officeDocument/2006/relationships/tags" Target="../tags/tag479.xml"/><Relationship Id="rId22" Type="http://schemas.openxmlformats.org/officeDocument/2006/relationships/tags" Target="../tags/tag478.xml"/><Relationship Id="rId21" Type="http://schemas.openxmlformats.org/officeDocument/2006/relationships/tags" Target="../tags/tag477.xml"/><Relationship Id="rId20" Type="http://schemas.openxmlformats.org/officeDocument/2006/relationships/tags" Target="../tags/tag476.xml"/><Relationship Id="rId2" Type="http://schemas.openxmlformats.org/officeDocument/2006/relationships/tags" Target="../tags/tag458.xml"/><Relationship Id="rId19" Type="http://schemas.openxmlformats.org/officeDocument/2006/relationships/tags" Target="../tags/tag475.xml"/><Relationship Id="rId18" Type="http://schemas.openxmlformats.org/officeDocument/2006/relationships/tags" Target="../tags/tag474.xml"/><Relationship Id="rId17" Type="http://schemas.openxmlformats.org/officeDocument/2006/relationships/tags" Target="../tags/tag473.xml"/><Relationship Id="rId16" Type="http://schemas.openxmlformats.org/officeDocument/2006/relationships/tags" Target="../tags/tag472.xml"/><Relationship Id="rId15" Type="http://schemas.openxmlformats.org/officeDocument/2006/relationships/tags" Target="../tags/tag471.xml"/><Relationship Id="rId14" Type="http://schemas.openxmlformats.org/officeDocument/2006/relationships/tags" Target="../tags/tag470.xml"/><Relationship Id="rId13" Type="http://schemas.openxmlformats.org/officeDocument/2006/relationships/tags" Target="../tags/tag469.xml"/><Relationship Id="rId12" Type="http://schemas.openxmlformats.org/officeDocument/2006/relationships/tags" Target="../tags/tag468.xml"/><Relationship Id="rId11" Type="http://schemas.openxmlformats.org/officeDocument/2006/relationships/tags" Target="../tags/tag467.xml"/><Relationship Id="rId10" Type="http://schemas.openxmlformats.org/officeDocument/2006/relationships/tags" Target="../tags/tag466.xml"/><Relationship Id="rId1" Type="http://schemas.openxmlformats.org/officeDocument/2006/relationships/tags" Target="../tags/tag45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9" Type="http://schemas.openxmlformats.org/officeDocument/2006/relationships/image" Target="../media/image15.png"/><Relationship Id="rId8" Type="http://schemas.openxmlformats.org/officeDocument/2006/relationships/image" Target="../media/image14.png"/><Relationship Id="rId7" Type="http://schemas.openxmlformats.org/officeDocument/2006/relationships/image" Target="../media/image13.png"/><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 Id="rId3" Type="http://schemas.openxmlformats.org/officeDocument/2006/relationships/image" Target="../media/image9.png"/><Relationship Id="rId23" Type="http://schemas.openxmlformats.org/officeDocument/2006/relationships/notesSlide" Target="../notesSlides/notesSlide18.xml"/><Relationship Id="rId22" Type="http://schemas.openxmlformats.org/officeDocument/2006/relationships/slideLayout" Target="../slideLayouts/slideLayout7.xml"/><Relationship Id="rId21" Type="http://schemas.openxmlformats.org/officeDocument/2006/relationships/image" Target="../media/image27.png"/><Relationship Id="rId20" Type="http://schemas.openxmlformats.org/officeDocument/2006/relationships/image" Target="../media/image26.png"/><Relationship Id="rId2" Type="http://schemas.openxmlformats.org/officeDocument/2006/relationships/image" Target="../media/image8.png"/><Relationship Id="rId19" Type="http://schemas.openxmlformats.org/officeDocument/2006/relationships/image" Target="../media/image25.png"/><Relationship Id="rId18" Type="http://schemas.openxmlformats.org/officeDocument/2006/relationships/image" Target="../media/image24.png"/><Relationship Id="rId17" Type="http://schemas.openxmlformats.org/officeDocument/2006/relationships/image" Target="../media/image23.png"/><Relationship Id="rId16" Type="http://schemas.openxmlformats.org/officeDocument/2006/relationships/image" Target="../media/image22.png"/><Relationship Id="rId15" Type="http://schemas.openxmlformats.org/officeDocument/2006/relationships/image" Target="../media/image21.png"/><Relationship Id="rId14" Type="http://schemas.openxmlformats.org/officeDocument/2006/relationships/image" Target="../media/image20.png"/><Relationship Id="rId13" Type="http://schemas.openxmlformats.org/officeDocument/2006/relationships/image" Target="../media/image19.png"/><Relationship Id="rId12" Type="http://schemas.openxmlformats.org/officeDocument/2006/relationships/image" Target="../media/image18.png"/><Relationship Id="rId11" Type="http://schemas.openxmlformats.org/officeDocument/2006/relationships/image" Target="../media/image17.png"/><Relationship Id="rId10" Type="http://schemas.openxmlformats.org/officeDocument/2006/relationships/image" Target="../media/image16.png"/><Relationship Id="rId1" Type="http://schemas.openxmlformats.org/officeDocument/2006/relationships/image" Target="../media/image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9" Type="http://schemas.openxmlformats.org/officeDocument/2006/relationships/tags" Target="../tags/tag511.xml"/><Relationship Id="rId8" Type="http://schemas.openxmlformats.org/officeDocument/2006/relationships/tags" Target="../tags/tag510.xml"/><Relationship Id="rId7" Type="http://schemas.openxmlformats.org/officeDocument/2006/relationships/tags" Target="../tags/tag509.xml"/><Relationship Id="rId6" Type="http://schemas.openxmlformats.org/officeDocument/2006/relationships/tags" Target="../tags/tag508.xml"/><Relationship Id="rId5" Type="http://schemas.openxmlformats.org/officeDocument/2006/relationships/tags" Target="../tags/tag507.xml"/><Relationship Id="rId48" Type="http://schemas.openxmlformats.org/officeDocument/2006/relationships/notesSlide" Target="../notesSlides/notesSlide20.xml"/><Relationship Id="rId47" Type="http://schemas.openxmlformats.org/officeDocument/2006/relationships/slideLayout" Target="../slideLayouts/slideLayout7.xml"/><Relationship Id="rId46" Type="http://schemas.openxmlformats.org/officeDocument/2006/relationships/tags" Target="../tags/tag548.xml"/><Relationship Id="rId45" Type="http://schemas.openxmlformats.org/officeDocument/2006/relationships/tags" Target="../tags/tag547.xml"/><Relationship Id="rId44" Type="http://schemas.openxmlformats.org/officeDocument/2006/relationships/tags" Target="../tags/tag546.xml"/><Relationship Id="rId43" Type="http://schemas.openxmlformats.org/officeDocument/2006/relationships/tags" Target="../tags/tag545.xml"/><Relationship Id="rId42" Type="http://schemas.openxmlformats.org/officeDocument/2006/relationships/tags" Target="../tags/tag544.xml"/><Relationship Id="rId41" Type="http://schemas.openxmlformats.org/officeDocument/2006/relationships/tags" Target="../tags/tag543.xml"/><Relationship Id="rId40" Type="http://schemas.openxmlformats.org/officeDocument/2006/relationships/tags" Target="../tags/tag542.xml"/><Relationship Id="rId4" Type="http://schemas.openxmlformats.org/officeDocument/2006/relationships/tags" Target="../tags/tag506.xml"/><Relationship Id="rId39" Type="http://schemas.openxmlformats.org/officeDocument/2006/relationships/tags" Target="../tags/tag541.xml"/><Relationship Id="rId38" Type="http://schemas.openxmlformats.org/officeDocument/2006/relationships/tags" Target="../tags/tag540.xml"/><Relationship Id="rId37" Type="http://schemas.openxmlformats.org/officeDocument/2006/relationships/tags" Target="../tags/tag539.xml"/><Relationship Id="rId36" Type="http://schemas.openxmlformats.org/officeDocument/2006/relationships/tags" Target="../tags/tag538.xml"/><Relationship Id="rId35" Type="http://schemas.openxmlformats.org/officeDocument/2006/relationships/tags" Target="../tags/tag537.xml"/><Relationship Id="rId34" Type="http://schemas.openxmlformats.org/officeDocument/2006/relationships/tags" Target="../tags/tag536.xml"/><Relationship Id="rId33" Type="http://schemas.openxmlformats.org/officeDocument/2006/relationships/tags" Target="../tags/tag535.xml"/><Relationship Id="rId32" Type="http://schemas.openxmlformats.org/officeDocument/2006/relationships/tags" Target="../tags/tag534.xml"/><Relationship Id="rId31" Type="http://schemas.openxmlformats.org/officeDocument/2006/relationships/tags" Target="../tags/tag533.xml"/><Relationship Id="rId30" Type="http://schemas.openxmlformats.org/officeDocument/2006/relationships/tags" Target="../tags/tag532.xml"/><Relationship Id="rId3" Type="http://schemas.openxmlformats.org/officeDocument/2006/relationships/tags" Target="../tags/tag505.xml"/><Relationship Id="rId29" Type="http://schemas.openxmlformats.org/officeDocument/2006/relationships/tags" Target="../tags/tag531.xml"/><Relationship Id="rId28" Type="http://schemas.openxmlformats.org/officeDocument/2006/relationships/tags" Target="../tags/tag530.xml"/><Relationship Id="rId27" Type="http://schemas.openxmlformats.org/officeDocument/2006/relationships/tags" Target="../tags/tag529.xml"/><Relationship Id="rId26" Type="http://schemas.openxmlformats.org/officeDocument/2006/relationships/tags" Target="../tags/tag528.xml"/><Relationship Id="rId25" Type="http://schemas.openxmlformats.org/officeDocument/2006/relationships/tags" Target="../tags/tag527.xml"/><Relationship Id="rId24" Type="http://schemas.openxmlformats.org/officeDocument/2006/relationships/tags" Target="../tags/tag526.xml"/><Relationship Id="rId23" Type="http://schemas.openxmlformats.org/officeDocument/2006/relationships/tags" Target="../tags/tag525.xml"/><Relationship Id="rId22" Type="http://schemas.openxmlformats.org/officeDocument/2006/relationships/tags" Target="../tags/tag524.xml"/><Relationship Id="rId21" Type="http://schemas.openxmlformats.org/officeDocument/2006/relationships/tags" Target="../tags/tag523.xml"/><Relationship Id="rId20" Type="http://schemas.openxmlformats.org/officeDocument/2006/relationships/tags" Target="../tags/tag522.xml"/><Relationship Id="rId2" Type="http://schemas.openxmlformats.org/officeDocument/2006/relationships/tags" Target="../tags/tag504.xml"/><Relationship Id="rId19" Type="http://schemas.openxmlformats.org/officeDocument/2006/relationships/tags" Target="../tags/tag521.xml"/><Relationship Id="rId18" Type="http://schemas.openxmlformats.org/officeDocument/2006/relationships/tags" Target="../tags/tag520.xml"/><Relationship Id="rId17" Type="http://schemas.openxmlformats.org/officeDocument/2006/relationships/tags" Target="../tags/tag519.xml"/><Relationship Id="rId16" Type="http://schemas.openxmlformats.org/officeDocument/2006/relationships/tags" Target="../tags/tag518.xml"/><Relationship Id="rId15" Type="http://schemas.openxmlformats.org/officeDocument/2006/relationships/tags" Target="../tags/tag517.xml"/><Relationship Id="rId14" Type="http://schemas.openxmlformats.org/officeDocument/2006/relationships/tags" Target="../tags/tag516.xml"/><Relationship Id="rId13" Type="http://schemas.openxmlformats.org/officeDocument/2006/relationships/tags" Target="../tags/tag515.xml"/><Relationship Id="rId12" Type="http://schemas.openxmlformats.org/officeDocument/2006/relationships/tags" Target="../tags/tag514.xml"/><Relationship Id="rId11" Type="http://schemas.openxmlformats.org/officeDocument/2006/relationships/tags" Target="../tags/tag513.xml"/><Relationship Id="rId10" Type="http://schemas.openxmlformats.org/officeDocument/2006/relationships/tags" Target="../tags/tag512.xml"/><Relationship Id="rId1" Type="http://schemas.openxmlformats.org/officeDocument/2006/relationships/tags" Target="../tags/tag503.xml"/></Relationships>
</file>

<file path=ppt/slides/_rels/slide21.xml.rels><?xml version="1.0" encoding="UTF-8" standalone="yes"?>
<Relationships xmlns="http://schemas.openxmlformats.org/package/2006/relationships"><Relationship Id="rId9" Type="http://schemas.openxmlformats.org/officeDocument/2006/relationships/tags" Target="../tags/tag557.xml"/><Relationship Id="rId8" Type="http://schemas.openxmlformats.org/officeDocument/2006/relationships/tags" Target="../tags/tag556.xml"/><Relationship Id="rId7" Type="http://schemas.openxmlformats.org/officeDocument/2006/relationships/tags" Target="../tags/tag555.xml"/><Relationship Id="rId6" Type="http://schemas.openxmlformats.org/officeDocument/2006/relationships/tags" Target="../tags/tag554.xml"/><Relationship Id="rId5" Type="http://schemas.openxmlformats.org/officeDocument/2006/relationships/tags" Target="../tags/tag553.xml"/><Relationship Id="rId48" Type="http://schemas.openxmlformats.org/officeDocument/2006/relationships/notesSlide" Target="../notesSlides/notesSlide21.xml"/><Relationship Id="rId47" Type="http://schemas.openxmlformats.org/officeDocument/2006/relationships/slideLayout" Target="../slideLayouts/slideLayout7.xml"/><Relationship Id="rId46" Type="http://schemas.openxmlformats.org/officeDocument/2006/relationships/tags" Target="../tags/tag594.xml"/><Relationship Id="rId45" Type="http://schemas.openxmlformats.org/officeDocument/2006/relationships/tags" Target="../tags/tag593.xml"/><Relationship Id="rId44" Type="http://schemas.openxmlformats.org/officeDocument/2006/relationships/tags" Target="../tags/tag592.xml"/><Relationship Id="rId43" Type="http://schemas.openxmlformats.org/officeDocument/2006/relationships/tags" Target="../tags/tag591.xml"/><Relationship Id="rId42" Type="http://schemas.openxmlformats.org/officeDocument/2006/relationships/tags" Target="../tags/tag590.xml"/><Relationship Id="rId41" Type="http://schemas.openxmlformats.org/officeDocument/2006/relationships/tags" Target="../tags/tag589.xml"/><Relationship Id="rId40" Type="http://schemas.openxmlformats.org/officeDocument/2006/relationships/tags" Target="../tags/tag588.xml"/><Relationship Id="rId4" Type="http://schemas.openxmlformats.org/officeDocument/2006/relationships/tags" Target="../tags/tag552.xml"/><Relationship Id="rId39" Type="http://schemas.openxmlformats.org/officeDocument/2006/relationships/tags" Target="../tags/tag587.xml"/><Relationship Id="rId38" Type="http://schemas.openxmlformats.org/officeDocument/2006/relationships/tags" Target="../tags/tag586.xml"/><Relationship Id="rId37" Type="http://schemas.openxmlformats.org/officeDocument/2006/relationships/tags" Target="../tags/tag585.xml"/><Relationship Id="rId36" Type="http://schemas.openxmlformats.org/officeDocument/2006/relationships/tags" Target="../tags/tag584.xml"/><Relationship Id="rId35" Type="http://schemas.openxmlformats.org/officeDocument/2006/relationships/tags" Target="../tags/tag583.xml"/><Relationship Id="rId34" Type="http://schemas.openxmlformats.org/officeDocument/2006/relationships/tags" Target="../tags/tag582.xml"/><Relationship Id="rId33" Type="http://schemas.openxmlformats.org/officeDocument/2006/relationships/tags" Target="../tags/tag581.xml"/><Relationship Id="rId32" Type="http://schemas.openxmlformats.org/officeDocument/2006/relationships/tags" Target="../tags/tag580.xml"/><Relationship Id="rId31" Type="http://schemas.openxmlformats.org/officeDocument/2006/relationships/tags" Target="../tags/tag579.xml"/><Relationship Id="rId30" Type="http://schemas.openxmlformats.org/officeDocument/2006/relationships/tags" Target="../tags/tag578.xml"/><Relationship Id="rId3" Type="http://schemas.openxmlformats.org/officeDocument/2006/relationships/tags" Target="../tags/tag551.xml"/><Relationship Id="rId29" Type="http://schemas.openxmlformats.org/officeDocument/2006/relationships/tags" Target="../tags/tag577.xml"/><Relationship Id="rId28" Type="http://schemas.openxmlformats.org/officeDocument/2006/relationships/tags" Target="../tags/tag576.xml"/><Relationship Id="rId27" Type="http://schemas.openxmlformats.org/officeDocument/2006/relationships/tags" Target="../tags/tag575.xml"/><Relationship Id="rId26" Type="http://schemas.openxmlformats.org/officeDocument/2006/relationships/tags" Target="../tags/tag574.xml"/><Relationship Id="rId25" Type="http://schemas.openxmlformats.org/officeDocument/2006/relationships/tags" Target="../tags/tag573.xml"/><Relationship Id="rId24" Type="http://schemas.openxmlformats.org/officeDocument/2006/relationships/tags" Target="../tags/tag572.xml"/><Relationship Id="rId23" Type="http://schemas.openxmlformats.org/officeDocument/2006/relationships/tags" Target="../tags/tag571.xml"/><Relationship Id="rId22" Type="http://schemas.openxmlformats.org/officeDocument/2006/relationships/tags" Target="../tags/tag570.xml"/><Relationship Id="rId21" Type="http://schemas.openxmlformats.org/officeDocument/2006/relationships/tags" Target="../tags/tag569.xml"/><Relationship Id="rId20" Type="http://schemas.openxmlformats.org/officeDocument/2006/relationships/tags" Target="../tags/tag568.xml"/><Relationship Id="rId2" Type="http://schemas.openxmlformats.org/officeDocument/2006/relationships/tags" Target="../tags/tag550.xml"/><Relationship Id="rId19" Type="http://schemas.openxmlformats.org/officeDocument/2006/relationships/tags" Target="../tags/tag567.xml"/><Relationship Id="rId18" Type="http://schemas.openxmlformats.org/officeDocument/2006/relationships/tags" Target="../tags/tag566.xml"/><Relationship Id="rId17" Type="http://schemas.openxmlformats.org/officeDocument/2006/relationships/tags" Target="../tags/tag565.xml"/><Relationship Id="rId16" Type="http://schemas.openxmlformats.org/officeDocument/2006/relationships/tags" Target="../tags/tag564.xml"/><Relationship Id="rId15" Type="http://schemas.openxmlformats.org/officeDocument/2006/relationships/tags" Target="../tags/tag563.xml"/><Relationship Id="rId14" Type="http://schemas.openxmlformats.org/officeDocument/2006/relationships/tags" Target="../tags/tag562.xml"/><Relationship Id="rId13" Type="http://schemas.openxmlformats.org/officeDocument/2006/relationships/tags" Target="../tags/tag561.xml"/><Relationship Id="rId12" Type="http://schemas.openxmlformats.org/officeDocument/2006/relationships/tags" Target="../tags/tag560.xml"/><Relationship Id="rId11" Type="http://schemas.openxmlformats.org/officeDocument/2006/relationships/tags" Target="../tags/tag559.xml"/><Relationship Id="rId10" Type="http://schemas.openxmlformats.org/officeDocument/2006/relationships/tags" Target="../tags/tag558.xml"/><Relationship Id="rId1" Type="http://schemas.openxmlformats.org/officeDocument/2006/relationships/tags" Target="../tags/tag54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image" Target="../media/image28.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9" Type="http://schemas.openxmlformats.org/officeDocument/2006/relationships/tags" Target="../tags/tag603.xml"/><Relationship Id="rId8" Type="http://schemas.openxmlformats.org/officeDocument/2006/relationships/tags" Target="../tags/tag602.xml"/><Relationship Id="rId7" Type="http://schemas.openxmlformats.org/officeDocument/2006/relationships/tags" Target="../tags/tag601.xml"/><Relationship Id="rId6" Type="http://schemas.openxmlformats.org/officeDocument/2006/relationships/tags" Target="../tags/tag600.xml"/><Relationship Id="rId5" Type="http://schemas.openxmlformats.org/officeDocument/2006/relationships/tags" Target="../tags/tag599.xml"/><Relationship Id="rId48" Type="http://schemas.openxmlformats.org/officeDocument/2006/relationships/notesSlide" Target="../notesSlides/notesSlide24.xml"/><Relationship Id="rId47" Type="http://schemas.openxmlformats.org/officeDocument/2006/relationships/slideLayout" Target="../slideLayouts/slideLayout7.xml"/><Relationship Id="rId46" Type="http://schemas.openxmlformats.org/officeDocument/2006/relationships/tags" Target="../tags/tag640.xml"/><Relationship Id="rId45" Type="http://schemas.openxmlformats.org/officeDocument/2006/relationships/tags" Target="../tags/tag639.xml"/><Relationship Id="rId44" Type="http://schemas.openxmlformats.org/officeDocument/2006/relationships/tags" Target="../tags/tag638.xml"/><Relationship Id="rId43" Type="http://schemas.openxmlformats.org/officeDocument/2006/relationships/tags" Target="../tags/tag637.xml"/><Relationship Id="rId42" Type="http://schemas.openxmlformats.org/officeDocument/2006/relationships/tags" Target="../tags/tag636.xml"/><Relationship Id="rId41" Type="http://schemas.openxmlformats.org/officeDocument/2006/relationships/tags" Target="../tags/tag635.xml"/><Relationship Id="rId40" Type="http://schemas.openxmlformats.org/officeDocument/2006/relationships/tags" Target="../tags/tag634.xml"/><Relationship Id="rId4" Type="http://schemas.openxmlformats.org/officeDocument/2006/relationships/tags" Target="../tags/tag598.xml"/><Relationship Id="rId39" Type="http://schemas.openxmlformats.org/officeDocument/2006/relationships/tags" Target="../tags/tag633.xml"/><Relationship Id="rId38" Type="http://schemas.openxmlformats.org/officeDocument/2006/relationships/tags" Target="../tags/tag632.xml"/><Relationship Id="rId37" Type="http://schemas.openxmlformats.org/officeDocument/2006/relationships/tags" Target="../tags/tag631.xml"/><Relationship Id="rId36" Type="http://schemas.openxmlformats.org/officeDocument/2006/relationships/tags" Target="../tags/tag630.xml"/><Relationship Id="rId35" Type="http://schemas.openxmlformats.org/officeDocument/2006/relationships/tags" Target="../tags/tag629.xml"/><Relationship Id="rId34" Type="http://schemas.openxmlformats.org/officeDocument/2006/relationships/tags" Target="../tags/tag628.xml"/><Relationship Id="rId33" Type="http://schemas.openxmlformats.org/officeDocument/2006/relationships/tags" Target="../tags/tag627.xml"/><Relationship Id="rId32" Type="http://schemas.openxmlformats.org/officeDocument/2006/relationships/tags" Target="../tags/tag626.xml"/><Relationship Id="rId31" Type="http://schemas.openxmlformats.org/officeDocument/2006/relationships/tags" Target="../tags/tag625.xml"/><Relationship Id="rId30" Type="http://schemas.openxmlformats.org/officeDocument/2006/relationships/tags" Target="../tags/tag624.xml"/><Relationship Id="rId3" Type="http://schemas.openxmlformats.org/officeDocument/2006/relationships/tags" Target="../tags/tag597.xml"/><Relationship Id="rId29" Type="http://schemas.openxmlformats.org/officeDocument/2006/relationships/tags" Target="../tags/tag623.xml"/><Relationship Id="rId28" Type="http://schemas.openxmlformats.org/officeDocument/2006/relationships/tags" Target="../tags/tag622.xml"/><Relationship Id="rId27" Type="http://schemas.openxmlformats.org/officeDocument/2006/relationships/tags" Target="../tags/tag621.xml"/><Relationship Id="rId26" Type="http://schemas.openxmlformats.org/officeDocument/2006/relationships/tags" Target="../tags/tag620.xml"/><Relationship Id="rId25" Type="http://schemas.openxmlformats.org/officeDocument/2006/relationships/tags" Target="../tags/tag619.xml"/><Relationship Id="rId24" Type="http://schemas.openxmlformats.org/officeDocument/2006/relationships/tags" Target="../tags/tag618.xml"/><Relationship Id="rId23" Type="http://schemas.openxmlformats.org/officeDocument/2006/relationships/tags" Target="../tags/tag617.xml"/><Relationship Id="rId22" Type="http://schemas.openxmlformats.org/officeDocument/2006/relationships/tags" Target="../tags/tag616.xml"/><Relationship Id="rId21" Type="http://schemas.openxmlformats.org/officeDocument/2006/relationships/tags" Target="../tags/tag615.xml"/><Relationship Id="rId20" Type="http://schemas.openxmlformats.org/officeDocument/2006/relationships/tags" Target="../tags/tag614.xml"/><Relationship Id="rId2" Type="http://schemas.openxmlformats.org/officeDocument/2006/relationships/tags" Target="../tags/tag596.xml"/><Relationship Id="rId19" Type="http://schemas.openxmlformats.org/officeDocument/2006/relationships/tags" Target="../tags/tag613.xml"/><Relationship Id="rId18" Type="http://schemas.openxmlformats.org/officeDocument/2006/relationships/tags" Target="../tags/tag612.xml"/><Relationship Id="rId17" Type="http://schemas.openxmlformats.org/officeDocument/2006/relationships/tags" Target="../tags/tag611.xml"/><Relationship Id="rId16" Type="http://schemas.openxmlformats.org/officeDocument/2006/relationships/tags" Target="../tags/tag610.xml"/><Relationship Id="rId15" Type="http://schemas.openxmlformats.org/officeDocument/2006/relationships/tags" Target="../tags/tag609.xml"/><Relationship Id="rId14" Type="http://schemas.openxmlformats.org/officeDocument/2006/relationships/tags" Target="../tags/tag608.xml"/><Relationship Id="rId13" Type="http://schemas.openxmlformats.org/officeDocument/2006/relationships/tags" Target="../tags/tag607.xml"/><Relationship Id="rId12" Type="http://schemas.openxmlformats.org/officeDocument/2006/relationships/tags" Target="../tags/tag606.xml"/><Relationship Id="rId11" Type="http://schemas.openxmlformats.org/officeDocument/2006/relationships/tags" Target="../tags/tag605.xml"/><Relationship Id="rId10" Type="http://schemas.openxmlformats.org/officeDocument/2006/relationships/tags" Target="../tags/tag604.xml"/><Relationship Id="rId1" Type="http://schemas.openxmlformats.org/officeDocument/2006/relationships/tags" Target="../tags/tag595.xml"/></Relationships>
</file>

<file path=ppt/slides/_rels/slide25.xml.rels><?xml version="1.0" encoding="UTF-8" standalone="yes"?>
<Relationships xmlns="http://schemas.openxmlformats.org/package/2006/relationships"><Relationship Id="rId9" Type="http://schemas.openxmlformats.org/officeDocument/2006/relationships/tags" Target="../tags/tag649.xml"/><Relationship Id="rId8" Type="http://schemas.openxmlformats.org/officeDocument/2006/relationships/tags" Target="../tags/tag648.xml"/><Relationship Id="rId7" Type="http://schemas.openxmlformats.org/officeDocument/2006/relationships/tags" Target="../tags/tag647.xml"/><Relationship Id="rId6" Type="http://schemas.openxmlformats.org/officeDocument/2006/relationships/tags" Target="../tags/tag646.xml"/><Relationship Id="rId59" Type="http://schemas.openxmlformats.org/officeDocument/2006/relationships/notesSlide" Target="../notesSlides/notesSlide25.xml"/><Relationship Id="rId58" Type="http://schemas.openxmlformats.org/officeDocument/2006/relationships/slideLayout" Target="../slideLayouts/slideLayout7.xml"/><Relationship Id="rId57" Type="http://schemas.openxmlformats.org/officeDocument/2006/relationships/image" Target="../media/image39.png"/><Relationship Id="rId56" Type="http://schemas.openxmlformats.org/officeDocument/2006/relationships/image" Target="../media/image38.png"/><Relationship Id="rId55" Type="http://schemas.openxmlformats.org/officeDocument/2006/relationships/image" Target="../media/image37.png"/><Relationship Id="rId54" Type="http://schemas.openxmlformats.org/officeDocument/2006/relationships/image" Target="../media/image36.png"/><Relationship Id="rId53" Type="http://schemas.openxmlformats.org/officeDocument/2006/relationships/image" Target="../media/image35.png"/><Relationship Id="rId52" Type="http://schemas.openxmlformats.org/officeDocument/2006/relationships/image" Target="../media/image34.png"/><Relationship Id="rId51" Type="http://schemas.openxmlformats.org/officeDocument/2006/relationships/image" Target="../media/image33.png"/><Relationship Id="rId50" Type="http://schemas.openxmlformats.org/officeDocument/2006/relationships/image" Target="../media/image32.png"/><Relationship Id="rId5" Type="http://schemas.openxmlformats.org/officeDocument/2006/relationships/tags" Target="../tags/tag645.xml"/><Relationship Id="rId49" Type="http://schemas.openxmlformats.org/officeDocument/2006/relationships/image" Target="../media/image31.png"/><Relationship Id="rId48" Type="http://schemas.openxmlformats.org/officeDocument/2006/relationships/image" Target="../media/image30.png"/><Relationship Id="rId47" Type="http://schemas.openxmlformats.org/officeDocument/2006/relationships/image" Target="../media/image29.png"/><Relationship Id="rId46" Type="http://schemas.openxmlformats.org/officeDocument/2006/relationships/tags" Target="../tags/tag686.xml"/><Relationship Id="rId45" Type="http://schemas.openxmlformats.org/officeDocument/2006/relationships/tags" Target="../tags/tag685.xml"/><Relationship Id="rId44" Type="http://schemas.openxmlformats.org/officeDocument/2006/relationships/tags" Target="../tags/tag684.xml"/><Relationship Id="rId43" Type="http://schemas.openxmlformats.org/officeDocument/2006/relationships/tags" Target="../tags/tag683.xml"/><Relationship Id="rId42" Type="http://schemas.openxmlformats.org/officeDocument/2006/relationships/tags" Target="../tags/tag682.xml"/><Relationship Id="rId41" Type="http://schemas.openxmlformats.org/officeDocument/2006/relationships/tags" Target="../tags/tag681.xml"/><Relationship Id="rId40" Type="http://schemas.openxmlformats.org/officeDocument/2006/relationships/tags" Target="../tags/tag680.xml"/><Relationship Id="rId4" Type="http://schemas.openxmlformats.org/officeDocument/2006/relationships/tags" Target="../tags/tag644.xml"/><Relationship Id="rId39" Type="http://schemas.openxmlformats.org/officeDocument/2006/relationships/tags" Target="../tags/tag679.xml"/><Relationship Id="rId38" Type="http://schemas.openxmlformats.org/officeDocument/2006/relationships/tags" Target="../tags/tag678.xml"/><Relationship Id="rId37" Type="http://schemas.openxmlformats.org/officeDocument/2006/relationships/tags" Target="../tags/tag677.xml"/><Relationship Id="rId36" Type="http://schemas.openxmlformats.org/officeDocument/2006/relationships/tags" Target="../tags/tag676.xml"/><Relationship Id="rId35" Type="http://schemas.openxmlformats.org/officeDocument/2006/relationships/tags" Target="../tags/tag675.xml"/><Relationship Id="rId34" Type="http://schemas.openxmlformats.org/officeDocument/2006/relationships/tags" Target="../tags/tag674.xml"/><Relationship Id="rId33" Type="http://schemas.openxmlformats.org/officeDocument/2006/relationships/tags" Target="../tags/tag673.xml"/><Relationship Id="rId32" Type="http://schemas.openxmlformats.org/officeDocument/2006/relationships/tags" Target="../tags/tag672.xml"/><Relationship Id="rId31" Type="http://schemas.openxmlformats.org/officeDocument/2006/relationships/tags" Target="../tags/tag671.xml"/><Relationship Id="rId30" Type="http://schemas.openxmlformats.org/officeDocument/2006/relationships/tags" Target="../tags/tag670.xml"/><Relationship Id="rId3" Type="http://schemas.openxmlformats.org/officeDocument/2006/relationships/tags" Target="../tags/tag643.xml"/><Relationship Id="rId29" Type="http://schemas.openxmlformats.org/officeDocument/2006/relationships/tags" Target="../tags/tag669.xml"/><Relationship Id="rId28" Type="http://schemas.openxmlformats.org/officeDocument/2006/relationships/tags" Target="../tags/tag668.xml"/><Relationship Id="rId27" Type="http://schemas.openxmlformats.org/officeDocument/2006/relationships/tags" Target="../tags/tag667.xml"/><Relationship Id="rId26" Type="http://schemas.openxmlformats.org/officeDocument/2006/relationships/tags" Target="../tags/tag666.xml"/><Relationship Id="rId25" Type="http://schemas.openxmlformats.org/officeDocument/2006/relationships/tags" Target="../tags/tag665.xml"/><Relationship Id="rId24" Type="http://schemas.openxmlformats.org/officeDocument/2006/relationships/tags" Target="../tags/tag664.xml"/><Relationship Id="rId23" Type="http://schemas.openxmlformats.org/officeDocument/2006/relationships/tags" Target="../tags/tag663.xml"/><Relationship Id="rId22" Type="http://schemas.openxmlformats.org/officeDocument/2006/relationships/tags" Target="../tags/tag662.xml"/><Relationship Id="rId21" Type="http://schemas.openxmlformats.org/officeDocument/2006/relationships/tags" Target="../tags/tag661.xml"/><Relationship Id="rId20" Type="http://schemas.openxmlformats.org/officeDocument/2006/relationships/tags" Target="../tags/tag660.xml"/><Relationship Id="rId2" Type="http://schemas.openxmlformats.org/officeDocument/2006/relationships/tags" Target="../tags/tag642.xml"/><Relationship Id="rId19" Type="http://schemas.openxmlformats.org/officeDocument/2006/relationships/tags" Target="../tags/tag659.xml"/><Relationship Id="rId18" Type="http://schemas.openxmlformats.org/officeDocument/2006/relationships/tags" Target="../tags/tag658.xml"/><Relationship Id="rId17" Type="http://schemas.openxmlformats.org/officeDocument/2006/relationships/tags" Target="../tags/tag657.xml"/><Relationship Id="rId16" Type="http://schemas.openxmlformats.org/officeDocument/2006/relationships/tags" Target="../tags/tag656.xml"/><Relationship Id="rId15" Type="http://schemas.openxmlformats.org/officeDocument/2006/relationships/tags" Target="../tags/tag655.xml"/><Relationship Id="rId14" Type="http://schemas.openxmlformats.org/officeDocument/2006/relationships/tags" Target="../tags/tag654.xml"/><Relationship Id="rId13" Type="http://schemas.openxmlformats.org/officeDocument/2006/relationships/tags" Target="../tags/tag653.xml"/><Relationship Id="rId12" Type="http://schemas.openxmlformats.org/officeDocument/2006/relationships/tags" Target="../tags/tag652.xml"/><Relationship Id="rId11" Type="http://schemas.openxmlformats.org/officeDocument/2006/relationships/tags" Target="../tags/tag651.xml"/><Relationship Id="rId10" Type="http://schemas.openxmlformats.org/officeDocument/2006/relationships/tags" Target="../tags/tag650.xml"/><Relationship Id="rId1" Type="http://schemas.openxmlformats.org/officeDocument/2006/relationships/tags" Target="../tags/tag64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image" Target="../media/image4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9" Type="http://schemas.openxmlformats.org/officeDocument/2006/relationships/tags" Target="../tags/tag695.xml"/><Relationship Id="rId8" Type="http://schemas.openxmlformats.org/officeDocument/2006/relationships/tags" Target="../tags/tag694.xml"/><Relationship Id="rId7" Type="http://schemas.openxmlformats.org/officeDocument/2006/relationships/tags" Target="../tags/tag693.xml"/><Relationship Id="rId6" Type="http://schemas.openxmlformats.org/officeDocument/2006/relationships/tags" Target="../tags/tag692.xml"/><Relationship Id="rId51" Type="http://schemas.openxmlformats.org/officeDocument/2006/relationships/notesSlide" Target="../notesSlides/notesSlide30.xml"/><Relationship Id="rId50" Type="http://schemas.openxmlformats.org/officeDocument/2006/relationships/slideLayout" Target="../slideLayouts/slideLayout7.xml"/><Relationship Id="rId5" Type="http://schemas.openxmlformats.org/officeDocument/2006/relationships/tags" Target="../tags/tag691.xml"/><Relationship Id="rId49" Type="http://schemas.openxmlformats.org/officeDocument/2006/relationships/tags" Target="../tags/tag735.xml"/><Relationship Id="rId48" Type="http://schemas.openxmlformats.org/officeDocument/2006/relationships/tags" Target="../tags/tag734.xml"/><Relationship Id="rId47" Type="http://schemas.openxmlformats.org/officeDocument/2006/relationships/tags" Target="../tags/tag733.xml"/><Relationship Id="rId46" Type="http://schemas.openxmlformats.org/officeDocument/2006/relationships/tags" Target="../tags/tag732.xml"/><Relationship Id="rId45" Type="http://schemas.openxmlformats.org/officeDocument/2006/relationships/tags" Target="../tags/tag731.xml"/><Relationship Id="rId44" Type="http://schemas.openxmlformats.org/officeDocument/2006/relationships/tags" Target="../tags/tag730.xml"/><Relationship Id="rId43" Type="http://schemas.openxmlformats.org/officeDocument/2006/relationships/tags" Target="../tags/tag729.xml"/><Relationship Id="rId42" Type="http://schemas.openxmlformats.org/officeDocument/2006/relationships/tags" Target="../tags/tag728.xml"/><Relationship Id="rId41" Type="http://schemas.openxmlformats.org/officeDocument/2006/relationships/tags" Target="../tags/tag727.xml"/><Relationship Id="rId40" Type="http://schemas.openxmlformats.org/officeDocument/2006/relationships/tags" Target="../tags/tag726.xml"/><Relationship Id="rId4" Type="http://schemas.openxmlformats.org/officeDocument/2006/relationships/tags" Target="../tags/tag690.xml"/><Relationship Id="rId39" Type="http://schemas.openxmlformats.org/officeDocument/2006/relationships/tags" Target="../tags/tag725.xml"/><Relationship Id="rId38" Type="http://schemas.openxmlformats.org/officeDocument/2006/relationships/tags" Target="../tags/tag724.xml"/><Relationship Id="rId37" Type="http://schemas.openxmlformats.org/officeDocument/2006/relationships/tags" Target="../tags/tag723.xml"/><Relationship Id="rId36" Type="http://schemas.openxmlformats.org/officeDocument/2006/relationships/tags" Target="../tags/tag722.xml"/><Relationship Id="rId35" Type="http://schemas.openxmlformats.org/officeDocument/2006/relationships/tags" Target="../tags/tag721.xml"/><Relationship Id="rId34" Type="http://schemas.openxmlformats.org/officeDocument/2006/relationships/tags" Target="../tags/tag720.xml"/><Relationship Id="rId33" Type="http://schemas.openxmlformats.org/officeDocument/2006/relationships/tags" Target="../tags/tag719.xml"/><Relationship Id="rId32" Type="http://schemas.openxmlformats.org/officeDocument/2006/relationships/tags" Target="../tags/tag718.xml"/><Relationship Id="rId31" Type="http://schemas.openxmlformats.org/officeDocument/2006/relationships/tags" Target="../tags/tag717.xml"/><Relationship Id="rId30" Type="http://schemas.openxmlformats.org/officeDocument/2006/relationships/tags" Target="../tags/tag716.xml"/><Relationship Id="rId3" Type="http://schemas.openxmlformats.org/officeDocument/2006/relationships/tags" Target="../tags/tag689.xml"/><Relationship Id="rId29" Type="http://schemas.openxmlformats.org/officeDocument/2006/relationships/tags" Target="../tags/tag715.xml"/><Relationship Id="rId28" Type="http://schemas.openxmlformats.org/officeDocument/2006/relationships/tags" Target="../tags/tag714.xml"/><Relationship Id="rId27" Type="http://schemas.openxmlformats.org/officeDocument/2006/relationships/tags" Target="../tags/tag713.xml"/><Relationship Id="rId26" Type="http://schemas.openxmlformats.org/officeDocument/2006/relationships/tags" Target="../tags/tag712.xml"/><Relationship Id="rId25" Type="http://schemas.openxmlformats.org/officeDocument/2006/relationships/tags" Target="../tags/tag711.xml"/><Relationship Id="rId24" Type="http://schemas.openxmlformats.org/officeDocument/2006/relationships/tags" Target="../tags/tag710.xml"/><Relationship Id="rId23" Type="http://schemas.openxmlformats.org/officeDocument/2006/relationships/tags" Target="../tags/tag709.xml"/><Relationship Id="rId22" Type="http://schemas.openxmlformats.org/officeDocument/2006/relationships/tags" Target="../tags/tag708.xml"/><Relationship Id="rId21" Type="http://schemas.openxmlformats.org/officeDocument/2006/relationships/tags" Target="../tags/tag707.xml"/><Relationship Id="rId20" Type="http://schemas.openxmlformats.org/officeDocument/2006/relationships/tags" Target="../tags/tag706.xml"/><Relationship Id="rId2" Type="http://schemas.openxmlformats.org/officeDocument/2006/relationships/tags" Target="../tags/tag688.xml"/><Relationship Id="rId19" Type="http://schemas.openxmlformats.org/officeDocument/2006/relationships/tags" Target="../tags/tag705.xml"/><Relationship Id="rId18" Type="http://schemas.openxmlformats.org/officeDocument/2006/relationships/tags" Target="../tags/tag704.xml"/><Relationship Id="rId17" Type="http://schemas.openxmlformats.org/officeDocument/2006/relationships/tags" Target="../tags/tag703.xml"/><Relationship Id="rId16" Type="http://schemas.openxmlformats.org/officeDocument/2006/relationships/tags" Target="../tags/tag702.xml"/><Relationship Id="rId15" Type="http://schemas.openxmlformats.org/officeDocument/2006/relationships/tags" Target="../tags/tag701.xml"/><Relationship Id="rId14" Type="http://schemas.openxmlformats.org/officeDocument/2006/relationships/tags" Target="../tags/tag700.xml"/><Relationship Id="rId13" Type="http://schemas.openxmlformats.org/officeDocument/2006/relationships/tags" Target="../tags/tag699.xml"/><Relationship Id="rId12" Type="http://schemas.openxmlformats.org/officeDocument/2006/relationships/tags" Target="../tags/tag698.xml"/><Relationship Id="rId11" Type="http://schemas.openxmlformats.org/officeDocument/2006/relationships/tags" Target="../tags/tag697.xml"/><Relationship Id="rId10" Type="http://schemas.openxmlformats.org/officeDocument/2006/relationships/tags" Target="../tags/tag696.xml"/><Relationship Id="rId1" Type="http://schemas.openxmlformats.org/officeDocument/2006/relationships/tags" Target="../tags/tag687.xml"/></Relationships>
</file>

<file path=ppt/slides/_rels/slide31.xml.rels><?xml version="1.0" encoding="UTF-8" standalone="yes"?>
<Relationships xmlns="http://schemas.openxmlformats.org/package/2006/relationships"><Relationship Id="rId9" Type="http://schemas.openxmlformats.org/officeDocument/2006/relationships/tags" Target="../tags/tag744.xml"/><Relationship Id="rId8" Type="http://schemas.openxmlformats.org/officeDocument/2006/relationships/tags" Target="../tags/tag743.xml"/><Relationship Id="rId7" Type="http://schemas.openxmlformats.org/officeDocument/2006/relationships/tags" Target="../tags/tag742.xml"/><Relationship Id="rId6" Type="http://schemas.openxmlformats.org/officeDocument/2006/relationships/tags" Target="../tags/tag741.xml"/><Relationship Id="rId5" Type="http://schemas.openxmlformats.org/officeDocument/2006/relationships/tags" Target="../tags/tag740.xml"/><Relationship Id="rId4" Type="http://schemas.openxmlformats.org/officeDocument/2006/relationships/tags" Target="../tags/tag739.xml"/><Relationship Id="rId3" Type="http://schemas.openxmlformats.org/officeDocument/2006/relationships/tags" Target="../tags/tag738.xml"/><Relationship Id="rId21" Type="http://schemas.openxmlformats.org/officeDocument/2006/relationships/notesSlide" Target="../notesSlides/notesSlide31.xml"/><Relationship Id="rId20" Type="http://schemas.openxmlformats.org/officeDocument/2006/relationships/slideLayout" Target="../slideLayouts/slideLayout7.xml"/><Relationship Id="rId2" Type="http://schemas.openxmlformats.org/officeDocument/2006/relationships/tags" Target="../tags/tag737.xml"/><Relationship Id="rId19" Type="http://schemas.openxmlformats.org/officeDocument/2006/relationships/image" Target="../media/image43.png"/><Relationship Id="rId18" Type="http://schemas.openxmlformats.org/officeDocument/2006/relationships/image" Target="../media/image42.png"/><Relationship Id="rId17" Type="http://schemas.openxmlformats.org/officeDocument/2006/relationships/image" Target="../media/image41.png"/><Relationship Id="rId16" Type="http://schemas.openxmlformats.org/officeDocument/2006/relationships/tags" Target="../tags/tag751.xml"/><Relationship Id="rId15" Type="http://schemas.openxmlformats.org/officeDocument/2006/relationships/tags" Target="../tags/tag750.xml"/><Relationship Id="rId14" Type="http://schemas.openxmlformats.org/officeDocument/2006/relationships/tags" Target="../tags/tag749.xml"/><Relationship Id="rId13" Type="http://schemas.openxmlformats.org/officeDocument/2006/relationships/tags" Target="../tags/tag748.xml"/><Relationship Id="rId12" Type="http://schemas.openxmlformats.org/officeDocument/2006/relationships/tags" Target="../tags/tag747.xml"/><Relationship Id="rId11" Type="http://schemas.openxmlformats.org/officeDocument/2006/relationships/tags" Target="../tags/tag746.xml"/><Relationship Id="rId10" Type="http://schemas.openxmlformats.org/officeDocument/2006/relationships/tags" Target="../tags/tag745.xml"/><Relationship Id="rId1" Type="http://schemas.openxmlformats.org/officeDocument/2006/relationships/tags" Target="../tags/tag736.xml"/></Relationships>
</file>

<file path=ppt/slides/_rels/slide32.xml.rels><?xml version="1.0" encoding="UTF-8" standalone="yes"?>
<Relationships xmlns="http://schemas.openxmlformats.org/package/2006/relationships"><Relationship Id="rId7" Type="http://schemas.openxmlformats.org/officeDocument/2006/relationships/notesSlide" Target="../notesSlides/notesSlide32.xml"/><Relationship Id="rId6" Type="http://schemas.openxmlformats.org/officeDocument/2006/relationships/slideLayout" Target="../slideLayouts/slideLayout7.xml"/><Relationship Id="rId5" Type="http://schemas.openxmlformats.org/officeDocument/2006/relationships/tags" Target="../tags/tag756.xml"/><Relationship Id="rId4" Type="http://schemas.openxmlformats.org/officeDocument/2006/relationships/tags" Target="../tags/tag755.xml"/><Relationship Id="rId3" Type="http://schemas.openxmlformats.org/officeDocument/2006/relationships/tags" Target="../tags/tag754.xml"/><Relationship Id="rId2" Type="http://schemas.openxmlformats.org/officeDocument/2006/relationships/tags" Target="../tags/tag753.xml"/><Relationship Id="rId1" Type="http://schemas.openxmlformats.org/officeDocument/2006/relationships/tags" Target="../tags/tag752.xml"/></Relationships>
</file>

<file path=ppt/slides/_rels/slide33.xml.rels><?xml version="1.0" encoding="UTF-8" standalone="yes"?>
<Relationships xmlns="http://schemas.openxmlformats.org/package/2006/relationships"><Relationship Id="rId9" Type="http://schemas.openxmlformats.org/officeDocument/2006/relationships/notesSlide" Target="../notesSlides/notesSlide33.xml"/><Relationship Id="rId8" Type="http://schemas.openxmlformats.org/officeDocument/2006/relationships/slideLayout" Target="../slideLayouts/slideLayout7.xml"/><Relationship Id="rId7" Type="http://schemas.openxmlformats.org/officeDocument/2006/relationships/tags" Target="../tags/tag763.xml"/><Relationship Id="rId6" Type="http://schemas.openxmlformats.org/officeDocument/2006/relationships/tags" Target="../tags/tag762.xml"/><Relationship Id="rId5" Type="http://schemas.openxmlformats.org/officeDocument/2006/relationships/tags" Target="../tags/tag761.xml"/><Relationship Id="rId4" Type="http://schemas.openxmlformats.org/officeDocument/2006/relationships/tags" Target="../tags/tag760.xml"/><Relationship Id="rId3" Type="http://schemas.openxmlformats.org/officeDocument/2006/relationships/tags" Target="../tags/tag759.xml"/><Relationship Id="rId2" Type="http://schemas.openxmlformats.org/officeDocument/2006/relationships/tags" Target="../tags/tag758.xml"/><Relationship Id="rId1" Type="http://schemas.openxmlformats.org/officeDocument/2006/relationships/tags" Target="../tags/tag757.xml"/></Relationships>
</file>

<file path=ppt/slides/_rels/slide34.xml.rels><?xml version="1.0" encoding="UTF-8" standalone="yes"?>
<Relationships xmlns="http://schemas.openxmlformats.org/package/2006/relationships"><Relationship Id="rId7" Type="http://schemas.openxmlformats.org/officeDocument/2006/relationships/notesSlide" Target="../notesSlides/notesSlide34.xml"/><Relationship Id="rId6" Type="http://schemas.openxmlformats.org/officeDocument/2006/relationships/slideLayout" Target="../slideLayouts/slideLayout7.xml"/><Relationship Id="rId5" Type="http://schemas.openxmlformats.org/officeDocument/2006/relationships/tags" Target="../tags/tag768.xml"/><Relationship Id="rId4" Type="http://schemas.openxmlformats.org/officeDocument/2006/relationships/tags" Target="../tags/tag767.xml"/><Relationship Id="rId3" Type="http://schemas.openxmlformats.org/officeDocument/2006/relationships/tags" Target="../tags/tag766.xml"/><Relationship Id="rId2" Type="http://schemas.openxmlformats.org/officeDocument/2006/relationships/tags" Target="../tags/tag765.xml"/><Relationship Id="rId1" Type="http://schemas.openxmlformats.org/officeDocument/2006/relationships/tags" Target="../tags/tag764.xml"/></Relationships>
</file>

<file path=ppt/slides/_rels/slide35.xml.rels><?xml version="1.0" encoding="UTF-8" standalone="yes"?>
<Relationships xmlns="http://schemas.openxmlformats.org/package/2006/relationships"><Relationship Id="rId9" Type="http://schemas.openxmlformats.org/officeDocument/2006/relationships/notesSlide" Target="../notesSlides/notesSlide35.xml"/><Relationship Id="rId8" Type="http://schemas.openxmlformats.org/officeDocument/2006/relationships/slideLayout" Target="../slideLayouts/slideLayout7.xml"/><Relationship Id="rId7" Type="http://schemas.openxmlformats.org/officeDocument/2006/relationships/tags" Target="../tags/tag775.xml"/><Relationship Id="rId6" Type="http://schemas.openxmlformats.org/officeDocument/2006/relationships/tags" Target="../tags/tag774.xml"/><Relationship Id="rId5" Type="http://schemas.openxmlformats.org/officeDocument/2006/relationships/tags" Target="../tags/tag773.xml"/><Relationship Id="rId4" Type="http://schemas.openxmlformats.org/officeDocument/2006/relationships/tags" Target="../tags/tag772.xml"/><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tags" Target="../tags/tag76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9" Type="http://schemas.openxmlformats.org/officeDocument/2006/relationships/slideLayout" Target="../slideLayouts/slideLayout7.xml"/><Relationship Id="rId8" Type="http://schemas.openxmlformats.org/officeDocument/2006/relationships/tags" Target="../tags/tag783.xml"/><Relationship Id="rId7" Type="http://schemas.openxmlformats.org/officeDocument/2006/relationships/tags" Target="../tags/tag782.xml"/><Relationship Id="rId6" Type="http://schemas.openxmlformats.org/officeDocument/2006/relationships/tags" Target="../tags/tag781.xml"/><Relationship Id="rId5" Type="http://schemas.openxmlformats.org/officeDocument/2006/relationships/tags" Target="../tags/tag780.xml"/><Relationship Id="rId4" Type="http://schemas.openxmlformats.org/officeDocument/2006/relationships/tags" Target="../tags/tag779.xml"/><Relationship Id="rId3" Type="http://schemas.openxmlformats.org/officeDocument/2006/relationships/tags" Target="../tags/tag778.xml"/><Relationship Id="rId2" Type="http://schemas.openxmlformats.org/officeDocument/2006/relationships/tags" Target="../tags/tag777.xml"/><Relationship Id="rId10" Type="http://schemas.openxmlformats.org/officeDocument/2006/relationships/notesSlide" Target="../notesSlides/notesSlide37.xml"/><Relationship Id="rId1" Type="http://schemas.openxmlformats.org/officeDocument/2006/relationships/tags" Target="../tags/tag776.xml"/></Relationships>
</file>

<file path=ppt/slides/_rels/slide38.xml.rels><?xml version="1.0" encoding="UTF-8" standalone="yes"?>
<Relationships xmlns="http://schemas.openxmlformats.org/package/2006/relationships"><Relationship Id="rId9" Type="http://schemas.openxmlformats.org/officeDocument/2006/relationships/tags" Target="../tags/tag792.xml"/><Relationship Id="rId8" Type="http://schemas.openxmlformats.org/officeDocument/2006/relationships/tags" Target="../tags/tag791.xml"/><Relationship Id="rId7" Type="http://schemas.openxmlformats.org/officeDocument/2006/relationships/tags" Target="../tags/tag790.xml"/><Relationship Id="rId6" Type="http://schemas.openxmlformats.org/officeDocument/2006/relationships/tags" Target="../tags/tag789.xml"/><Relationship Id="rId5" Type="http://schemas.openxmlformats.org/officeDocument/2006/relationships/tags" Target="../tags/tag788.xml"/><Relationship Id="rId4" Type="http://schemas.openxmlformats.org/officeDocument/2006/relationships/tags" Target="../tags/tag787.xml"/><Relationship Id="rId3" Type="http://schemas.openxmlformats.org/officeDocument/2006/relationships/tags" Target="../tags/tag786.xml"/><Relationship Id="rId20" Type="http://schemas.openxmlformats.org/officeDocument/2006/relationships/notesSlide" Target="../notesSlides/notesSlide38.xml"/><Relationship Id="rId2" Type="http://schemas.openxmlformats.org/officeDocument/2006/relationships/tags" Target="../tags/tag785.xml"/><Relationship Id="rId19" Type="http://schemas.openxmlformats.org/officeDocument/2006/relationships/slideLayout" Target="../slideLayouts/slideLayout7.xml"/><Relationship Id="rId18" Type="http://schemas.openxmlformats.org/officeDocument/2006/relationships/tags" Target="../tags/tag801.xml"/><Relationship Id="rId17" Type="http://schemas.openxmlformats.org/officeDocument/2006/relationships/tags" Target="../tags/tag800.xml"/><Relationship Id="rId16" Type="http://schemas.openxmlformats.org/officeDocument/2006/relationships/tags" Target="../tags/tag799.xml"/><Relationship Id="rId15" Type="http://schemas.openxmlformats.org/officeDocument/2006/relationships/tags" Target="../tags/tag798.xml"/><Relationship Id="rId14" Type="http://schemas.openxmlformats.org/officeDocument/2006/relationships/tags" Target="../tags/tag797.xml"/><Relationship Id="rId13" Type="http://schemas.openxmlformats.org/officeDocument/2006/relationships/tags" Target="../tags/tag796.xml"/><Relationship Id="rId12" Type="http://schemas.openxmlformats.org/officeDocument/2006/relationships/tags" Target="../tags/tag795.xml"/><Relationship Id="rId11" Type="http://schemas.openxmlformats.org/officeDocument/2006/relationships/tags" Target="../tags/tag794.xml"/><Relationship Id="rId10" Type="http://schemas.openxmlformats.org/officeDocument/2006/relationships/tags" Target="../tags/tag793.xml"/><Relationship Id="rId1" Type="http://schemas.openxmlformats.org/officeDocument/2006/relationships/tags" Target="../tags/tag78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9" Type="http://schemas.openxmlformats.org/officeDocument/2006/relationships/tags" Target="../tags/tag810.xml"/><Relationship Id="rId8" Type="http://schemas.openxmlformats.org/officeDocument/2006/relationships/tags" Target="../tags/tag809.xml"/><Relationship Id="rId7" Type="http://schemas.openxmlformats.org/officeDocument/2006/relationships/tags" Target="../tags/tag808.xml"/><Relationship Id="rId6" Type="http://schemas.openxmlformats.org/officeDocument/2006/relationships/tags" Target="../tags/tag807.xml"/><Relationship Id="rId5" Type="http://schemas.openxmlformats.org/officeDocument/2006/relationships/tags" Target="../tags/tag806.xml"/><Relationship Id="rId48" Type="http://schemas.openxmlformats.org/officeDocument/2006/relationships/notesSlide" Target="../notesSlides/notesSlide44.xml"/><Relationship Id="rId47" Type="http://schemas.openxmlformats.org/officeDocument/2006/relationships/slideLayout" Target="../slideLayouts/slideLayout7.xml"/><Relationship Id="rId46" Type="http://schemas.openxmlformats.org/officeDocument/2006/relationships/tags" Target="../tags/tag847.xml"/><Relationship Id="rId45" Type="http://schemas.openxmlformats.org/officeDocument/2006/relationships/tags" Target="../tags/tag846.xml"/><Relationship Id="rId44" Type="http://schemas.openxmlformats.org/officeDocument/2006/relationships/tags" Target="../tags/tag845.xml"/><Relationship Id="rId43" Type="http://schemas.openxmlformats.org/officeDocument/2006/relationships/tags" Target="../tags/tag844.xml"/><Relationship Id="rId42" Type="http://schemas.openxmlformats.org/officeDocument/2006/relationships/tags" Target="../tags/tag843.xml"/><Relationship Id="rId41" Type="http://schemas.openxmlformats.org/officeDocument/2006/relationships/tags" Target="../tags/tag842.xml"/><Relationship Id="rId40" Type="http://schemas.openxmlformats.org/officeDocument/2006/relationships/tags" Target="../tags/tag841.xml"/><Relationship Id="rId4" Type="http://schemas.openxmlformats.org/officeDocument/2006/relationships/tags" Target="../tags/tag805.xml"/><Relationship Id="rId39" Type="http://schemas.openxmlformats.org/officeDocument/2006/relationships/tags" Target="../tags/tag840.xml"/><Relationship Id="rId38" Type="http://schemas.openxmlformats.org/officeDocument/2006/relationships/tags" Target="../tags/tag839.xml"/><Relationship Id="rId37" Type="http://schemas.openxmlformats.org/officeDocument/2006/relationships/tags" Target="../tags/tag838.xml"/><Relationship Id="rId36" Type="http://schemas.openxmlformats.org/officeDocument/2006/relationships/tags" Target="../tags/tag837.xml"/><Relationship Id="rId35" Type="http://schemas.openxmlformats.org/officeDocument/2006/relationships/tags" Target="../tags/tag836.xml"/><Relationship Id="rId34" Type="http://schemas.openxmlformats.org/officeDocument/2006/relationships/tags" Target="../tags/tag835.xml"/><Relationship Id="rId33" Type="http://schemas.openxmlformats.org/officeDocument/2006/relationships/tags" Target="../tags/tag834.xml"/><Relationship Id="rId32" Type="http://schemas.openxmlformats.org/officeDocument/2006/relationships/tags" Target="../tags/tag833.xml"/><Relationship Id="rId31" Type="http://schemas.openxmlformats.org/officeDocument/2006/relationships/tags" Target="../tags/tag832.xml"/><Relationship Id="rId30" Type="http://schemas.openxmlformats.org/officeDocument/2006/relationships/tags" Target="../tags/tag831.xml"/><Relationship Id="rId3" Type="http://schemas.openxmlformats.org/officeDocument/2006/relationships/tags" Target="../tags/tag804.xml"/><Relationship Id="rId29" Type="http://schemas.openxmlformats.org/officeDocument/2006/relationships/tags" Target="../tags/tag830.xml"/><Relationship Id="rId28" Type="http://schemas.openxmlformats.org/officeDocument/2006/relationships/tags" Target="../tags/tag829.xml"/><Relationship Id="rId27" Type="http://schemas.openxmlformats.org/officeDocument/2006/relationships/tags" Target="../tags/tag828.xml"/><Relationship Id="rId26" Type="http://schemas.openxmlformats.org/officeDocument/2006/relationships/tags" Target="../tags/tag827.xml"/><Relationship Id="rId25" Type="http://schemas.openxmlformats.org/officeDocument/2006/relationships/tags" Target="../tags/tag826.xml"/><Relationship Id="rId24" Type="http://schemas.openxmlformats.org/officeDocument/2006/relationships/tags" Target="../tags/tag825.xml"/><Relationship Id="rId23" Type="http://schemas.openxmlformats.org/officeDocument/2006/relationships/tags" Target="../tags/tag824.xml"/><Relationship Id="rId22" Type="http://schemas.openxmlformats.org/officeDocument/2006/relationships/tags" Target="../tags/tag823.xml"/><Relationship Id="rId21" Type="http://schemas.openxmlformats.org/officeDocument/2006/relationships/tags" Target="../tags/tag822.xml"/><Relationship Id="rId20" Type="http://schemas.openxmlformats.org/officeDocument/2006/relationships/tags" Target="../tags/tag821.xml"/><Relationship Id="rId2" Type="http://schemas.openxmlformats.org/officeDocument/2006/relationships/tags" Target="../tags/tag803.xml"/><Relationship Id="rId19" Type="http://schemas.openxmlformats.org/officeDocument/2006/relationships/tags" Target="../tags/tag820.xml"/><Relationship Id="rId18" Type="http://schemas.openxmlformats.org/officeDocument/2006/relationships/tags" Target="../tags/tag819.xml"/><Relationship Id="rId17" Type="http://schemas.openxmlformats.org/officeDocument/2006/relationships/tags" Target="../tags/tag818.xml"/><Relationship Id="rId16" Type="http://schemas.openxmlformats.org/officeDocument/2006/relationships/tags" Target="../tags/tag817.xml"/><Relationship Id="rId15" Type="http://schemas.openxmlformats.org/officeDocument/2006/relationships/tags" Target="../tags/tag816.xml"/><Relationship Id="rId14" Type="http://schemas.openxmlformats.org/officeDocument/2006/relationships/tags" Target="../tags/tag815.xml"/><Relationship Id="rId13" Type="http://schemas.openxmlformats.org/officeDocument/2006/relationships/tags" Target="../tags/tag814.xml"/><Relationship Id="rId12" Type="http://schemas.openxmlformats.org/officeDocument/2006/relationships/tags" Target="../tags/tag813.xml"/><Relationship Id="rId11" Type="http://schemas.openxmlformats.org/officeDocument/2006/relationships/tags" Target="../tags/tag812.xml"/><Relationship Id="rId10" Type="http://schemas.openxmlformats.org/officeDocument/2006/relationships/tags" Target="../tags/tag811.xml"/><Relationship Id="rId1" Type="http://schemas.openxmlformats.org/officeDocument/2006/relationships/tags" Target="../tags/tag80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8" Type="http://schemas.openxmlformats.org/officeDocument/2006/relationships/notesSlide" Target="../notesSlides/notesSlide5.xml"/><Relationship Id="rId47" Type="http://schemas.openxmlformats.org/officeDocument/2006/relationships/slideLayout" Target="../slideLayouts/slideLayout7.xml"/><Relationship Id="rId46" Type="http://schemas.openxmlformats.org/officeDocument/2006/relationships/tags" Target="../tags/tag46.xml"/><Relationship Id="rId45" Type="http://schemas.openxmlformats.org/officeDocument/2006/relationships/tags" Target="../tags/tag45.xml"/><Relationship Id="rId44" Type="http://schemas.openxmlformats.org/officeDocument/2006/relationships/tags" Target="../tags/tag44.xml"/><Relationship Id="rId43" Type="http://schemas.openxmlformats.org/officeDocument/2006/relationships/tags" Target="../tags/tag43.xml"/><Relationship Id="rId42" Type="http://schemas.openxmlformats.org/officeDocument/2006/relationships/tags" Target="../tags/tag42.xml"/><Relationship Id="rId41" Type="http://schemas.openxmlformats.org/officeDocument/2006/relationships/tags" Target="../tags/tag41.xml"/><Relationship Id="rId40" Type="http://schemas.openxmlformats.org/officeDocument/2006/relationships/tags" Target="../tags/tag40.xml"/><Relationship Id="rId4" Type="http://schemas.openxmlformats.org/officeDocument/2006/relationships/tags" Target="../tags/tag4.xml"/><Relationship Id="rId39" Type="http://schemas.openxmlformats.org/officeDocument/2006/relationships/tags" Target="../tags/tag39.xml"/><Relationship Id="rId38" Type="http://schemas.openxmlformats.org/officeDocument/2006/relationships/tags" Target="../tags/tag38.xml"/><Relationship Id="rId37" Type="http://schemas.openxmlformats.org/officeDocument/2006/relationships/tags" Target="../tags/tag37.xml"/><Relationship Id="rId36" Type="http://schemas.openxmlformats.org/officeDocument/2006/relationships/tags" Target="../tags/tag36.xml"/><Relationship Id="rId35" Type="http://schemas.openxmlformats.org/officeDocument/2006/relationships/tags" Target="../tags/tag35.xml"/><Relationship Id="rId34" Type="http://schemas.openxmlformats.org/officeDocument/2006/relationships/tags" Target="../tags/tag34.xml"/><Relationship Id="rId33" Type="http://schemas.openxmlformats.org/officeDocument/2006/relationships/tags" Target="../tags/tag33.xml"/><Relationship Id="rId32" Type="http://schemas.openxmlformats.org/officeDocument/2006/relationships/tags" Target="../tags/tag32.xml"/><Relationship Id="rId31" Type="http://schemas.openxmlformats.org/officeDocument/2006/relationships/tags" Target="../tags/tag31.xml"/><Relationship Id="rId30" Type="http://schemas.openxmlformats.org/officeDocument/2006/relationships/tags" Target="../tags/tag30.xml"/><Relationship Id="rId3" Type="http://schemas.openxmlformats.org/officeDocument/2006/relationships/tags" Target="../tags/tag3.xml"/><Relationship Id="rId29" Type="http://schemas.openxmlformats.org/officeDocument/2006/relationships/tags" Target="../tags/tag29.xml"/><Relationship Id="rId28" Type="http://schemas.openxmlformats.org/officeDocument/2006/relationships/tags" Target="../tags/tag28.xml"/><Relationship Id="rId27" Type="http://schemas.openxmlformats.org/officeDocument/2006/relationships/tags" Target="../tags/tag27.xml"/><Relationship Id="rId26" Type="http://schemas.openxmlformats.org/officeDocument/2006/relationships/tags" Target="../tags/tag26.xml"/><Relationship Id="rId25" Type="http://schemas.openxmlformats.org/officeDocument/2006/relationships/tags" Target="../tags/tag25.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9" Type="http://schemas.openxmlformats.org/officeDocument/2006/relationships/tags" Target="../tags/tag55.xml"/><Relationship Id="rId8" Type="http://schemas.openxmlformats.org/officeDocument/2006/relationships/tags" Target="../tags/tag54.xml"/><Relationship Id="rId73" Type="http://schemas.openxmlformats.org/officeDocument/2006/relationships/notesSlide" Target="../notesSlides/notesSlide6.xml"/><Relationship Id="rId72" Type="http://schemas.openxmlformats.org/officeDocument/2006/relationships/slideLayout" Target="../slideLayouts/slideLayout7.xml"/><Relationship Id="rId71" Type="http://schemas.openxmlformats.org/officeDocument/2006/relationships/tags" Target="../tags/tag116.xml"/><Relationship Id="rId70" Type="http://schemas.openxmlformats.org/officeDocument/2006/relationships/tags" Target="../tags/tag115.xml"/><Relationship Id="rId7" Type="http://schemas.openxmlformats.org/officeDocument/2006/relationships/tags" Target="../tags/tag53.xml"/><Relationship Id="rId69" Type="http://schemas.openxmlformats.org/officeDocument/2006/relationships/tags" Target="../tags/tag114.xml"/><Relationship Id="rId68" Type="http://schemas.openxmlformats.org/officeDocument/2006/relationships/tags" Target="../tags/tag113.xml"/><Relationship Id="rId67" Type="http://schemas.openxmlformats.org/officeDocument/2006/relationships/tags" Target="../tags/tag112.xml"/><Relationship Id="rId66" Type="http://schemas.openxmlformats.org/officeDocument/2006/relationships/tags" Target="../tags/tag111.xml"/><Relationship Id="rId65" Type="http://schemas.openxmlformats.org/officeDocument/2006/relationships/tags" Target="../tags/tag110.xml"/><Relationship Id="rId64" Type="http://schemas.openxmlformats.org/officeDocument/2006/relationships/tags" Target="../tags/tag109.xml"/><Relationship Id="rId63" Type="http://schemas.openxmlformats.org/officeDocument/2006/relationships/tags" Target="../tags/tag108.xml"/><Relationship Id="rId62" Type="http://schemas.openxmlformats.org/officeDocument/2006/relationships/tags" Target="../tags/tag107.xml"/><Relationship Id="rId61" Type="http://schemas.openxmlformats.org/officeDocument/2006/relationships/tags" Target="../tags/tag106.xml"/><Relationship Id="rId60" Type="http://schemas.openxmlformats.org/officeDocument/2006/relationships/tags" Target="../tags/tag105.xml"/><Relationship Id="rId6" Type="http://schemas.openxmlformats.org/officeDocument/2006/relationships/tags" Target="../tags/tag52.xml"/><Relationship Id="rId59" Type="http://schemas.openxmlformats.org/officeDocument/2006/relationships/tags" Target="../tags/tag104.xml"/><Relationship Id="rId58" Type="http://schemas.openxmlformats.org/officeDocument/2006/relationships/tags" Target="../tags/tag103.xml"/><Relationship Id="rId57" Type="http://schemas.openxmlformats.org/officeDocument/2006/relationships/tags" Target="../tags/tag102.xml"/><Relationship Id="rId56" Type="http://schemas.openxmlformats.org/officeDocument/2006/relationships/tags" Target="../tags/tag101.xml"/><Relationship Id="rId55" Type="http://schemas.openxmlformats.org/officeDocument/2006/relationships/tags" Target="../tags/tag100.xml"/><Relationship Id="rId54" Type="http://schemas.openxmlformats.org/officeDocument/2006/relationships/tags" Target="../tags/tag99.xml"/><Relationship Id="rId53" Type="http://schemas.openxmlformats.org/officeDocument/2006/relationships/tags" Target="../tags/tag98.xml"/><Relationship Id="rId52" Type="http://schemas.openxmlformats.org/officeDocument/2006/relationships/image" Target="../media/image6.png"/><Relationship Id="rId51" Type="http://schemas.openxmlformats.org/officeDocument/2006/relationships/tags" Target="../tags/tag97.xml"/><Relationship Id="rId50" Type="http://schemas.openxmlformats.org/officeDocument/2006/relationships/tags" Target="../tags/tag96.xml"/><Relationship Id="rId5" Type="http://schemas.openxmlformats.org/officeDocument/2006/relationships/tags" Target="../tags/tag51.xml"/><Relationship Id="rId49" Type="http://schemas.openxmlformats.org/officeDocument/2006/relationships/tags" Target="../tags/tag95.xml"/><Relationship Id="rId48" Type="http://schemas.openxmlformats.org/officeDocument/2006/relationships/tags" Target="../tags/tag94.xml"/><Relationship Id="rId47" Type="http://schemas.openxmlformats.org/officeDocument/2006/relationships/tags" Target="../tags/tag93.xml"/><Relationship Id="rId46" Type="http://schemas.openxmlformats.org/officeDocument/2006/relationships/tags" Target="../tags/tag92.xml"/><Relationship Id="rId45" Type="http://schemas.openxmlformats.org/officeDocument/2006/relationships/tags" Target="../tags/tag91.xml"/><Relationship Id="rId44" Type="http://schemas.openxmlformats.org/officeDocument/2006/relationships/tags" Target="../tags/tag90.xml"/><Relationship Id="rId43" Type="http://schemas.openxmlformats.org/officeDocument/2006/relationships/tags" Target="../tags/tag89.xml"/><Relationship Id="rId42" Type="http://schemas.openxmlformats.org/officeDocument/2006/relationships/tags" Target="../tags/tag88.xml"/><Relationship Id="rId41" Type="http://schemas.openxmlformats.org/officeDocument/2006/relationships/tags" Target="../tags/tag87.xml"/><Relationship Id="rId40" Type="http://schemas.openxmlformats.org/officeDocument/2006/relationships/tags" Target="../tags/tag86.xml"/><Relationship Id="rId4" Type="http://schemas.openxmlformats.org/officeDocument/2006/relationships/tags" Target="../tags/tag50.xml"/><Relationship Id="rId39" Type="http://schemas.openxmlformats.org/officeDocument/2006/relationships/tags" Target="../tags/tag85.xml"/><Relationship Id="rId38" Type="http://schemas.openxmlformats.org/officeDocument/2006/relationships/tags" Target="../tags/tag84.xml"/><Relationship Id="rId37" Type="http://schemas.openxmlformats.org/officeDocument/2006/relationships/tags" Target="../tags/tag83.xml"/><Relationship Id="rId36" Type="http://schemas.openxmlformats.org/officeDocument/2006/relationships/tags" Target="../tags/tag82.xml"/><Relationship Id="rId35" Type="http://schemas.openxmlformats.org/officeDocument/2006/relationships/tags" Target="../tags/tag81.xml"/><Relationship Id="rId34" Type="http://schemas.openxmlformats.org/officeDocument/2006/relationships/tags" Target="../tags/tag80.xml"/><Relationship Id="rId33" Type="http://schemas.openxmlformats.org/officeDocument/2006/relationships/tags" Target="../tags/tag79.xml"/><Relationship Id="rId32" Type="http://schemas.openxmlformats.org/officeDocument/2006/relationships/tags" Target="../tags/tag78.xml"/><Relationship Id="rId31" Type="http://schemas.openxmlformats.org/officeDocument/2006/relationships/tags" Target="../tags/tag77.xml"/><Relationship Id="rId30" Type="http://schemas.openxmlformats.org/officeDocument/2006/relationships/tags" Target="../tags/tag76.xml"/><Relationship Id="rId3" Type="http://schemas.openxmlformats.org/officeDocument/2006/relationships/tags" Target="../tags/tag49.xml"/><Relationship Id="rId29" Type="http://schemas.openxmlformats.org/officeDocument/2006/relationships/tags" Target="../tags/tag75.xml"/><Relationship Id="rId28" Type="http://schemas.openxmlformats.org/officeDocument/2006/relationships/tags" Target="../tags/tag74.xml"/><Relationship Id="rId27" Type="http://schemas.openxmlformats.org/officeDocument/2006/relationships/tags" Target="../tags/tag73.xml"/><Relationship Id="rId26" Type="http://schemas.openxmlformats.org/officeDocument/2006/relationships/tags" Target="../tags/tag72.xml"/><Relationship Id="rId25" Type="http://schemas.openxmlformats.org/officeDocument/2006/relationships/tags" Target="../tags/tag71.xml"/><Relationship Id="rId24" Type="http://schemas.openxmlformats.org/officeDocument/2006/relationships/tags" Target="../tags/tag70.xml"/><Relationship Id="rId23" Type="http://schemas.openxmlformats.org/officeDocument/2006/relationships/tags" Target="../tags/tag69.xml"/><Relationship Id="rId22" Type="http://schemas.openxmlformats.org/officeDocument/2006/relationships/tags" Target="../tags/tag68.xml"/><Relationship Id="rId21" Type="http://schemas.openxmlformats.org/officeDocument/2006/relationships/tags" Target="../tags/tag67.xml"/><Relationship Id="rId20" Type="http://schemas.openxmlformats.org/officeDocument/2006/relationships/tags" Target="../tags/tag66.xml"/><Relationship Id="rId2" Type="http://schemas.openxmlformats.org/officeDocument/2006/relationships/tags" Target="../tags/tag48.xml"/><Relationship Id="rId19" Type="http://schemas.openxmlformats.org/officeDocument/2006/relationships/tags" Target="../tags/tag65.xml"/><Relationship Id="rId18" Type="http://schemas.openxmlformats.org/officeDocument/2006/relationships/tags" Target="../tags/tag64.xml"/><Relationship Id="rId17" Type="http://schemas.openxmlformats.org/officeDocument/2006/relationships/tags" Target="../tags/tag63.xml"/><Relationship Id="rId16" Type="http://schemas.openxmlformats.org/officeDocument/2006/relationships/tags" Target="../tags/tag62.xml"/><Relationship Id="rId15" Type="http://schemas.openxmlformats.org/officeDocument/2006/relationships/tags" Target="../tags/tag61.xml"/><Relationship Id="rId14" Type="http://schemas.openxmlformats.org/officeDocument/2006/relationships/tags" Target="../tags/tag60.xml"/><Relationship Id="rId13" Type="http://schemas.openxmlformats.org/officeDocument/2006/relationships/tags" Target="../tags/tag59.xml"/><Relationship Id="rId12" Type="http://schemas.openxmlformats.org/officeDocument/2006/relationships/tags" Target="../tags/tag58.xml"/><Relationship Id="rId11" Type="http://schemas.openxmlformats.org/officeDocument/2006/relationships/tags" Target="../tags/tag57.xml"/><Relationship Id="rId10" Type="http://schemas.openxmlformats.org/officeDocument/2006/relationships/tags" Target="../tags/tag56.xml"/><Relationship Id="rId1" Type="http://schemas.openxmlformats.org/officeDocument/2006/relationships/tags" Target="../tags/tag47.xml"/></Relationships>
</file>

<file path=ppt/slides/_rels/slide7.xml.rels><?xml version="1.0" encoding="UTF-8" standalone="yes"?>
<Relationships xmlns="http://schemas.openxmlformats.org/package/2006/relationships"><Relationship Id="rId9" Type="http://schemas.openxmlformats.org/officeDocument/2006/relationships/tags" Target="../tags/tag125.xml"/><Relationship Id="rId8" Type="http://schemas.openxmlformats.org/officeDocument/2006/relationships/tags" Target="../tags/tag124.xml"/><Relationship Id="rId7" Type="http://schemas.openxmlformats.org/officeDocument/2006/relationships/tags" Target="../tags/tag123.xml"/><Relationship Id="rId6" Type="http://schemas.openxmlformats.org/officeDocument/2006/relationships/tags" Target="../tags/tag122.xml"/><Relationship Id="rId56" Type="http://schemas.openxmlformats.org/officeDocument/2006/relationships/notesSlide" Target="../notesSlides/notesSlide7.xml"/><Relationship Id="rId55" Type="http://schemas.openxmlformats.org/officeDocument/2006/relationships/slideLayout" Target="../slideLayouts/slideLayout7.xml"/><Relationship Id="rId54" Type="http://schemas.openxmlformats.org/officeDocument/2006/relationships/tags" Target="../tags/tag170.xml"/><Relationship Id="rId53" Type="http://schemas.openxmlformats.org/officeDocument/2006/relationships/tags" Target="../tags/tag169.xml"/><Relationship Id="rId52" Type="http://schemas.openxmlformats.org/officeDocument/2006/relationships/tags" Target="../tags/tag168.xml"/><Relationship Id="rId51" Type="http://schemas.openxmlformats.org/officeDocument/2006/relationships/tags" Target="../tags/tag167.xml"/><Relationship Id="rId50" Type="http://schemas.openxmlformats.org/officeDocument/2006/relationships/tags" Target="../tags/tag166.xml"/><Relationship Id="rId5" Type="http://schemas.openxmlformats.org/officeDocument/2006/relationships/tags" Target="../tags/tag121.xml"/><Relationship Id="rId49" Type="http://schemas.openxmlformats.org/officeDocument/2006/relationships/tags" Target="../tags/tag165.xml"/><Relationship Id="rId48" Type="http://schemas.openxmlformats.org/officeDocument/2006/relationships/tags" Target="../tags/tag164.xml"/><Relationship Id="rId47" Type="http://schemas.openxmlformats.org/officeDocument/2006/relationships/tags" Target="../tags/tag163.xml"/><Relationship Id="rId46" Type="http://schemas.openxmlformats.org/officeDocument/2006/relationships/tags" Target="../tags/tag162.xml"/><Relationship Id="rId45" Type="http://schemas.openxmlformats.org/officeDocument/2006/relationships/tags" Target="../tags/tag161.xml"/><Relationship Id="rId44" Type="http://schemas.openxmlformats.org/officeDocument/2006/relationships/tags" Target="../tags/tag160.xml"/><Relationship Id="rId43" Type="http://schemas.openxmlformats.org/officeDocument/2006/relationships/tags" Target="../tags/tag159.xml"/><Relationship Id="rId42" Type="http://schemas.openxmlformats.org/officeDocument/2006/relationships/tags" Target="../tags/tag158.xml"/><Relationship Id="rId41" Type="http://schemas.openxmlformats.org/officeDocument/2006/relationships/tags" Target="../tags/tag157.xml"/><Relationship Id="rId40" Type="http://schemas.openxmlformats.org/officeDocument/2006/relationships/tags" Target="../tags/tag156.xml"/><Relationship Id="rId4" Type="http://schemas.openxmlformats.org/officeDocument/2006/relationships/tags" Target="../tags/tag120.xml"/><Relationship Id="rId39" Type="http://schemas.openxmlformats.org/officeDocument/2006/relationships/tags" Target="../tags/tag155.xml"/><Relationship Id="rId38" Type="http://schemas.openxmlformats.org/officeDocument/2006/relationships/tags" Target="../tags/tag154.xml"/><Relationship Id="rId37" Type="http://schemas.openxmlformats.org/officeDocument/2006/relationships/tags" Target="../tags/tag153.xml"/><Relationship Id="rId36" Type="http://schemas.openxmlformats.org/officeDocument/2006/relationships/tags" Target="../tags/tag152.xml"/><Relationship Id="rId35" Type="http://schemas.openxmlformats.org/officeDocument/2006/relationships/tags" Target="../tags/tag151.xml"/><Relationship Id="rId34" Type="http://schemas.openxmlformats.org/officeDocument/2006/relationships/tags" Target="../tags/tag150.xml"/><Relationship Id="rId33" Type="http://schemas.openxmlformats.org/officeDocument/2006/relationships/tags" Target="../tags/tag149.xml"/><Relationship Id="rId32" Type="http://schemas.openxmlformats.org/officeDocument/2006/relationships/tags" Target="../tags/tag148.xml"/><Relationship Id="rId31" Type="http://schemas.openxmlformats.org/officeDocument/2006/relationships/tags" Target="../tags/tag147.xml"/><Relationship Id="rId30" Type="http://schemas.openxmlformats.org/officeDocument/2006/relationships/tags" Target="../tags/tag146.xml"/><Relationship Id="rId3" Type="http://schemas.openxmlformats.org/officeDocument/2006/relationships/tags" Target="../tags/tag119.xml"/><Relationship Id="rId29" Type="http://schemas.openxmlformats.org/officeDocument/2006/relationships/tags" Target="../tags/tag145.xml"/><Relationship Id="rId28" Type="http://schemas.openxmlformats.org/officeDocument/2006/relationships/tags" Target="../tags/tag144.xml"/><Relationship Id="rId27" Type="http://schemas.openxmlformats.org/officeDocument/2006/relationships/tags" Target="../tags/tag143.xml"/><Relationship Id="rId26" Type="http://schemas.openxmlformats.org/officeDocument/2006/relationships/tags" Target="../tags/tag142.xml"/><Relationship Id="rId25" Type="http://schemas.openxmlformats.org/officeDocument/2006/relationships/tags" Target="../tags/tag141.xml"/><Relationship Id="rId24" Type="http://schemas.openxmlformats.org/officeDocument/2006/relationships/tags" Target="../tags/tag140.xml"/><Relationship Id="rId23" Type="http://schemas.openxmlformats.org/officeDocument/2006/relationships/tags" Target="../tags/tag139.xml"/><Relationship Id="rId22" Type="http://schemas.openxmlformats.org/officeDocument/2006/relationships/tags" Target="../tags/tag138.xml"/><Relationship Id="rId21" Type="http://schemas.openxmlformats.org/officeDocument/2006/relationships/tags" Target="../tags/tag137.xml"/><Relationship Id="rId20" Type="http://schemas.openxmlformats.org/officeDocument/2006/relationships/tags" Target="../tags/tag136.xml"/><Relationship Id="rId2" Type="http://schemas.openxmlformats.org/officeDocument/2006/relationships/tags" Target="../tags/tag118.xml"/><Relationship Id="rId19" Type="http://schemas.openxmlformats.org/officeDocument/2006/relationships/tags" Target="../tags/tag135.xml"/><Relationship Id="rId18" Type="http://schemas.openxmlformats.org/officeDocument/2006/relationships/tags" Target="../tags/tag134.xml"/><Relationship Id="rId17" Type="http://schemas.openxmlformats.org/officeDocument/2006/relationships/tags" Target="../tags/tag133.xml"/><Relationship Id="rId16" Type="http://schemas.openxmlformats.org/officeDocument/2006/relationships/tags" Target="../tags/tag132.xml"/><Relationship Id="rId15" Type="http://schemas.openxmlformats.org/officeDocument/2006/relationships/tags" Target="../tags/tag131.xml"/><Relationship Id="rId14" Type="http://schemas.openxmlformats.org/officeDocument/2006/relationships/tags" Target="../tags/tag130.xml"/><Relationship Id="rId13" Type="http://schemas.openxmlformats.org/officeDocument/2006/relationships/tags" Target="../tags/tag129.xml"/><Relationship Id="rId12" Type="http://schemas.openxmlformats.org/officeDocument/2006/relationships/tags" Target="../tags/tag128.xml"/><Relationship Id="rId11" Type="http://schemas.openxmlformats.org/officeDocument/2006/relationships/tags" Target="../tags/tag127.xml"/><Relationship Id="rId10" Type="http://schemas.openxmlformats.org/officeDocument/2006/relationships/tags" Target="../tags/tag126.xml"/><Relationship Id="rId1" Type="http://schemas.openxmlformats.org/officeDocument/2006/relationships/tags" Target="../tags/tag117.xml"/></Relationships>
</file>

<file path=ppt/slides/_rels/slide8.xml.rels><?xml version="1.0" encoding="UTF-8" standalone="yes"?>
<Relationships xmlns="http://schemas.openxmlformats.org/package/2006/relationships"><Relationship Id="rId9" Type="http://schemas.openxmlformats.org/officeDocument/2006/relationships/tags" Target="../tags/tag179.xml"/><Relationship Id="rId8" Type="http://schemas.openxmlformats.org/officeDocument/2006/relationships/tags" Target="../tags/tag178.xml"/><Relationship Id="rId7" Type="http://schemas.openxmlformats.org/officeDocument/2006/relationships/tags" Target="../tags/tag177.xml"/><Relationship Id="rId6" Type="http://schemas.openxmlformats.org/officeDocument/2006/relationships/tags" Target="../tags/tag176.xml"/><Relationship Id="rId54" Type="http://schemas.openxmlformats.org/officeDocument/2006/relationships/notesSlide" Target="../notesSlides/notesSlide8.xml"/><Relationship Id="rId53" Type="http://schemas.openxmlformats.org/officeDocument/2006/relationships/slideLayout" Target="../slideLayouts/slideLayout7.xml"/><Relationship Id="rId52" Type="http://schemas.openxmlformats.org/officeDocument/2006/relationships/tags" Target="../tags/tag222.xml"/><Relationship Id="rId51" Type="http://schemas.openxmlformats.org/officeDocument/2006/relationships/tags" Target="../tags/tag221.xml"/><Relationship Id="rId50" Type="http://schemas.openxmlformats.org/officeDocument/2006/relationships/tags" Target="../tags/tag220.xml"/><Relationship Id="rId5" Type="http://schemas.openxmlformats.org/officeDocument/2006/relationships/tags" Target="../tags/tag175.xml"/><Relationship Id="rId49" Type="http://schemas.openxmlformats.org/officeDocument/2006/relationships/tags" Target="../tags/tag219.xml"/><Relationship Id="rId48" Type="http://schemas.openxmlformats.org/officeDocument/2006/relationships/tags" Target="../tags/tag218.xml"/><Relationship Id="rId47" Type="http://schemas.openxmlformats.org/officeDocument/2006/relationships/tags" Target="../tags/tag217.xml"/><Relationship Id="rId46" Type="http://schemas.openxmlformats.org/officeDocument/2006/relationships/tags" Target="../tags/tag216.xml"/><Relationship Id="rId45" Type="http://schemas.openxmlformats.org/officeDocument/2006/relationships/tags" Target="../tags/tag215.xml"/><Relationship Id="rId44" Type="http://schemas.openxmlformats.org/officeDocument/2006/relationships/tags" Target="../tags/tag214.xml"/><Relationship Id="rId43" Type="http://schemas.openxmlformats.org/officeDocument/2006/relationships/tags" Target="../tags/tag213.xml"/><Relationship Id="rId42" Type="http://schemas.openxmlformats.org/officeDocument/2006/relationships/tags" Target="../tags/tag212.xml"/><Relationship Id="rId41" Type="http://schemas.openxmlformats.org/officeDocument/2006/relationships/tags" Target="../tags/tag211.xml"/><Relationship Id="rId40" Type="http://schemas.openxmlformats.org/officeDocument/2006/relationships/tags" Target="../tags/tag210.xml"/><Relationship Id="rId4" Type="http://schemas.openxmlformats.org/officeDocument/2006/relationships/tags" Target="../tags/tag174.xml"/><Relationship Id="rId39" Type="http://schemas.openxmlformats.org/officeDocument/2006/relationships/tags" Target="../tags/tag209.xml"/><Relationship Id="rId38" Type="http://schemas.openxmlformats.org/officeDocument/2006/relationships/tags" Target="../tags/tag208.xml"/><Relationship Id="rId37" Type="http://schemas.openxmlformats.org/officeDocument/2006/relationships/tags" Target="../tags/tag207.xml"/><Relationship Id="rId36" Type="http://schemas.openxmlformats.org/officeDocument/2006/relationships/tags" Target="../tags/tag206.xml"/><Relationship Id="rId35" Type="http://schemas.openxmlformats.org/officeDocument/2006/relationships/tags" Target="../tags/tag205.xml"/><Relationship Id="rId34" Type="http://schemas.openxmlformats.org/officeDocument/2006/relationships/tags" Target="../tags/tag204.xml"/><Relationship Id="rId33" Type="http://schemas.openxmlformats.org/officeDocument/2006/relationships/tags" Target="../tags/tag203.xml"/><Relationship Id="rId32" Type="http://schemas.openxmlformats.org/officeDocument/2006/relationships/tags" Target="../tags/tag202.xml"/><Relationship Id="rId31" Type="http://schemas.openxmlformats.org/officeDocument/2006/relationships/tags" Target="../tags/tag201.xml"/><Relationship Id="rId30" Type="http://schemas.openxmlformats.org/officeDocument/2006/relationships/tags" Target="../tags/tag200.xml"/><Relationship Id="rId3" Type="http://schemas.openxmlformats.org/officeDocument/2006/relationships/tags" Target="../tags/tag173.xml"/><Relationship Id="rId29" Type="http://schemas.openxmlformats.org/officeDocument/2006/relationships/tags" Target="../tags/tag199.xml"/><Relationship Id="rId28" Type="http://schemas.openxmlformats.org/officeDocument/2006/relationships/tags" Target="../tags/tag198.xml"/><Relationship Id="rId27" Type="http://schemas.openxmlformats.org/officeDocument/2006/relationships/tags" Target="../tags/tag197.xml"/><Relationship Id="rId26" Type="http://schemas.openxmlformats.org/officeDocument/2006/relationships/tags" Target="../tags/tag196.xml"/><Relationship Id="rId25" Type="http://schemas.openxmlformats.org/officeDocument/2006/relationships/tags" Target="../tags/tag195.xml"/><Relationship Id="rId24" Type="http://schemas.openxmlformats.org/officeDocument/2006/relationships/tags" Target="../tags/tag194.xml"/><Relationship Id="rId23" Type="http://schemas.openxmlformats.org/officeDocument/2006/relationships/tags" Target="../tags/tag193.xml"/><Relationship Id="rId22" Type="http://schemas.openxmlformats.org/officeDocument/2006/relationships/tags" Target="../tags/tag192.xml"/><Relationship Id="rId21" Type="http://schemas.openxmlformats.org/officeDocument/2006/relationships/tags" Target="../tags/tag191.xml"/><Relationship Id="rId20" Type="http://schemas.openxmlformats.org/officeDocument/2006/relationships/tags" Target="../tags/tag190.xml"/><Relationship Id="rId2" Type="http://schemas.openxmlformats.org/officeDocument/2006/relationships/tags" Target="../tags/tag172.xml"/><Relationship Id="rId19" Type="http://schemas.openxmlformats.org/officeDocument/2006/relationships/tags" Target="../tags/tag189.xml"/><Relationship Id="rId18" Type="http://schemas.openxmlformats.org/officeDocument/2006/relationships/tags" Target="../tags/tag188.xml"/><Relationship Id="rId17" Type="http://schemas.openxmlformats.org/officeDocument/2006/relationships/tags" Target="../tags/tag187.xml"/><Relationship Id="rId16" Type="http://schemas.openxmlformats.org/officeDocument/2006/relationships/tags" Target="../tags/tag186.xml"/><Relationship Id="rId15" Type="http://schemas.openxmlformats.org/officeDocument/2006/relationships/tags" Target="../tags/tag185.xml"/><Relationship Id="rId14" Type="http://schemas.openxmlformats.org/officeDocument/2006/relationships/tags" Target="../tags/tag184.xml"/><Relationship Id="rId13" Type="http://schemas.openxmlformats.org/officeDocument/2006/relationships/tags" Target="../tags/tag183.xml"/><Relationship Id="rId12" Type="http://schemas.openxmlformats.org/officeDocument/2006/relationships/tags" Target="../tags/tag182.xml"/><Relationship Id="rId11" Type="http://schemas.openxmlformats.org/officeDocument/2006/relationships/tags" Target="../tags/tag181.xml"/><Relationship Id="rId10" Type="http://schemas.openxmlformats.org/officeDocument/2006/relationships/tags" Target="../tags/tag180.xml"/><Relationship Id="rId1" Type="http://schemas.openxmlformats.org/officeDocument/2006/relationships/tags" Target="../tags/tag171.xml"/></Relationships>
</file>

<file path=ppt/slides/_rels/slide9.xml.rels><?xml version="1.0" encoding="UTF-8" standalone="yes"?>
<Relationships xmlns="http://schemas.openxmlformats.org/package/2006/relationships"><Relationship Id="rId9" Type="http://schemas.openxmlformats.org/officeDocument/2006/relationships/tags" Target="../tags/tag231.xml"/><Relationship Id="rId8" Type="http://schemas.openxmlformats.org/officeDocument/2006/relationships/tags" Target="../tags/tag230.xml"/><Relationship Id="rId7" Type="http://schemas.openxmlformats.org/officeDocument/2006/relationships/tags" Target="../tags/tag229.xml"/><Relationship Id="rId6" Type="http://schemas.openxmlformats.org/officeDocument/2006/relationships/tags" Target="../tags/tag228.xml"/><Relationship Id="rId5" Type="http://schemas.openxmlformats.org/officeDocument/2006/relationships/tags" Target="../tags/tag227.xml"/><Relationship Id="rId48" Type="http://schemas.openxmlformats.org/officeDocument/2006/relationships/notesSlide" Target="../notesSlides/notesSlide9.xml"/><Relationship Id="rId47" Type="http://schemas.openxmlformats.org/officeDocument/2006/relationships/slideLayout" Target="../slideLayouts/slideLayout7.xml"/><Relationship Id="rId46" Type="http://schemas.openxmlformats.org/officeDocument/2006/relationships/tags" Target="../tags/tag268.xml"/><Relationship Id="rId45" Type="http://schemas.openxmlformats.org/officeDocument/2006/relationships/tags" Target="../tags/tag267.xml"/><Relationship Id="rId44" Type="http://schemas.openxmlformats.org/officeDocument/2006/relationships/tags" Target="../tags/tag266.xml"/><Relationship Id="rId43" Type="http://schemas.openxmlformats.org/officeDocument/2006/relationships/tags" Target="../tags/tag265.xml"/><Relationship Id="rId42" Type="http://schemas.openxmlformats.org/officeDocument/2006/relationships/tags" Target="../tags/tag264.xml"/><Relationship Id="rId41" Type="http://schemas.openxmlformats.org/officeDocument/2006/relationships/tags" Target="../tags/tag263.xml"/><Relationship Id="rId40" Type="http://schemas.openxmlformats.org/officeDocument/2006/relationships/tags" Target="../tags/tag262.xml"/><Relationship Id="rId4" Type="http://schemas.openxmlformats.org/officeDocument/2006/relationships/tags" Target="../tags/tag226.xml"/><Relationship Id="rId39" Type="http://schemas.openxmlformats.org/officeDocument/2006/relationships/tags" Target="../tags/tag261.xml"/><Relationship Id="rId38" Type="http://schemas.openxmlformats.org/officeDocument/2006/relationships/tags" Target="../tags/tag260.xml"/><Relationship Id="rId37" Type="http://schemas.openxmlformats.org/officeDocument/2006/relationships/tags" Target="../tags/tag259.xml"/><Relationship Id="rId36" Type="http://schemas.openxmlformats.org/officeDocument/2006/relationships/tags" Target="../tags/tag258.xml"/><Relationship Id="rId35" Type="http://schemas.openxmlformats.org/officeDocument/2006/relationships/tags" Target="../tags/tag257.xml"/><Relationship Id="rId34" Type="http://schemas.openxmlformats.org/officeDocument/2006/relationships/tags" Target="../tags/tag256.xml"/><Relationship Id="rId33" Type="http://schemas.openxmlformats.org/officeDocument/2006/relationships/tags" Target="../tags/tag255.xml"/><Relationship Id="rId32" Type="http://schemas.openxmlformats.org/officeDocument/2006/relationships/tags" Target="../tags/tag254.xml"/><Relationship Id="rId31" Type="http://schemas.openxmlformats.org/officeDocument/2006/relationships/tags" Target="../tags/tag253.xml"/><Relationship Id="rId30" Type="http://schemas.openxmlformats.org/officeDocument/2006/relationships/tags" Target="../tags/tag252.xml"/><Relationship Id="rId3" Type="http://schemas.openxmlformats.org/officeDocument/2006/relationships/tags" Target="../tags/tag225.xml"/><Relationship Id="rId29" Type="http://schemas.openxmlformats.org/officeDocument/2006/relationships/tags" Target="../tags/tag251.xml"/><Relationship Id="rId28" Type="http://schemas.openxmlformats.org/officeDocument/2006/relationships/tags" Target="../tags/tag250.xml"/><Relationship Id="rId27" Type="http://schemas.openxmlformats.org/officeDocument/2006/relationships/tags" Target="../tags/tag249.xml"/><Relationship Id="rId26" Type="http://schemas.openxmlformats.org/officeDocument/2006/relationships/tags" Target="../tags/tag248.xml"/><Relationship Id="rId25" Type="http://schemas.openxmlformats.org/officeDocument/2006/relationships/tags" Target="../tags/tag247.xml"/><Relationship Id="rId24" Type="http://schemas.openxmlformats.org/officeDocument/2006/relationships/tags" Target="../tags/tag246.xml"/><Relationship Id="rId23" Type="http://schemas.openxmlformats.org/officeDocument/2006/relationships/tags" Target="../tags/tag245.xml"/><Relationship Id="rId22" Type="http://schemas.openxmlformats.org/officeDocument/2006/relationships/tags" Target="../tags/tag244.xml"/><Relationship Id="rId21" Type="http://schemas.openxmlformats.org/officeDocument/2006/relationships/tags" Target="../tags/tag243.xml"/><Relationship Id="rId20" Type="http://schemas.openxmlformats.org/officeDocument/2006/relationships/tags" Target="../tags/tag242.xml"/><Relationship Id="rId2" Type="http://schemas.openxmlformats.org/officeDocument/2006/relationships/tags" Target="../tags/tag224.xml"/><Relationship Id="rId19" Type="http://schemas.openxmlformats.org/officeDocument/2006/relationships/tags" Target="../tags/tag241.xml"/><Relationship Id="rId18" Type="http://schemas.openxmlformats.org/officeDocument/2006/relationships/tags" Target="../tags/tag240.xml"/><Relationship Id="rId17" Type="http://schemas.openxmlformats.org/officeDocument/2006/relationships/tags" Target="../tags/tag239.xml"/><Relationship Id="rId16" Type="http://schemas.openxmlformats.org/officeDocument/2006/relationships/tags" Target="../tags/tag238.xml"/><Relationship Id="rId15" Type="http://schemas.openxmlformats.org/officeDocument/2006/relationships/tags" Target="../tags/tag237.xml"/><Relationship Id="rId14" Type="http://schemas.openxmlformats.org/officeDocument/2006/relationships/tags" Target="../tags/tag236.xml"/><Relationship Id="rId13" Type="http://schemas.openxmlformats.org/officeDocument/2006/relationships/tags" Target="../tags/tag235.xml"/><Relationship Id="rId12" Type="http://schemas.openxmlformats.org/officeDocument/2006/relationships/tags" Target="../tags/tag234.xml"/><Relationship Id="rId11" Type="http://schemas.openxmlformats.org/officeDocument/2006/relationships/tags" Target="../tags/tag233.xml"/><Relationship Id="rId10" Type="http://schemas.openxmlformats.org/officeDocument/2006/relationships/tags" Target="../tags/tag232.xml"/><Relationship Id="rId1" Type="http://schemas.openxmlformats.org/officeDocument/2006/relationships/tags" Target="../tags/tag2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smtClean="0">
                <a:latin typeface="+mn-lt"/>
                <a:ea typeface="+mn-ea"/>
                <a:cs typeface="+mn-ea"/>
                <a:sym typeface="+mn-lt"/>
              </a:rPr>
              <a:t>第一章 数据库介绍</a:t>
            </a:r>
            <a:endParaRPr lang="zh-CN"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系统 </a:t>
            </a:r>
            <a:r>
              <a:rPr lang="en-US" altLang="zh-CN" dirty="0" smtClean="0">
                <a:latin typeface="+mn-lt"/>
                <a:ea typeface="+mn-ea"/>
                <a:cs typeface="+mn-ea"/>
                <a:sym typeface="+mn-lt"/>
              </a:rPr>
              <a:t>(Database System, DBS)</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lstStyle/>
          <a:p>
            <a:r>
              <a:rPr lang="zh-CN" altLang="en-US" sz="2000" dirty="0" smtClean="0">
                <a:latin typeface="+mn-lt"/>
                <a:ea typeface="+mn-ea"/>
                <a:cs typeface="+mn-ea"/>
                <a:sym typeface="+mn-lt"/>
              </a:rPr>
              <a:t>数据库系统是由数据库、数据库管理系统（及其应用开发工具）、应用程序和数据库管理员组成的存储、管理、处理和维护数据的</a:t>
            </a:r>
            <a:r>
              <a:rPr lang="zh-CN" altLang="en-US" sz="2000" b="1" dirty="0" smtClean="0">
                <a:solidFill>
                  <a:srgbClr val="C00000"/>
                </a:solidFill>
                <a:latin typeface="+mn-lt"/>
                <a:ea typeface="+mn-ea"/>
                <a:cs typeface="+mn-ea"/>
                <a:sym typeface="+mn-lt"/>
              </a:rPr>
              <a:t>系统</a:t>
            </a:r>
            <a:r>
              <a:rPr lang="zh-CN" altLang="en-US" sz="2000" dirty="0" smtClean="0">
                <a:latin typeface="+mn-lt"/>
                <a:ea typeface="+mn-ea"/>
                <a:cs typeface="+mn-ea"/>
                <a:sym typeface="+mn-lt"/>
              </a:rPr>
              <a:t>。</a:t>
            </a:r>
            <a:endParaRPr lang="en-US" altLang="zh-CN" sz="2000"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4" name="Rectangle 18"/>
          <p:cNvSpPr>
            <a:spLocks noChangeArrowheads="1"/>
          </p:cNvSpPr>
          <p:nvPr/>
        </p:nvSpPr>
        <p:spPr bwMode="auto">
          <a:xfrm>
            <a:off x="1343472" y="2455845"/>
            <a:ext cx="756084" cy="307758"/>
          </a:xfrm>
          <a:prstGeom prst="rect">
            <a:avLst/>
          </a:prstGeom>
          <a:solidFill>
            <a:schemeClr val="bg1"/>
          </a:solidFill>
          <a:ln w="28575" algn="ctr">
            <a:solidFill>
              <a:srgbClr val="C00000"/>
            </a:solid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400" dirty="0">
                <a:cs typeface="+mn-ea"/>
                <a:sym typeface="+mn-lt"/>
              </a:rPr>
              <a:t>用户</a:t>
            </a:r>
            <a:endParaRPr lang="en-US" altLang="zh-CN" sz="1400" dirty="0">
              <a:cs typeface="+mn-ea"/>
              <a:sym typeface="+mn-lt"/>
            </a:endParaRPr>
          </a:p>
        </p:txBody>
      </p:sp>
      <p:sp>
        <p:nvSpPr>
          <p:cNvPr id="55" name="Rectangle 18"/>
          <p:cNvSpPr>
            <a:spLocks noChangeArrowheads="1"/>
          </p:cNvSpPr>
          <p:nvPr/>
        </p:nvSpPr>
        <p:spPr bwMode="auto">
          <a:xfrm>
            <a:off x="2549606" y="2450592"/>
            <a:ext cx="756084" cy="307758"/>
          </a:xfrm>
          <a:prstGeom prst="rect">
            <a:avLst/>
          </a:prstGeom>
          <a:solidFill>
            <a:schemeClr val="bg1"/>
          </a:solidFill>
          <a:ln w="28575" algn="ctr">
            <a:solidFill>
              <a:srgbClr val="C00000"/>
            </a:solid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400" dirty="0">
                <a:cs typeface="+mn-ea"/>
                <a:sym typeface="+mn-lt"/>
              </a:rPr>
              <a:t>用户</a:t>
            </a:r>
            <a:endParaRPr lang="en-US" altLang="zh-CN" sz="1400" dirty="0">
              <a:cs typeface="+mn-ea"/>
              <a:sym typeface="+mn-lt"/>
            </a:endParaRPr>
          </a:p>
        </p:txBody>
      </p:sp>
      <p:sp>
        <p:nvSpPr>
          <p:cNvPr id="56" name="Rectangle 18"/>
          <p:cNvSpPr>
            <a:spLocks noChangeArrowheads="1"/>
          </p:cNvSpPr>
          <p:nvPr/>
        </p:nvSpPr>
        <p:spPr bwMode="auto">
          <a:xfrm>
            <a:off x="4079776" y="2450592"/>
            <a:ext cx="756084" cy="307758"/>
          </a:xfrm>
          <a:prstGeom prst="rect">
            <a:avLst/>
          </a:prstGeom>
          <a:solidFill>
            <a:schemeClr val="bg1"/>
          </a:solidFill>
          <a:ln w="28575" algn="ctr">
            <a:solidFill>
              <a:srgbClr val="C00000"/>
            </a:solid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400" dirty="0">
                <a:cs typeface="+mn-ea"/>
                <a:sym typeface="+mn-lt"/>
              </a:rPr>
              <a:t>用户</a:t>
            </a:r>
            <a:endParaRPr lang="en-US" altLang="zh-CN" sz="1400" dirty="0">
              <a:cs typeface="+mn-ea"/>
              <a:sym typeface="+mn-lt"/>
            </a:endParaRPr>
          </a:p>
        </p:txBody>
      </p:sp>
      <p:sp>
        <p:nvSpPr>
          <p:cNvPr id="57" name="Rectangle 18"/>
          <p:cNvSpPr>
            <a:spLocks noChangeArrowheads="1"/>
          </p:cNvSpPr>
          <p:nvPr/>
        </p:nvSpPr>
        <p:spPr bwMode="auto">
          <a:xfrm>
            <a:off x="3458707" y="2441697"/>
            <a:ext cx="501159" cy="325083"/>
          </a:xfrm>
          <a:prstGeom prst="rect">
            <a:avLst/>
          </a:prstGeom>
          <a:noFill/>
          <a:ln w="28575" algn="ctr">
            <a:noFill/>
            <a:miter lim="800000"/>
          </a:ln>
          <a:effectLst>
            <a:outerShdw blurRad="50800" dist="38100" dir="2700000" algn="tl" rotWithShape="0">
              <a:prstClr val="black">
                <a:alpha val="40000"/>
              </a:prstClr>
            </a:outerShdw>
          </a:effectLst>
        </p:spPr>
        <p:txBody>
          <a:bodyPr wrap="none" lIns="91422" tIns="45711" rIns="91422" bIns="45711" anchor="ctr"/>
          <a:lstStyle/>
          <a:p>
            <a:pPr algn="ctr" defTabSz="914400"/>
            <a:r>
              <a:rPr kumimoji="1" lang="en-US" altLang="zh-CN" sz="1600" b="1" dirty="0" smtClean="0">
                <a:cs typeface="+mn-ea"/>
                <a:sym typeface="+mn-lt"/>
              </a:rPr>
              <a:t>…</a:t>
            </a:r>
            <a:endParaRPr kumimoji="1" lang="en-US" altLang="zh-CN" sz="1600" b="1" dirty="0">
              <a:cs typeface="+mn-ea"/>
              <a:sym typeface="+mn-lt"/>
            </a:endParaRPr>
          </a:p>
        </p:txBody>
      </p:sp>
      <p:sp>
        <p:nvSpPr>
          <p:cNvPr id="5" name="流程图: 可选过程 4"/>
          <p:cNvSpPr/>
          <p:nvPr/>
        </p:nvSpPr>
        <p:spPr bwMode="auto">
          <a:xfrm>
            <a:off x="2267678" y="3146596"/>
            <a:ext cx="1314146" cy="306447"/>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a:cs typeface="+mn-ea"/>
                <a:sym typeface="+mn-lt"/>
              </a:rPr>
              <a:t>应用系统</a:t>
            </a:r>
            <a:endParaRPr lang="zh-CN" altLang="en-US" sz="1200" dirty="0">
              <a:cs typeface="+mn-ea"/>
              <a:sym typeface="+mn-lt"/>
            </a:endParaRPr>
          </a:p>
        </p:txBody>
      </p:sp>
      <p:sp>
        <p:nvSpPr>
          <p:cNvPr id="63" name="流程图: 可选过程 62"/>
          <p:cNvSpPr/>
          <p:nvPr/>
        </p:nvSpPr>
        <p:spPr bwMode="auto">
          <a:xfrm>
            <a:off x="2267678" y="3717111"/>
            <a:ext cx="1314146" cy="314877"/>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a:cs typeface="+mn-ea"/>
                <a:sym typeface="+mn-lt"/>
              </a:rPr>
              <a:t>应用开发工具</a:t>
            </a:r>
            <a:endParaRPr lang="zh-CN" altLang="en-US" sz="1200" dirty="0">
              <a:cs typeface="+mn-ea"/>
              <a:sym typeface="+mn-lt"/>
            </a:endParaRPr>
          </a:p>
        </p:txBody>
      </p:sp>
      <p:sp>
        <p:nvSpPr>
          <p:cNvPr id="64" name="流程图: 可选过程 63"/>
          <p:cNvSpPr/>
          <p:nvPr/>
        </p:nvSpPr>
        <p:spPr bwMode="auto">
          <a:xfrm>
            <a:off x="2267678" y="4296056"/>
            <a:ext cx="1314146" cy="314877"/>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a:cs typeface="+mn-ea"/>
                <a:sym typeface="+mn-lt"/>
              </a:rPr>
              <a:t>数据库管理系统</a:t>
            </a:r>
            <a:endParaRPr lang="zh-CN" altLang="en-US" sz="1200" dirty="0">
              <a:cs typeface="+mn-ea"/>
              <a:sym typeface="+mn-lt"/>
            </a:endParaRPr>
          </a:p>
        </p:txBody>
      </p:sp>
      <p:sp>
        <p:nvSpPr>
          <p:cNvPr id="65" name="流程图: 可选过程 64"/>
          <p:cNvSpPr/>
          <p:nvPr/>
        </p:nvSpPr>
        <p:spPr bwMode="auto">
          <a:xfrm>
            <a:off x="2267678" y="4875001"/>
            <a:ext cx="1314146" cy="314877"/>
          </a:xfrm>
          <a:prstGeom prst="flowChartAlternateProcess">
            <a:avLst/>
          </a:prstGeom>
          <a:noFill/>
          <a:ln w="12700" cap="flat" cmpd="sng" algn="ctr">
            <a:solidFill>
              <a:srgbClr val="CCCCFF"/>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a:cs typeface="+mn-ea"/>
                <a:sym typeface="+mn-lt"/>
              </a:rPr>
              <a:t>操作系统</a:t>
            </a:r>
            <a:endParaRPr lang="zh-CN" altLang="en-US" sz="1200" dirty="0">
              <a:cs typeface="+mn-ea"/>
              <a:sym typeface="+mn-lt"/>
            </a:endParaRPr>
          </a:p>
        </p:txBody>
      </p:sp>
      <p:sp>
        <p:nvSpPr>
          <p:cNvPr id="6" name="流程图: 磁盘 5"/>
          <p:cNvSpPr/>
          <p:nvPr/>
        </p:nvSpPr>
        <p:spPr bwMode="auto">
          <a:xfrm>
            <a:off x="2387588" y="5453946"/>
            <a:ext cx="1074327" cy="489073"/>
          </a:xfrm>
          <a:prstGeom prst="flowChartMagneticDisk">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a:cs typeface="+mn-ea"/>
                <a:sym typeface="+mn-lt"/>
              </a:rPr>
              <a:t>数据库</a:t>
            </a:r>
            <a:endParaRPr lang="zh-CN" altLang="en-US" sz="1200" dirty="0">
              <a:cs typeface="+mn-ea"/>
              <a:sym typeface="+mn-lt"/>
            </a:endParaRPr>
          </a:p>
        </p:txBody>
      </p:sp>
      <p:sp>
        <p:nvSpPr>
          <p:cNvPr id="66" name="流程图: 可选过程 65"/>
          <p:cNvSpPr/>
          <p:nvPr/>
        </p:nvSpPr>
        <p:spPr bwMode="auto">
          <a:xfrm>
            <a:off x="4124781" y="4296055"/>
            <a:ext cx="1314146" cy="314877"/>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200" dirty="0" smtClean="0">
                <a:cs typeface="+mn-ea"/>
                <a:sym typeface="+mn-lt"/>
              </a:rPr>
              <a:t>数据库管理员</a:t>
            </a:r>
            <a:endParaRPr lang="zh-CN" altLang="en-US" sz="1200" dirty="0">
              <a:cs typeface="+mn-ea"/>
              <a:sym typeface="+mn-lt"/>
            </a:endParaRPr>
          </a:p>
        </p:txBody>
      </p:sp>
      <p:cxnSp>
        <p:nvCxnSpPr>
          <p:cNvPr id="67" name="直接箭头连接符 66"/>
          <p:cNvCxnSpPr>
            <a:stCxn id="66" idx="1"/>
            <a:endCxn id="64" idx="3"/>
          </p:cNvCxnSpPr>
          <p:nvPr/>
        </p:nvCxnSpPr>
        <p:spPr bwMode="auto">
          <a:xfrm flipH="1">
            <a:off x="3581824" y="4453494"/>
            <a:ext cx="542957" cy="1"/>
          </a:xfrm>
          <a:prstGeom prst="straightConnector1">
            <a:avLst/>
          </a:prstGeom>
          <a:noFill/>
          <a:ln w="28575" cap="flat" cmpd="sng" algn="ctr">
            <a:solidFill>
              <a:srgbClr val="006699"/>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69" name="肘形连接符 68"/>
          <p:cNvCxnSpPr>
            <a:stCxn id="66" idx="2"/>
            <a:endCxn id="6" idx="4"/>
          </p:cNvCxnSpPr>
          <p:nvPr/>
        </p:nvCxnSpPr>
        <p:spPr bwMode="auto">
          <a:xfrm rot="5400000">
            <a:off x="3578110" y="4494738"/>
            <a:ext cx="1087551" cy="1319939"/>
          </a:xfrm>
          <a:prstGeom prst="bentConnector2">
            <a:avLst/>
          </a:prstGeom>
          <a:noFill/>
          <a:ln w="28575" cap="flat" cmpd="sng" algn="ctr">
            <a:solidFill>
              <a:srgbClr val="006699"/>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71" name="直接连接符 70"/>
          <p:cNvCxnSpPr>
            <a:stCxn id="5" idx="2"/>
            <a:endCxn id="63" idx="0"/>
          </p:cNvCxnSpPr>
          <p:nvPr/>
        </p:nvCxnSpPr>
        <p:spPr bwMode="auto">
          <a:xfrm>
            <a:off x="2924751" y="3453043"/>
            <a:ext cx="0" cy="264068"/>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72" name="直接连接符 71"/>
          <p:cNvCxnSpPr>
            <a:stCxn id="63" idx="2"/>
            <a:endCxn id="64" idx="0"/>
          </p:cNvCxnSpPr>
          <p:nvPr/>
        </p:nvCxnSpPr>
        <p:spPr bwMode="auto">
          <a:xfrm>
            <a:off x="2924751" y="4031988"/>
            <a:ext cx="0" cy="264068"/>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75" name="直接连接符 74"/>
          <p:cNvCxnSpPr>
            <a:endCxn id="65" idx="0"/>
          </p:cNvCxnSpPr>
          <p:nvPr/>
        </p:nvCxnSpPr>
        <p:spPr bwMode="auto">
          <a:xfrm>
            <a:off x="2924751" y="4610932"/>
            <a:ext cx="0" cy="26406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78" name="直接连接符 77"/>
          <p:cNvCxnSpPr>
            <a:stCxn id="65" idx="2"/>
            <a:endCxn id="6" idx="1"/>
          </p:cNvCxnSpPr>
          <p:nvPr/>
        </p:nvCxnSpPr>
        <p:spPr bwMode="auto">
          <a:xfrm>
            <a:off x="2924751" y="5189878"/>
            <a:ext cx="1" cy="264068"/>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81" name="直接箭头连接符 80"/>
          <p:cNvCxnSpPr>
            <a:stCxn id="54" idx="2"/>
            <a:endCxn id="5" idx="1"/>
          </p:cNvCxnSpPr>
          <p:nvPr/>
        </p:nvCxnSpPr>
        <p:spPr bwMode="auto">
          <a:xfrm>
            <a:off x="1721514" y="2763603"/>
            <a:ext cx="546164" cy="536217"/>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84" name="直接箭头连接符 83"/>
          <p:cNvCxnSpPr>
            <a:stCxn id="55" idx="2"/>
            <a:endCxn id="5" idx="0"/>
          </p:cNvCxnSpPr>
          <p:nvPr/>
        </p:nvCxnSpPr>
        <p:spPr bwMode="auto">
          <a:xfrm flipH="1">
            <a:off x="2924751" y="2758350"/>
            <a:ext cx="2897" cy="388246"/>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88" name="直接箭头连接符 87"/>
          <p:cNvCxnSpPr>
            <a:stCxn id="56" idx="2"/>
            <a:endCxn id="5" idx="3"/>
          </p:cNvCxnSpPr>
          <p:nvPr/>
        </p:nvCxnSpPr>
        <p:spPr bwMode="auto">
          <a:xfrm flipH="1">
            <a:off x="3581824" y="2758350"/>
            <a:ext cx="875994" cy="541470"/>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sp>
        <p:nvSpPr>
          <p:cNvPr id="92" name="椭圆 91"/>
          <p:cNvSpPr/>
          <p:nvPr/>
        </p:nvSpPr>
        <p:spPr bwMode="auto">
          <a:xfrm>
            <a:off x="8559609" y="3994368"/>
            <a:ext cx="648074" cy="567246"/>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94" name="椭圆 93"/>
          <p:cNvSpPr/>
          <p:nvPr/>
        </p:nvSpPr>
        <p:spPr bwMode="auto">
          <a:xfrm>
            <a:off x="8167246" y="3575817"/>
            <a:ext cx="1438129" cy="1404349"/>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96" name="椭圆 95"/>
          <p:cNvSpPr/>
          <p:nvPr/>
        </p:nvSpPr>
        <p:spPr bwMode="auto">
          <a:xfrm>
            <a:off x="7687124" y="3164793"/>
            <a:ext cx="2398372" cy="2226397"/>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97" name="文本框 96"/>
          <p:cNvSpPr txBox="1"/>
          <p:nvPr/>
        </p:nvSpPr>
        <p:spPr bwMode="auto">
          <a:xfrm>
            <a:off x="8472264" y="4210541"/>
            <a:ext cx="822764"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cs typeface="+mn-ea"/>
                <a:sym typeface="+mn-lt"/>
              </a:rPr>
              <a:t>硬件</a:t>
            </a:r>
            <a:endParaRPr kumimoji="1" lang="zh-CN" altLang="en-US" sz="1200" b="1" dirty="0">
              <a:cs typeface="+mn-ea"/>
              <a:sym typeface="+mn-lt"/>
            </a:endParaRPr>
          </a:p>
        </p:txBody>
      </p:sp>
      <p:sp>
        <p:nvSpPr>
          <p:cNvPr id="99" name="文本框 98"/>
          <p:cNvSpPr txBox="1"/>
          <p:nvPr/>
        </p:nvSpPr>
        <p:spPr bwMode="auto">
          <a:xfrm>
            <a:off x="8543537" y="3780377"/>
            <a:ext cx="680218"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操作系统</a:t>
            </a:r>
            <a:endParaRPr kumimoji="1" lang="zh-CN" altLang="en-US" sz="1200" b="1" dirty="0">
              <a:cs typeface="+mn-ea"/>
              <a:sym typeface="+mn-lt"/>
            </a:endParaRPr>
          </a:p>
        </p:txBody>
      </p:sp>
      <p:sp>
        <p:nvSpPr>
          <p:cNvPr id="100" name="文本框 99"/>
          <p:cNvSpPr txBox="1"/>
          <p:nvPr/>
        </p:nvSpPr>
        <p:spPr bwMode="auto">
          <a:xfrm>
            <a:off x="8623858" y="3420430"/>
            <a:ext cx="519577" cy="184666"/>
          </a:xfrm>
          <a:prstGeom prst="rect">
            <a:avLst/>
          </a:prstGeom>
          <a:noFill/>
          <a:ln w="9525" algn="ctr">
            <a:noFill/>
            <a:miter lim="800000"/>
          </a:ln>
        </p:spPr>
        <p:txBody>
          <a:bodyPr vert="horz" wrap="square" lIns="0" tIns="0" rIns="0" bIns="0" numCol="1" rtlCol="0" anchor="ctr" anchorCtr="0" compatLnSpc="1">
            <a:spAutoFit/>
          </a:bodyPr>
          <a:lstStyle/>
          <a:p>
            <a:pPr algn="ctr"/>
            <a:endParaRPr kumimoji="1" lang="zh-CN" altLang="en-US" sz="1200" b="1" dirty="0">
              <a:cs typeface="+mn-ea"/>
              <a:sym typeface="+mn-lt"/>
            </a:endParaRPr>
          </a:p>
        </p:txBody>
      </p:sp>
      <p:sp>
        <p:nvSpPr>
          <p:cNvPr id="101" name="文本框 100"/>
          <p:cNvSpPr txBox="1"/>
          <p:nvPr/>
        </p:nvSpPr>
        <p:spPr bwMode="auto">
          <a:xfrm>
            <a:off x="8533468" y="3230455"/>
            <a:ext cx="700356"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solidFill>
                  <a:srgbClr val="C00000"/>
                </a:solidFill>
                <a:cs typeface="+mn-ea"/>
                <a:sym typeface="+mn-lt"/>
              </a:rPr>
              <a:t>数据库管理系统</a:t>
            </a:r>
            <a:endParaRPr kumimoji="1" lang="zh-CN" altLang="en-US" sz="1200" b="1" dirty="0">
              <a:solidFill>
                <a:srgbClr val="C00000"/>
              </a:solidFill>
              <a:cs typeface="+mn-ea"/>
              <a:sym typeface="+mn-lt"/>
            </a:endParaRPr>
          </a:p>
        </p:txBody>
      </p:sp>
      <p:sp>
        <p:nvSpPr>
          <p:cNvPr id="102" name="椭圆 101"/>
          <p:cNvSpPr/>
          <p:nvPr/>
        </p:nvSpPr>
        <p:spPr bwMode="auto">
          <a:xfrm>
            <a:off x="7324059" y="2750118"/>
            <a:ext cx="3124502" cy="3055746"/>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103" name="文本框 102"/>
          <p:cNvSpPr txBox="1"/>
          <p:nvPr/>
        </p:nvSpPr>
        <p:spPr bwMode="auto">
          <a:xfrm>
            <a:off x="8472264" y="2811934"/>
            <a:ext cx="822764" cy="36933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应用开发</a:t>
            </a:r>
            <a:endParaRPr kumimoji="1" lang="en-US" altLang="zh-CN" sz="1200" b="1" dirty="0" smtClean="0">
              <a:cs typeface="+mn-ea"/>
              <a:sym typeface="+mn-lt"/>
            </a:endParaRPr>
          </a:p>
          <a:p>
            <a:pPr algn="ctr"/>
            <a:r>
              <a:rPr kumimoji="1" lang="zh-CN" altLang="en-US" sz="1200" b="1" dirty="0" smtClean="0">
                <a:cs typeface="+mn-ea"/>
                <a:sym typeface="+mn-lt"/>
              </a:rPr>
              <a:t>工具</a:t>
            </a:r>
            <a:endParaRPr kumimoji="1" lang="zh-CN" altLang="en-US" sz="1200" b="1" dirty="0">
              <a:cs typeface="+mn-ea"/>
              <a:sym typeface="+mn-lt"/>
            </a:endParaRPr>
          </a:p>
        </p:txBody>
      </p:sp>
      <p:sp>
        <p:nvSpPr>
          <p:cNvPr id="104" name="椭圆 103"/>
          <p:cNvSpPr/>
          <p:nvPr/>
        </p:nvSpPr>
        <p:spPr bwMode="auto">
          <a:xfrm>
            <a:off x="6888088" y="2402363"/>
            <a:ext cx="3996444" cy="3751257"/>
          </a:xfrm>
          <a:prstGeom prst="ellips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
        <p:nvSpPr>
          <p:cNvPr id="105" name="文本框 104"/>
          <p:cNvSpPr txBox="1"/>
          <p:nvPr/>
        </p:nvSpPr>
        <p:spPr bwMode="auto">
          <a:xfrm>
            <a:off x="8472264" y="2495791"/>
            <a:ext cx="822764" cy="184666"/>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smtClean="0">
                <a:cs typeface="+mn-ea"/>
                <a:sym typeface="+mn-lt"/>
              </a:rPr>
              <a:t>应用系统</a:t>
            </a:r>
            <a:endParaRPr kumimoji="1" lang="zh-CN" altLang="en-US" sz="1200" b="1" dirty="0">
              <a:cs typeface="+mn-ea"/>
              <a:sym typeface="+mn-lt"/>
            </a:endParaRPr>
          </a:p>
        </p:txBody>
      </p:sp>
      <p:sp>
        <p:nvSpPr>
          <p:cNvPr id="119" name="文本框 118"/>
          <p:cNvSpPr txBox="1"/>
          <p:nvPr/>
        </p:nvSpPr>
        <p:spPr bwMode="auto">
          <a:xfrm>
            <a:off x="7788188" y="2024844"/>
            <a:ext cx="1981786"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b="1" dirty="0" smtClean="0">
                <a:cs typeface="+mn-ea"/>
                <a:sym typeface="+mn-lt"/>
              </a:rPr>
              <a:t>计算机系统层次结构图</a:t>
            </a:r>
            <a:endParaRPr kumimoji="1" lang="zh-CN" altLang="en-US" sz="1600" b="1" dirty="0">
              <a:cs typeface="+mn-ea"/>
              <a:sym typeface="+mn-lt"/>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smtClean="0">
                <a:solidFill>
                  <a:schemeClr val="bg1">
                    <a:lumMod val="50000"/>
                  </a:schemeClr>
                </a:solidFill>
                <a:cs typeface="+mn-ea"/>
                <a:sym typeface="+mn-lt"/>
              </a:rPr>
              <a:t>数据库技术概述</a:t>
            </a:r>
            <a:endParaRPr lang="en-US" altLang="zh-CN" dirty="0">
              <a:solidFill>
                <a:schemeClr val="bg1">
                  <a:lumMod val="50000"/>
                </a:schemeClr>
              </a:solidFill>
              <a:cs typeface="+mn-ea"/>
              <a:sym typeface="+mn-lt"/>
            </a:endParaRPr>
          </a:p>
          <a:p>
            <a:r>
              <a:rPr lang="zh-CN" altLang="en-US" b="1" dirty="0">
                <a:cs typeface="+mn-ea"/>
                <a:sym typeface="+mn-lt"/>
              </a:rPr>
              <a:t>数据库技术发展史</a:t>
            </a:r>
            <a:endParaRPr lang="zh-CN" altLang="en-US" b="1" dirty="0">
              <a:cs typeface="+mn-ea"/>
              <a:sym typeface="+mn-lt"/>
            </a:endParaRPr>
          </a:p>
          <a:p>
            <a:r>
              <a:rPr lang="zh-CN" altLang="en-US" dirty="0" smtClean="0">
                <a:solidFill>
                  <a:schemeClr val="bg1">
                    <a:lumMod val="50000"/>
                  </a:schemeClr>
                </a:solidFill>
                <a:cs typeface="+mn-ea"/>
                <a:sym typeface="+mn-lt"/>
              </a:rPr>
              <a:t>关系型数据库架构</a:t>
            </a:r>
            <a:r>
              <a:rPr lang="zh-CN" altLang="en-US" dirty="0">
                <a:solidFill>
                  <a:schemeClr val="bg1">
                    <a:lumMod val="50000"/>
                  </a:schemeClr>
                </a:solidFill>
                <a:cs typeface="+mn-ea"/>
                <a:sym typeface="+mn-lt"/>
              </a:rPr>
              <a:t>介绍</a:t>
            </a:r>
            <a:endParaRPr lang="en-US" altLang="zh-CN" dirty="0">
              <a:solidFill>
                <a:schemeClr val="bg1">
                  <a:lumMod val="50000"/>
                </a:schemeClr>
              </a:solidFill>
              <a:cs typeface="+mn-ea"/>
              <a:sym typeface="+mn-lt"/>
            </a:endParaRPr>
          </a:p>
          <a:p>
            <a:r>
              <a:rPr lang="zh-CN" altLang="en-US" dirty="0" smtClean="0">
                <a:solidFill>
                  <a:schemeClr val="bg1">
                    <a:lumMod val="50000"/>
                  </a:schemeClr>
                </a:solidFill>
                <a:cs typeface="+mn-ea"/>
                <a:sym typeface="+mn-lt"/>
              </a:rPr>
              <a:t>关系型数据库主流应用场景</a:t>
            </a:r>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技术产生与发展</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normAutofit/>
          </a:bodyPr>
          <a:lstStyle/>
          <a:p>
            <a:r>
              <a:rPr lang="zh-CN" altLang="en-US" sz="1800" dirty="0" smtClean="0">
                <a:latin typeface="+mn-lt"/>
                <a:ea typeface="+mn-ea"/>
                <a:cs typeface="+mn-ea"/>
                <a:sym typeface="+mn-lt"/>
              </a:rPr>
              <a:t>数据库技术应数据管理任务的需要而产生。</a:t>
            </a:r>
            <a:endParaRPr lang="en-US" altLang="zh-CN" sz="1800" dirty="0" smtClean="0">
              <a:latin typeface="+mn-lt"/>
              <a:ea typeface="+mn-ea"/>
              <a:cs typeface="+mn-ea"/>
              <a:sym typeface="+mn-lt"/>
            </a:endParaRPr>
          </a:p>
          <a:p>
            <a:r>
              <a:rPr lang="zh-CN" altLang="en-US" sz="1800" dirty="0" smtClean="0">
                <a:latin typeface="+mn-lt"/>
                <a:ea typeface="+mn-ea"/>
                <a:cs typeface="+mn-ea"/>
                <a:sym typeface="+mn-lt"/>
              </a:rPr>
              <a:t>数据管理的发展</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应用需求推动；</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软硬件的飞速发展为基础；</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三个阶段：人工管理、文件系统、数据库系统。</a:t>
            </a:r>
            <a:endParaRPr lang="en-US" altLang="zh-CN" sz="1600" dirty="0" smtClean="0">
              <a:latin typeface="+mn-lt"/>
              <a:ea typeface="+mn-ea"/>
              <a:cs typeface="+mn-ea"/>
              <a:sym typeface="+mn-lt"/>
            </a:endParaRPr>
          </a:p>
          <a:p>
            <a:pPr lvl="1"/>
            <a:endParaRPr lang="en-US" altLang="zh-CN" sz="1600"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6" name="Line 5"/>
          <p:cNvSpPr>
            <a:spLocks noChangeShapeType="1"/>
          </p:cNvSpPr>
          <p:nvPr/>
        </p:nvSpPr>
        <p:spPr bwMode="auto">
          <a:xfrm>
            <a:off x="3038179" y="4687322"/>
            <a:ext cx="16762" cy="1404469"/>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cs typeface="+mn-ea"/>
              <a:sym typeface="+mn-lt"/>
            </a:endParaRPr>
          </a:p>
        </p:txBody>
      </p:sp>
      <p:sp>
        <p:nvSpPr>
          <p:cNvPr id="57" name="Line 6"/>
          <p:cNvSpPr>
            <a:spLocks noChangeShapeType="1"/>
          </p:cNvSpPr>
          <p:nvPr/>
        </p:nvSpPr>
        <p:spPr bwMode="auto">
          <a:xfrm>
            <a:off x="4028625" y="3823696"/>
            <a:ext cx="9804" cy="2255182"/>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cs typeface="+mn-ea"/>
              <a:sym typeface="+mn-lt"/>
            </a:endParaRPr>
          </a:p>
        </p:txBody>
      </p:sp>
      <p:sp>
        <p:nvSpPr>
          <p:cNvPr id="58" name="Text Box 8"/>
          <p:cNvSpPr txBox="1">
            <a:spLocks noChangeArrowheads="1"/>
          </p:cNvSpPr>
          <p:nvPr/>
        </p:nvSpPr>
        <p:spPr bwMode="auto">
          <a:xfrm>
            <a:off x="231192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1950</a:t>
            </a:r>
            <a:endParaRPr kumimoji="1" lang="en-US" altLang="zh-CN" sz="1400" dirty="0">
              <a:cs typeface="+mn-ea"/>
              <a:sym typeface="+mn-lt"/>
            </a:endParaRPr>
          </a:p>
        </p:txBody>
      </p:sp>
      <p:sp>
        <p:nvSpPr>
          <p:cNvPr id="59" name="Text Box 9"/>
          <p:cNvSpPr txBox="1">
            <a:spLocks noChangeArrowheads="1"/>
          </p:cNvSpPr>
          <p:nvPr/>
        </p:nvSpPr>
        <p:spPr bwMode="auto">
          <a:xfrm>
            <a:off x="322407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1960</a:t>
            </a:r>
            <a:endParaRPr kumimoji="1" lang="en-US" altLang="zh-CN" sz="1400" dirty="0">
              <a:cs typeface="+mn-ea"/>
              <a:sym typeface="+mn-lt"/>
            </a:endParaRPr>
          </a:p>
        </p:txBody>
      </p:sp>
      <p:sp>
        <p:nvSpPr>
          <p:cNvPr id="65" name="Line 20"/>
          <p:cNvSpPr>
            <a:spLocks noChangeShapeType="1"/>
          </p:cNvSpPr>
          <p:nvPr/>
        </p:nvSpPr>
        <p:spPr bwMode="auto">
          <a:xfrm flipV="1">
            <a:off x="2033866" y="6076547"/>
            <a:ext cx="7410505" cy="2331"/>
          </a:xfrm>
          <a:prstGeom prst="line">
            <a:avLst/>
          </a:prstGeom>
          <a:noFill/>
          <a:ln w="38100">
            <a:solidFill>
              <a:schemeClr val="tx1"/>
            </a:solidFill>
            <a:round/>
            <a:tailEnd type="arrow" w="med" len="med"/>
          </a:ln>
          <a:effectLst/>
        </p:spPr>
        <p:txBody>
          <a:bodyPr wrap="square" lIns="83448" tIns="41724" rIns="83448" bIns="41724" anchor="ctr">
            <a:spAutoFit/>
          </a:bodyPr>
          <a:lstStyle/>
          <a:p>
            <a:endParaRPr lang="en-US" sz="800">
              <a:cs typeface="+mn-ea"/>
              <a:sym typeface="+mn-lt"/>
            </a:endParaRPr>
          </a:p>
        </p:txBody>
      </p:sp>
      <p:sp>
        <p:nvSpPr>
          <p:cNvPr id="70" name="Text Box 10"/>
          <p:cNvSpPr txBox="1">
            <a:spLocks noChangeArrowheads="1"/>
          </p:cNvSpPr>
          <p:nvPr/>
        </p:nvSpPr>
        <p:spPr bwMode="auto">
          <a:xfrm>
            <a:off x="413622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1970</a:t>
            </a:r>
            <a:endParaRPr kumimoji="1" lang="en-US" altLang="zh-CN" sz="1400" dirty="0">
              <a:cs typeface="+mn-ea"/>
              <a:sym typeface="+mn-lt"/>
            </a:endParaRPr>
          </a:p>
        </p:txBody>
      </p:sp>
      <p:sp>
        <p:nvSpPr>
          <p:cNvPr id="71" name="Text Box 10"/>
          <p:cNvSpPr txBox="1">
            <a:spLocks noChangeArrowheads="1"/>
          </p:cNvSpPr>
          <p:nvPr/>
        </p:nvSpPr>
        <p:spPr bwMode="auto">
          <a:xfrm>
            <a:off x="687267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2000</a:t>
            </a:r>
            <a:endParaRPr kumimoji="1" lang="en-US" altLang="zh-CN" sz="1400" dirty="0">
              <a:cs typeface="+mn-ea"/>
              <a:sym typeface="+mn-lt"/>
            </a:endParaRPr>
          </a:p>
        </p:txBody>
      </p:sp>
      <p:sp>
        <p:nvSpPr>
          <p:cNvPr id="72" name="Text Box 15"/>
          <p:cNvSpPr txBox="1">
            <a:spLocks noChangeArrowheads="1"/>
          </p:cNvSpPr>
          <p:nvPr/>
        </p:nvSpPr>
        <p:spPr bwMode="auto">
          <a:xfrm>
            <a:off x="778482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2010</a:t>
            </a:r>
            <a:endParaRPr kumimoji="1" lang="en-US" altLang="zh-CN" sz="1400" dirty="0">
              <a:cs typeface="+mn-ea"/>
              <a:sym typeface="+mn-lt"/>
            </a:endParaRPr>
          </a:p>
        </p:txBody>
      </p:sp>
      <p:cxnSp>
        <p:nvCxnSpPr>
          <p:cNvPr id="81" name="直接箭头连接符 80"/>
          <p:cNvCxnSpPr/>
          <p:nvPr/>
        </p:nvCxnSpPr>
        <p:spPr bwMode="auto">
          <a:xfrm>
            <a:off x="1900062" y="5049180"/>
            <a:ext cx="1038923" cy="0"/>
          </a:xfrm>
          <a:prstGeom prst="straightConnector1">
            <a:avLst/>
          </a:prstGeom>
          <a:solidFill>
            <a:schemeClr val="accent1"/>
          </a:solidFill>
          <a:ln w="19050" cap="flat" cmpd="sng" algn="ctr">
            <a:solidFill>
              <a:schemeClr val="tx1"/>
            </a:solidFill>
            <a:prstDash val="solid"/>
            <a:round/>
            <a:headEnd type="none" w="med" len="med"/>
            <a:tailEnd type="triangle"/>
          </a:ln>
          <a:effectLst>
            <a:outerShdw blurRad="50800" dist="38100" dir="2700000" algn="tl" rotWithShape="0">
              <a:prstClr val="black">
                <a:alpha val="40000"/>
              </a:prstClr>
            </a:outerShdw>
          </a:effectLst>
        </p:spPr>
      </p:cxnSp>
      <p:sp>
        <p:nvSpPr>
          <p:cNvPr id="110" name="椭圆 109"/>
          <p:cNvSpPr/>
          <p:nvPr/>
        </p:nvSpPr>
        <p:spPr bwMode="auto">
          <a:xfrm>
            <a:off x="2582110" y="5933075"/>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111" name="椭圆 110"/>
          <p:cNvSpPr/>
          <p:nvPr/>
        </p:nvSpPr>
        <p:spPr bwMode="auto">
          <a:xfrm>
            <a:off x="3465008" y="5933075"/>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112" name="椭圆 111"/>
          <p:cNvSpPr/>
          <p:nvPr/>
        </p:nvSpPr>
        <p:spPr bwMode="auto">
          <a:xfrm>
            <a:off x="4358566" y="5933075"/>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113" name="文本框 112"/>
          <p:cNvSpPr txBox="1"/>
          <p:nvPr/>
        </p:nvSpPr>
        <p:spPr bwMode="auto">
          <a:xfrm>
            <a:off x="1783041" y="4735843"/>
            <a:ext cx="110783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smtClean="0">
                <a:cs typeface="+mn-ea"/>
                <a:sym typeface="+mn-lt"/>
              </a:rPr>
              <a:t>人工管理阶段</a:t>
            </a:r>
            <a:endParaRPr kumimoji="1" lang="zh-CN" altLang="en-US" sz="1600" dirty="0">
              <a:cs typeface="+mn-ea"/>
              <a:sym typeface="+mn-lt"/>
            </a:endParaRPr>
          </a:p>
        </p:txBody>
      </p:sp>
      <p:sp>
        <p:nvSpPr>
          <p:cNvPr id="117" name="文本框 116"/>
          <p:cNvSpPr txBox="1"/>
          <p:nvPr/>
        </p:nvSpPr>
        <p:spPr bwMode="auto">
          <a:xfrm>
            <a:off x="3130213" y="4203413"/>
            <a:ext cx="777602" cy="430887"/>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smtClean="0">
                <a:cs typeface="+mn-ea"/>
                <a:sym typeface="+mn-lt"/>
              </a:rPr>
              <a:t>文件系统</a:t>
            </a:r>
            <a:endParaRPr kumimoji="1" lang="en-US" altLang="zh-CN" sz="1400" dirty="0" smtClean="0">
              <a:cs typeface="+mn-ea"/>
              <a:sym typeface="+mn-lt"/>
            </a:endParaRPr>
          </a:p>
          <a:p>
            <a:pPr algn="ctr"/>
            <a:r>
              <a:rPr kumimoji="1" lang="zh-CN" altLang="en-US" sz="1400" dirty="0" smtClean="0">
                <a:cs typeface="+mn-ea"/>
                <a:sym typeface="+mn-lt"/>
              </a:rPr>
              <a:t>阶段</a:t>
            </a:r>
            <a:endParaRPr kumimoji="1" lang="zh-CN" altLang="en-US" sz="1600" dirty="0">
              <a:cs typeface="+mn-ea"/>
              <a:sym typeface="+mn-lt"/>
            </a:endParaRPr>
          </a:p>
        </p:txBody>
      </p:sp>
      <p:cxnSp>
        <p:nvCxnSpPr>
          <p:cNvPr id="118" name="直接箭头连接符 117"/>
          <p:cNvCxnSpPr/>
          <p:nvPr/>
        </p:nvCxnSpPr>
        <p:spPr bwMode="auto">
          <a:xfrm flipV="1">
            <a:off x="3064745" y="4757557"/>
            <a:ext cx="908537" cy="0"/>
          </a:xfrm>
          <a:prstGeom prst="straightConnector1">
            <a:avLst/>
          </a:prstGeom>
          <a:solidFill>
            <a:schemeClr val="accent1"/>
          </a:solidFill>
          <a:ln w="19050" cap="flat" cmpd="sng" algn="ctr">
            <a:solidFill>
              <a:schemeClr val="tx1"/>
            </a:solidFill>
            <a:prstDash val="solid"/>
            <a:round/>
            <a:headEnd type="none" w="med" len="med"/>
            <a:tailEnd type="triangle"/>
          </a:ln>
          <a:effectLst>
            <a:outerShdw blurRad="50800" dist="38100" dir="2700000" algn="tl" rotWithShape="0">
              <a:prstClr val="black">
                <a:alpha val="40000"/>
              </a:prstClr>
            </a:outerShdw>
          </a:effectLst>
        </p:spPr>
      </p:cxnSp>
      <p:sp>
        <p:nvSpPr>
          <p:cNvPr id="123" name="椭圆 122"/>
          <p:cNvSpPr/>
          <p:nvPr/>
        </p:nvSpPr>
        <p:spPr bwMode="auto">
          <a:xfrm>
            <a:off x="8043158" y="5930384"/>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124" name="椭圆 123"/>
          <p:cNvSpPr/>
          <p:nvPr/>
        </p:nvSpPr>
        <p:spPr bwMode="auto">
          <a:xfrm>
            <a:off x="7192308" y="5933075"/>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cxnSp>
        <p:nvCxnSpPr>
          <p:cNvPr id="125" name="直接箭头连接符 124"/>
          <p:cNvCxnSpPr/>
          <p:nvPr/>
        </p:nvCxnSpPr>
        <p:spPr bwMode="auto">
          <a:xfrm flipV="1">
            <a:off x="4187788" y="3765809"/>
            <a:ext cx="4932548" cy="5192"/>
          </a:xfrm>
          <a:prstGeom prst="straightConnector1">
            <a:avLst/>
          </a:prstGeom>
          <a:solidFill>
            <a:schemeClr val="accent1"/>
          </a:solidFill>
          <a:ln w="19050" cap="flat" cmpd="sng" algn="ctr">
            <a:solidFill>
              <a:srgbClr val="C00000"/>
            </a:solidFill>
            <a:prstDash val="solid"/>
            <a:round/>
            <a:headEnd type="none" w="med" len="med"/>
            <a:tailEnd type="triangle"/>
          </a:ln>
          <a:effectLst>
            <a:outerShdw blurRad="50800" dist="38100" dir="2700000" algn="tl" rotWithShape="0">
              <a:prstClr val="black">
                <a:alpha val="40000"/>
              </a:prstClr>
            </a:outerShdw>
          </a:effectLst>
        </p:spPr>
      </p:cxnSp>
      <p:sp>
        <p:nvSpPr>
          <p:cNvPr id="127" name="文本框 126"/>
          <p:cNvSpPr txBox="1"/>
          <p:nvPr/>
        </p:nvSpPr>
        <p:spPr bwMode="auto">
          <a:xfrm>
            <a:off x="5960527" y="3453036"/>
            <a:ext cx="1668709"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smtClean="0">
                <a:solidFill>
                  <a:srgbClr val="C00000"/>
                </a:solidFill>
                <a:cs typeface="+mn-ea"/>
                <a:sym typeface="+mn-lt"/>
              </a:rPr>
              <a:t>数据库系统阶段</a:t>
            </a:r>
            <a:endParaRPr kumimoji="1" lang="zh-CN" altLang="en-US" sz="1600" dirty="0">
              <a:solidFill>
                <a:srgbClr val="C00000"/>
              </a:solidFill>
              <a:cs typeface="+mn-ea"/>
              <a:sym typeface="+mn-lt"/>
            </a:endParaRPr>
          </a:p>
        </p:txBody>
      </p:sp>
      <p:sp>
        <p:nvSpPr>
          <p:cNvPr id="129" name="Text Box 7"/>
          <p:cNvSpPr txBox="1">
            <a:spLocks noChangeArrowheads="1"/>
          </p:cNvSpPr>
          <p:nvPr/>
        </p:nvSpPr>
        <p:spPr bwMode="auto">
          <a:xfrm>
            <a:off x="9444371" y="6118133"/>
            <a:ext cx="1620180" cy="276981"/>
          </a:xfrm>
          <a:prstGeom prst="rect">
            <a:avLst/>
          </a:prstGeom>
          <a:noFill/>
          <a:ln w="9525">
            <a:noFill/>
            <a:miter lim="800000"/>
          </a:ln>
          <a:effectLst/>
        </p:spPr>
        <p:txBody>
          <a:bodyPr wrap="square" lIns="91422" tIns="45711" rIns="91422" bIns="45711">
            <a:spAutoFit/>
          </a:bodyPr>
          <a:lstStyle/>
          <a:p>
            <a:pPr defTabSz="914400"/>
            <a:r>
              <a:rPr kumimoji="1" lang="zh-CN" altLang="en-US" sz="1200" dirty="0" smtClean="0">
                <a:cs typeface="+mn-ea"/>
                <a:sym typeface="+mn-lt"/>
              </a:rPr>
              <a:t>数据管理发展时间线</a:t>
            </a:r>
            <a:endParaRPr kumimoji="1" lang="zh-CN" altLang="en-US" sz="1200" dirty="0">
              <a:cs typeface="+mn-ea"/>
              <a:sym typeface="+mn-lt"/>
            </a:endParaRPr>
          </a:p>
        </p:txBody>
      </p:sp>
      <p:sp>
        <p:nvSpPr>
          <p:cNvPr id="130" name="文本框 129"/>
          <p:cNvSpPr txBox="1"/>
          <p:nvPr/>
        </p:nvSpPr>
        <p:spPr bwMode="auto">
          <a:xfrm>
            <a:off x="4173466" y="3902477"/>
            <a:ext cx="1269594" cy="275936"/>
          </a:xfrm>
          <a:prstGeom prst="rect">
            <a:avLst/>
          </a:prstGeom>
          <a:no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层次型数据库</a:t>
            </a:r>
            <a:endParaRPr lang="zh-CN" altLang="en-US" dirty="0">
              <a:latin typeface="+mn-lt"/>
              <a:ea typeface="+mn-ea"/>
              <a:cs typeface="+mn-ea"/>
              <a:sym typeface="+mn-lt"/>
            </a:endParaRPr>
          </a:p>
        </p:txBody>
      </p:sp>
      <p:sp>
        <p:nvSpPr>
          <p:cNvPr id="131" name="文本框 130"/>
          <p:cNvSpPr txBox="1"/>
          <p:nvPr/>
        </p:nvSpPr>
        <p:spPr bwMode="auto">
          <a:xfrm>
            <a:off x="4173466" y="4261033"/>
            <a:ext cx="1269594" cy="275936"/>
          </a:xfrm>
          <a:prstGeom prst="rect">
            <a:avLst/>
          </a:prstGeom>
          <a:no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a:latin typeface="+mn-lt"/>
                <a:ea typeface="+mn-ea"/>
                <a:cs typeface="+mn-ea"/>
                <a:sym typeface="+mn-lt"/>
              </a:rPr>
              <a:t>网状型数据库</a:t>
            </a:r>
            <a:endParaRPr lang="zh-CN" altLang="en-US" dirty="0">
              <a:latin typeface="+mn-lt"/>
              <a:ea typeface="+mn-ea"/>
              <a:cs typeface="+mn-ea"/>
              <a:sym typeface="+mn-lt"/>
            </a:endParaRPr>
          </a:p>
        </p:txBody>
      </p:sp>
      <p:sp>
        <p:nvSpPr>
          <p:cNvPr id="132" name="文本框 131"/>
          <p:cNvSpPr txBox="1"/>
          <p:nvPr/>
        </p:nvSpPr>
        <p:spPr bwMode="auto">
          <a:xfrm>
            <a:off x="4405841" y="4687322"/>
            <a:ext cx="1269594" cy="275936"/>
          </a:xfrm>
          <a:prstGeom prst="rect">
            <a:avLst/>
          </a:prstGeom>
          <a:no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smtClean="0">
                <a:latin typeface="+mn-lt"/>
                <a:ea typeface="+mn-ea"/>
                <a:cs typeface="+mn-ea"/>
                <a:sym typeface="+mn-lt"/>
              </a:rPr>
              <a:t>关系型数据库</a:t>
            </a:r>
            <a:endParaRPr lang="zh-CN" altLang="en-US" dirty="0">
              <a:latin typeface="+mn-lt"/>
              <a:ea typeface="+mn-ea"/>
              <a:cs typeface="+mn-ea"/>
              <a:sym typeface="+mn-lt"/>
            </a:endParaRPr>
          </a:p>
        </p:txBody>
      </p:sp>
      <p:sp>
        <p:nvSpPr>
          <p:cNvPr id="134" name="椭圆 133"/>
          <p:cNvSpPr/>
          <p:nvPr/>
        </p:nvSpPr>
        <p:spPr bwMode="auto">
          <a:xfrm>
            <a:off x="5293282" y="5929045"/>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135" name="椭圆 134"/>
          <p:cNvSpPr/>
          <p:nvPr/>
        </p:nvSpPr>
        <p:spPr bwMode="auto">
          <a:xfrm>
            <a:off x="6214884" y="5929045"/>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136" name="Text Box 10"/>
          <p:cNvSpPr txBox="1">
            <a:spLocks noChangeArrowheads="1"/>
          </p:cNvSpPr>
          <p:nvPr/>
        </p:nvSpPr>
        <p:spPr bwMode="auto">
          <a:xfrm>
            <a:off x="504837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1980</a:t>
            </a:r>
            <a:endParaRPr kumimoji="1" lang="en-US" altLang="zh-CN" sz="1400" dirty="0">
              <a:cs typeface="+mn-ea"/>
              <a:sym typeface="+mn-lt"/>
            </a:endParaRPr>
          </a:p>
        </p:txBody>
      </p:sp>
      <p:sp>
        <p:nvSpPr>
          <p:cNvPr id="137" name="Text Box 10"/>
          <p:cNvSpPr txBox="1">
            <a:spLocks noChangeArrowheads="1"/>
          </p:cNvSpPr>
          <p:nvPr/>
        </p:nvSpPr>
        <p:spPr bwMode="auto">
          <a:xfrm>
            <a:off x="5960527" y="6118133"/>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1990</a:t>
            </a:r>
            <a:endParaRPr kumimoji="1" lang="en-US" altLang="zh-CN" sz="1400" dirty="0">
              <a:cs typeface="+mn-ea"/>
              <a:sym typeface="+mn-lt"/>
            </a:endParaRPr>
          </a:p>
        </p:txBody>
      </p:sp>
      <p:sp>
        <p:nvSpPr>
          <p:cNvPr id="138" name="椭圆 137"/>
          <p:cNvSpPr/>
          <p:nvPr/>
        </p:nvSpPr>
        <p:spPr bwMode="auto">
          <a:xfrm>
            <a:off x="4907868" y="4833747"/>
            <a:ext cx="108012" cy="291607"/>
          </a:xfrm>
          <a:prstGeom prst="ellipse">
            <a:avLst/>
          </a:prstGeom>
          <a:solidFill>
            <a:srgbClr val="006699"/>
          </a:solidFill>
          <a:ln w="25400">
            <a:solidFill>
              <a:srgbClr val="000000"/>
            </a:solidFill>
            <a:prstDash val="solid"/>
            <a:round/>
          </a:ln>
          <a:effectLst>
            <a:outerShdw blurRad="50800" dist="38100" dir="2700000" algn="tl" rotWithShape="0">
              <a:prstClr val="black">
                <a:alpha val="40000"/>
              </a:prstClr>
            </a:outerShdw>
          </a:effectLst>
        </p:spPr>
        <p:txBody>
          <a:bodyPr wrap="square" lIns="83448" tIns="41724" rIns="83448" bIns="41724" anchor="ctr">
            <a:spAutoFit/>
          </a:bodyPr>
          <a:lstStyle/>
          <a:p>
            <a:endParaRPr lang="zh-CN" altLang="en-US" sz="800">
              <a:cs typeface="+mn-ea"/>
              <a:sym typeface="+mn-lt"/>
            </a:endParaRPr>
          </a:p>
        </p:txBody>
      </p:sp>
      <p:sp>
        <p:nvSpPr>
          <p:cNvPr id="139" name="椭圆 138"/>
          <p:cNvSpPr/>
          <p:nvPr/>
        </p:nvSpPr>
        <p:spPr bwMode="auto">
          <a:xfrm>
            <a:off x="4191401" y="4411442"/>
            <a:ext cx="108012" cy="291607"/>
          </a:xfrm>
          <a:prstGeom prst="ellipse">
            <a:avLst/>
          </a:prstGeom>
          <a:solidFill>
            <a:srgbClr val="006699"/>
          </a:solidFill>
          <a:ln w="25400">
            <a:solidFill>
              <a:srgbClr val="000000"/>
            </a:solidFill>
            <a:prstDash val="solid"/>
            <a:round/>
          </a:ln>
          <a:effectLst>
            <a:outerShdw blurRad="50800" dist="38100" dir="2700000" algn="tl" rotWithShape="0">
              <a:prstClr val="black">
                <a:alpha val="40000"/>
              </a:prstClr>
            </a:outerShdw>
          </a:effectLst>
        </p:spPr>
        <p:txBody>
          <a:bodyPr wrap="square" lIns="83448" tIns="41724" rIns="83448" bIns="41724" anchor="ctr">
            <a:spAutoFit/>
          </a:bodyPr>
          <a:lstStyle/>
          <a:p>
            <a:endParaRPr lang="zh-CN" altLang="en-US" sz="800">
              <a:cs typeface="+mn-ea"/>
              <a:sym typeface="+mn-lt"/>
            </a:endParaRPr>
          </a:p>
        </p:txBody>
      </p:sp>
      <p:sp>
        <p:nvSpPr>
          <p:cNvPr id="140" name="椭圆 139"/>
          <p:cNvSpPr/>
          <p:nvPr/>
        </p:nvSpPr>
        <p:spPr bwMode="auto">
          <a:xfrm>
            <a:off x="4093772" y="4052886"/>
            <a:ext cx="108012" cy="291607"/>
          </a:xfrm>
          <a:prstGeom prst="ellipse">
            <a:avLst/>
          </a:prstGeom>
          <a:solidFill>
            <a:srgbClr val="006699"/>
          </a:solidFill>
          <a:ln w="25400">
            <a:solidFill>
              <a:srgbClr val="000000"/>
            </a:solidFill>
            <a:prstDash val="solid"/>
            <a:round/>
          </a:ln>
          <a:effectLst>
            <a:outerShdw blurRad="50800" dist="38100" dir="2700000" algn="tl" rotWithShape="0">
              <a:prstClr val="black">
                <a:alpha val="40000"/>
              </a:prstClr>
            </a:outerShdw>
          </a:effectLst>
        </p:spPr>
        <p:txBody>
          <a:bodyPr wrap="square" lIns="83448" tIns="41724" rIns="83448" bIns="41724" anchor="ctr">
            <a:spAutoFit/>
          </a:bodyPr>
          <a:lstStyle/>
          <a:p>
            <a:endParaRPr lang="zh-CN" altLang="en-US" sz="800">
              <a:cs typeface="+mn-ea"/>
              <a:sym typeface="+mn-lt"/>
            </a:endParaRPr>
          </a:p>
        </p:txBody>
      </p:sp>
      <p:sp>
        <p:nvSpPr>
          <p:cNvPr id="141" name="椭圆 140"/>
          <p:cNvSpPr/>
          <p:nvPr/>
        </p:nvSpPr>
        <p:spPr bwMode="auto">
          <a:xfrm>
            <a:off x="5675435" y="5098066"/>
            <a:ext cx="108012" cy="291607"/>
          </a:xfrm>
          <a:prstGeom prst="ellipse">
            <a:avLst/>
          </a:prstGeom>
          <a:solidFill>
            <a:srgbClr val="006699"/>
          </a:solidFill>
          <a:ln w="25400">
            <a:solidFill>
              <a:srgbClr val="000000"/>
            </a:solidFill>
            <a:prstDash val="solid"/>
            <a:round/>
          </a:ln>
          <a:effectLst>
            <a:outerShdw blurRad="50800" dist="38100" dir="2700000" algn="tl" rotWithShape="0">
              <a:prstClr val="black">
                <a:alpha val="40000"/>
              </a:prstClr>
            </a:outerShdw>
          </a:effectLst>
        </p:spPr>
        <p:txBody>
          <a:bodyPr wrap="square" lIns="83448" tIns="41724" rIns="83448" bIns="41724" anchor="ctr">
            <a:spAutoFit/>
          </a:bodyPr>
          <a:lstStyle/>
          <a:p>
            <a:endParaRPr lang="zh-CN" altLang="en-US" sz="800">
              <a:cs typeface="+mn-ea"/>
              <a:sym typeface="+mn-lt"/>
            </a:endParaRPr>
          </a:p>
        </p:txBody>
      </p:sp>
      <p:sp>
        <p:nvSpPr>
          <p:cNvPr id="142" name="文本框 141"/>
          <p:cNvSpPr txBox="1"/>
          <p:nvPr/>
        </p:nvSpPr>
        <p:spPr bwMode="auto">
          <a:xfrm>
            <a:off x="5190397" y="4951287"/>
            <a:ext cx="1269594" cy="275936"/>
          </a:xfrm>
          <a:prstGeom prst="rect">
            <a:avLst/>
          </a:prstGeom>
          <a:no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zh-CN" altLang="en-US" dirty="0" smtClean="0">
                <a:latin typeface="+mn-lt"/>
                <a:ea typeface="+mn-ea"/>
                <a:cs typeface="+mn-ea"/>
                <a:sym typeface="+mn-lt"/>
              </a:rPr>
              <a:t>面向对象数据库</a:t>
            </a:r>
            <a:endParaRPr lang="zh-CN" altLang="en-US" dirty="0">
              <a:latin typeface="+mn-lt"/>
              <a:ea typeface="+mn-ea"/>
              <a:cs typeface="+mn-ea"/>
              <a:sym typeface="+mn-lt"/>
            </a:endParaRPr>
          </a:p>
        </p:txBody>
      </p:sp>
      <p:sp>
        <p:nvSpPr>
          <p:cNvPr id="144" name="椭圆 143"/>
          <p:cNvSpPr/>
          <p:nvPr/>
        </p:nvSpPr>
        <p:spPr bwMode="auto">
          <a:xfrm>
            <a:off x="7775928" y="4391165"/>
            <a:ext cx="108012" cy="291607"/>
          </a:xfrm>
          <a:prstGeom prst="ellipse">
            <a:avLst/>
          </a:prstGeom>
          <a:solidFill>
            <a:srgbClr val="006699"/>
          </a:solidFill>
          <a:ln w="25400">
            <a:solidFill>
              <a:srgbClr val="000000"/>
            </a:solidFill>
            <a:prstDash val="solid"/>
            <a:round/>
          </a:ln>
          <a:effectLst>
            <a:outerShdw blurRad="50800" dist="38100" dir="2700000" algn="tl" rotWithShape="0">
              <a:prstClr val="black">
                <a:alpha val="40000"/>
              </a:prstClr>
            </a:outerShdw>
          </a:effectLst>
        </p:spPr>
        <p:txBody>
          <a:bodyPr wrap="square" lIns="83448" tIns="41724" rIns="83448" bIns="41724" anchor="ctr">
            <a:spAutoFit/>
          </a:bodyPr>
          <a:lstStyle/>
          <a:p>
            <a:endParaRPr lang="zh-CN" altLang="en-US" sz="800">
              <a:cs typeface="+mn-ea"/>
              <a:sym typeface="+mn-lt"/>
            </a:endParaRPr>
          </a:p>
        </p:txBody>
      </p:sp>
      <p:sp>
        <p:nvSpPr>
          <p:cNvPr id="145" name="文本框 144"/>
          <p:cNvSpPr txBox="1"/>
          <p:nvPr/>
        </p:nvSpPr>
        <p:spPr bwMode="auto">
          <a:xfrm>
            <a:off x="7215944" y="4205774"/>
            <a:ext cx="1269594" cy="275936"/>
          </a:xfrm>
          <a:prstGeom prst="rect">
            <a:avLst/>
          </a:prstGeom>
          <a:no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err="1" smtClean="0">
                <a:latin typeface="+mn-lt"/>
                <a:ea typeface="+mn-ea"/>
                <a:cs typeface="+mn-ea"/>
                <a:sym typeface="+mn-lt"/>
              </a:rPr>
              <a:t>NoSQL</a:t>
            </a:r>
            <a:endParaRPr lang="zh-CN" altLang="en-US" dirty="0">
              <a:latin typeface="+mn-lt"/>
              <a:ea typeface="+mn-ea"/>
              <a:cs typeface="+mn-ea"/>
              <a:sym typeface="+mn-lt"/>
            </a:endParaRPr>
          </a:p>
        </p:txBody>
      </p:sp>
      <p:sp>
        <p:nvSpPr>
          <p:cNvPr id="146" name="Text Box 15"/>
          <p:cNvSpPr txBox="1">
            <a:spLocks noChangeArrowheads="1"/>
          </p:cNvSpPr>
          <p:nvPr/>
        </p:nvSpPr>
        <p:spPr bwMode="auto">
          <a:xfrm>
            <a:off x="8493278" y="610957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cs typeface="+mn-ea"/>
                <a:sym typeface="+mn-lt"/>
              </a:rPr>
              <a:t>2020</a:t>
            </a:r>
            <a:endParaRPr kumimoji="1" lang="en-US" altLang="zh-CN" sz="1400" dirty="0">
              <a:cs typeface="+mn-ea"/>
              <a:sym typeface="+mn-lt"/>
            </a:endParaRPr>
          </a:p>
        </p:txBody>
      </p:sp>
      <p:sp>
        <p:nvSpPr>
          <p:cNvPr id="147" name="椭圆 146"/>
          <p:cNvSpPr/>
          <p:nvPr/>
        </p:nvSpPr>
        <p:spPr bwMode="auto">
          <a:xfrm>
            <a:off x="8725075" y="5930384"/>
            <a:ext cx="108012" cy="291607"/>
          </a:xfrm>
          <a:prstGeom prst="ellipse">
            <a:avLst/>
          </a:prstGeom>
          <a:noFill/>
          <a:ln w="25400">
            <a:solidFill>
              <a:srgbClr val="000000"/>
            </a:solidFill>
            <a:prstDash val="solid"/>
            <a:round/>
          </a:ln>
          <a:effectLst/>
        </p:spPr>
        <p:txBody>
          <a:bodyPr wrap="square" lIns="83448" tIns="41724" rIns="83448" bIns="41724" anchor="ctr">
            <a:spAutoFit/>
          </a:bodyPr>
          <a:lstStyle/>
          <a:p>
            <a:endParaRPr lang="zh-CN" altLang="en-US" sz="800">
              <a:cs typeface="+mn-ea"/>
              <a:sym typeface="+mn-lt"/>
            </a:endParaRPr>
          </a:p>
        </p:txBody>
      </p:sp>
      <p:sp>
        <p:nvSpPr>
          <p:cNvPr id="86" name="椭圆 85"/>
          <p:cNvSpPr/>
          <p:nvPr/>
        </p:nvSpPr>
        <p:spPr bwMode="auto">
          <a:xfrm>
            <a:off x="8356688" y="4719669"/>
            <a:ext cx="108012" cy="291607"/>
          </a:xfrm>
          <a:prstGeom prst="ellipse">
            <a:avLst/>
          </a:prstGeom>
          <a:solidFill>
            <a:srgbClr val="006699"/>
          </a:solidFill>
          <a:ln w="25400">
            <a:solidFill>
              <a:srgbClr val="000000"/>
            </a:solidFill>
            <a:prstDash val="solid"/>
            <a:round/>
          </a:ln>
          <a:effectLst>
            <a:outerShdw blurRad="50800" dist="38100" dir="2700000" algn="tl" rotWithShape="0">
              <a:prstClr val="black">
                <a:alpha val="40000"/>
              </a:prstClr>
            </a:outerShdw>
          </a:effectLst>
        </p:spPr>
        <p:txBody>
          <a:bodyPr wrap="square" lIns="83448" tIns="41724" rIns="83448" bIns="41724" anchor="ctr">
            <a:spAutoFit/>
          </a:bodyPr>
          <a:lstStyle/>
          <a:p>
            <a:endParaRPr lang="zh-CN" altLang="en-US" sz="800">
              <a:cs typeface="+mn-ea"/>
              <a:sym typeface="+mn-lt"/>
            </a:endParaRPr>
          </a:p>
        </p:txBody>
      </p:sp>
      <p:sp>
        <p:nvSpPr>
          <p:cNvPr id="87" name="文本框 86"/>
          <p:cNvSpPr txBox="1"/>
          <p:nvPr/>
        </p:nvSpPr>
        <p:spPr bwMode="auto">
          <a:xfrm>
            <a:off x="7796704" y="4534278"/>
            <a:ext cx="1269594" cy="275936"/>
          </a:xfrm>
          <a:prstGeom prst="rect">
            <a:avLst/>
          </a:prstGeom>
          <a:no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err="1" smtClean="0">
                <a:latin typeface="+mn-lt"/>
                <a:ea typeface="+mn-ea"/>
                <a:cs typeface="+mn-ea"/>
                <a:sym typeface="+mn-lt"/>
              </a:rPr>
              <a:t>NewSQL</a:t>
            </a:r>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管理三个阶段比较</a:t>
            </a:r>
            <a:endParaRPr lang="zh-CN" altLang="en-US"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graphicFrame>
        <p:nvGraphicFramePr>
          <p:cNvPr id="54" name="表格 53"/>
          <p:cNvGraphicFramePr>
            <a:graphicFrameLocks noGrp="1"/>
          </p:cNvGraphicFramePr>
          <p:nvPr/>
        </p:nvGraphicFramePr>
        <p:xfrm>
          <a:off x="732166" y="1437003"/>
          <a:ext cx="10727668" cy="4663440"/>
        </p:xfrm>
        <a:graphic>
          <a:graphicData uri="http://schemas.openxmlformats.org/drawingml/2006/table">
            <a:tbl>
              <a:tblPr firstRow="1" bandRow="1"/>
              <a:tblGrid>
                <a:gridCol w="756084"/>
                <a:gridCol w="1865630"/>
                <a:gridCol w="2347584"/>
                <a:gridCol w="2412268"/>
                <a:gridCol w="3346102"/>
              </a:tblGrid>
              <a:tr h="246578">
                <a:tc>
                  <a:txBody>
                    <a:bodyPr/>
                    <a:lstStyle/>
                    <a:p>
                      <a:pPr algn="ctr"/>
                      <a:r>
                        <a:rPr lang="zh-CN" altLang="en-US" sz="1800" b="1" dirty="0" smtClean="0">
                          <a:latin typeface="+mn-lt"/>
                          <a:ea typeface="+mn-ea"/>
                          <a:cs typeface="+mn-ea"/>
                          <a:sym typeface="+mn-lt"/>
                        </a:rPr>
                        <a:t>角度</a:t>
                      </a:r>
                      <a:endParaRPr lang="zh-CN" altLang="en-US" sz="18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dirty="0" smtClean="0">
                          <a:latin typeface="+mn-lt"/>
                          <a:ea typeface="+mn-ea"/>
                          <a:cs typeface="+mn-ea"/>
                          <a:sym typeface="+mn-lt"/>
                        </a:rPr>
                        <a:t>层面</a:t>
                      </a:r>
                      <a:r>
                        <a:rPr lang="en-US" altLang="zh-CN" sz="1800" b="1" dirty="0" smtClean="0">
                          <a:latin typeface="+mn-lt"/>
                          <a:ea typeface="+mn-ea"/>
                          <a:cs typeface="+mn-ea"/>
                          <a:sym typeface="+mn-lt"/>
                        </a:rPr>
                        <a:t>/</a:t>
                      </a:r>
                      <a:r>
                        <a:rPr lang="zh-CN" altLang="en-US" sz="1800" b="1" dirty="0" smtClean="0">
                          <a:latin typeface="+mn-lt"/>
                          <a:ea typeface="+mn-ea"/>
                          <a:cs typeface="+mn-ea"/>
                          <a:sym typeface="+mn-lt"/>
                        </a:rPr>
                        <a:t>阶段</a:t>
                      </a:r>
                      <a:endParaRPr lang="zh-CN" altLang="en-US" sz="18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dirty="0" smtClean="0">
                          <a:latin typeface="+mn-lt"/>
                          <a:ea typeface="+mn-ea"/>
                          <a:cs typeface="+mn-ea"/>
                          <a:sym typeface="+mn-lt"/>
                        </a:rPr>
                        <a:t>人工管理阶段</a:t>
                      </a:r>
                      <a:endParaRPr lang="zh-CN" altLang="en-US" sz="18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dirty="0" smtClean="0">
                          <a:latin typeface="+mn-lt"/>
                          <a:ea typeface="+mn-ea"/>
                          <a:cs typeface="+mn-ea"/>
                          <a:sym typeface="+mn-lt"/>
                        </a:rPr>
                        <a:t>文件系统阶段</a:t>
                      </a:r>
                      <a:endParaRPr lang="zh-CN" altLang="en-US" sz="18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800" b="1" dirty="0" smtClean="0">
                          <a:latin typeface="+mn-lt"/>
                          <a:ea typeface="+mn-ea"/>
                          <a:cs typeface="+mn-ea"/>
                          <a:sym typeface="+mn-lt"/>
                        </a:rPr>
                        <a:t>数据库系统阶段</a:t>
                      </a:r>
                      <a:endParaRPr lang="zh-CN" altLang="en-US" sz="18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03999">
                <a:tc rowSpan="4">
                  <a:txBody>
                    <a:bodyPr/>
                    <a:lstStyle/>
                    <a:p>
                      <a:pPr algn="ctr"/>
                      <a:r>
                        <a:rPr lang="zh-CN" altLang="en-US" sz="1800" b="1" kern="1200" dirty="0" smtClean="0">
                          <a:solidFill>
                            <a:schemeClr val="tx1"/>
                          </a:solidFill>
                          <a:latin typeface="+mn-lt"/>
                          <a:ea typeface="+mn-ea"/>
                          <a:cs typeface="+mn-ea"/>
                          <a:sym typeface="+mn-lt"/>
                        </a:rPr>
                        <a:t>背景</a:t>
                      </a:r>
                      <a:endParaRPr lang="zh-CN" altLang="en-US" sz="18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r>
                        <a:rPr lang="zh-CN" altLang="en-US" sz="1800" b="1" kern="1200" dirty="0" smtClean="0">
                          <a:solidFill>
                            <a:schemeClr val="tx1"/>
                          </a:solidFill>
                          <a:latin typeface="+mn-lt"/>
                          <a:ea typeface="+mn-ea"/>
                          <a:cs typeface="+mn-ea"/>
                          <a:sym typeface="+mn-lt"/>
                        </a:rPr>
                        <a:t>应用背景</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科学计算</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科学计算、数据管理</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大规模数据管理</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硬件背景</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无直接存取存储设备</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磁盘，磁鼓</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大容量磁盘，磁盘阵列</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16862">
                <a:tc vMerge="1">
                  <a:tcPr anchor="ctr"/>
                </a:tc>
                <a:tc>
                  <a:txBody>
                    <a:bodyPr/>
                    <a:lstStyle/>
                    <a:p>
                      <a:r>
                        <a:rPr lang="zh-CN" altLang="en-US" sz="1800" b="1" kern="1200" dirty="0" smtClean="0">
                          <a:solidFill>
                            <a:schemeClr val="tx1"/>
                          </a:solidFill>
                          <a:latin typeface="+mn-lt"/>
                          <a:ea typeface="+mn-ea"/>
                          <a:cs typeface="+mn-ea"/>
                          <a:sym typeface="+mn-lt"/>
                        </a:rPr>
                        <a:t>软件背景</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无操作系统</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有文件系统</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有数据库管理系统</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处理方式</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批处理</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联机实时处理，批处理</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联机实时处理，分布处理，批处理</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rowSpan="6">
                  <a:txBody>
                    <a:bodyPr/>
                    <a:lstStyle/>
                    <a:p>
                      <a:pPr algn="ctr"/>
                      <a:r>
                        <a:rPr lang="zh-CN" altLang="en-US" sz="1800" b="1" kern="1200" dirty="0" smtClean="0">
                          <a:solidFill>
                            <a:schemeClr val="tx1"/>
                          </a:solidFill>
                          <a:latin typeface="+mn-lt"/>
                          <a:ea typeface="+mn-ea"/>
                          <a:cs typeface="+mn-ea"/>
                          <a:sym typeface="+mn-lt"/>
                        </a:rPr>
                        <a:t>特点</a:t>
                      </a:r>
                      <a:endParaRPr lang="zh-CN" altLang="en-US" sz="18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zh-CN" altLang="en-US" sz="1800" b="1" kern="1200" dirty="0" smtClean="0">
                          <a:solidFill>
                            <a:schemeClr val="tx1"/>
                          </a:solidFill>
                          <a:latin typeface="+mn-lt"/>
                          <a:ea typeface="+mn-ea"/>
                          <a:cs typeface="+mn-ea"/>
                          <a:sym typeface="+mn-lt"/>
                        </a:rPr>
                        <a:t>数据管理者</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用户（程序员）</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文件系统</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数据库管理系统</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数据面向的对象</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某一应用程序</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应用程序</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现实世界（个人，部门，企业等）</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数据的共享程度</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无共享，冗余度极大</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共享性差，冗余度大</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共享性高，冗余度小</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数据的独立性</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不独立，完全依赖于程序</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独立性差</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具有高度的物理独立性和一定的逻辑独立性</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数据的结构化</a:t>
                      </a:r>
                      <a:endParaRPr lang="zh-CN" altLang="en-US" sz="1800" b="1"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无结构</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记录内有结构，整体无结构</a:t>
                      </a:r>
                      <a:endParaRPr lang="zh-CN" altLang="en-US" sz="1600" kern="1200" dirty="0">
                        <a:solidFill>
                          <a:schemeClr val="tx1"/>
                        </a:solidFill>
                        <a:latin typeface="+mn-lt"/>
                        <a:ea typeface="+mn-ea"/>
                        <a:cs typeface="+mn-ea"/>
                        <a:sym typeface="+mn-lt"/>
                      </a:endParaRPr>
                    </a:p>
                  </a:txBody>
                  <a:tcPr anchor="ctr"/>
                </a:tc>
                <a:tc>
                  <a:txBody>
                    <a:bodyPr/>
                    <a:lstStyle/>
                    <a:p>
                      <a:r>
                        <a:rPr lang="zh-CN" altLang="en-US" sz="1600" kern="1200" dirty="0" smtClean="0">
                          <a:solidFill>
                            <a:schemeClr val="tx1"/>
                          </a:solidFill>
                          <a:latin typeface="+mn-lt"/>
                          <a:ea typeface="+mn-ea"/>
                          <a:cs typeface="+mn-ea"/>
                          <a:sym typeface="+mn-lt"/>
                        </a:rPr>
                        <a:t>整体结构化，用数据模型描述</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03999">
                <a:tc vMerge="1">
                  <a:tcPr anchor="ctr"/>
                </a:tc>
                <a:tc>
                  <a:txBody>
                    <a:bodyPr/>
                    <a:lstStyle/>
                    <a:p>
                      <a:r>
                        <a:rPr lang="zh-CN" altLang="en-US" sz="1800" b="1" kern="1200" dirty="0" smtClean="0">
                          <a:solidFill>
                            <a:schemeClr val="tx1"/>
                          </a:solidFill>
                          <a:latin typeface="+mn-lt"/>
                          <a:ea typeface="+mn-ea"/>
                          <a:cs typeface="+mn-ea"/>
                          <a:sym typeface="+mn-lt"/>
                        </a:rPr>
                        <a:t>数据控制能力</a:t>
                      </a:r>
                      <a:endParaRPr lang="zh-CN" altLang="en-US" sz="1800" b="1"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600" kern="1200" dirty="0" smtClean="0">
                          <a:solidFill>
                            <a:schemeClr val="tx1"/>
                          </a:solidFill>
                          <a:latin typeface="+mn-lt"/>
                          <a:ea typeface="+mn-ea"/>
                          <a:cs typeface="+mn-ea"/>
                          <a:sym typeface="+mn-lt"/>
                        </a:rPr>
                        <a:t>应用程序控制</a:t>
                      </a:r>
                      <a:endParaRPr lang="zh-CN" altLang="en-US" sz="16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600" kern="1200" dirty="0" smtClean="0">
                          <a:solidFill>
                            <a:schemeClr val="tx1"/>
                          </a:solidFill>
                          <a:latin typeface="+mn-lt"/>
                          <a:ea typeface="+mn-ea"/>
                          <a:cs typeface="+mn-ea"/>
                          <a:sym typeface="+mn-lt"/>
                        </a:rPr>
                        <a:t>应用程序控制</a:t>
                      </a:r>
                      <a:endParaRPr lang="zh-CN" altLang="en-US" sz="16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600" kern="1200" dirty="0" smtClean="0">
                          <a:solidFill>
                            <a:schemeClr val="tx1"/>
                          </a:solidFill>
                          <a:latin typeface="+mn-lt"/>
                          <a:ea typeface="+mn-ea"/>
                          <a:cs typeface="+mn-ea"/>
                          <a:sym typeface="+mn-lt"/>
                        </a:rPr>
                        <a:t>有数据库管理系统提供数据安全性、完整性、并发控制和恢复能力</a:t>
                      </a:r>
                      <a:endParaRPr lang="zh-CN" alt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系统优势</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normAutofit fontScale="85000" lnSpcReduction="20000"/>
          </a:bodyPr>
          <a:lstStyle/>
          <a:p>
            <a:r>
              <a:rPr lang="zh-CN" altLang="en-US" dirty="0" smtClean="0">
                <a:latin typeface="+mn-lt"/>
                <a:ea typeface="+mn-ea"/>
                <a:cs typeface="+mn-ea"/>
                <a:sym typeface="+mn-lt"/>
              </a:rPr>
              <a:t>整体数据的结构化</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数据面向整个系统而不是单个应用，被多个应用共享。</a:t>
            </a:r>
            <a:endParaRPr lang="en-US" altLang="zh-CN" dirty="0" smtClean="0">
              <a:latin typeface="+mn-lt"/>
              <a:ea typeface="+mn-ea"/>
              <a:cs typeface="+mn-ea"/>
              <a:sym typeface="+mn-lt"/>
            </a:endParaRPr>
          </a:p>
          <a:p>
            <a:r>
              <a:rPr lang="zh-CN" altLang="en-US" dirty="0" smtClean="0">
                <a:latin typeface="+mn-lt"/>
                <a:ea typeface="+mn-ea"/>
                <a:cs typeface="+mn-ea"/>
                <a:sym typeface="+mn-lt"/>
              </a:rPr>
              <a:t>数据的共享性高，冗余度低且易扩充。</a:t>
            </a:r>
            <a:endParaRPr lang="en-US" altLang="zh-CN" dirty="0" smtClean="0">
              <a:latin typeface="+mn-lt"/>
              <a:ea typeface="+mn-ea"/>
              <a:cs typeface="+mn-ea"/>
              <a:sym typeface="+mn-lt"/>
            </a:endParaRPr>
          </a:p>
          <a:p>
            <a:r>
              <a:rPr lang="zh-CN" altLang="en-US" dirty="0" smtClean="0">
                <a:latin typeface="+mn-lt"/>
                <a:ea typeface="+mn-ea"/>
                <a:cs typeface="+mn-ea"/>
                <a:sym typeface="+mn-lt"/>
              </a:rPr>
              <a:t>数据独立性高</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物理独立性：应用程序与数据库中数据的物理存储是相互独立的。</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逻辑独立性：应用程序与数据库的逻辑结构是相互独立的。</a:t>
            </a:r>
            <a:endParaRPr lang="en-US" altLang="zh-CN" dirty="0" smtClean="0">
              <a:latin typeface="+mn-lt"/>
              <a:ea typeface="+mn-ea"/>
              <a:cs typeface="+mn-ea"/>
              <a:sym typeface="+mn-lt"/>
            </a:endParaRPr>
          </a:p>
          <a:p>
            <a:r>
              <a:rPr lang="zh-CN" altLang="en-US" dirty="0" smtClean="0">
                <a:latin typeface="+mn-lt"/>
                <a:ea typeface="+mn-ea"/>
                <a:cs typeface="+mn-ea"/>
                <a:sym typeface="+mn-lt"/>
              </a:rPr>
              <a:t>统一管理和控制</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数据的安全性保护；</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数据的完整性检查；</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并发控制；</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数据库恢复。</a:t>
            </a:r>
            <a:endParaRPr lang="en-US" altLang="zh-CN"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6" name="Rectangle 18"/>
          <p:cNvSpPr>
            <a:spLocks noChangeArrowheads="1"/>
          </p:cNvSpPr>
          <p:nvPr/>
        </p:nvSpPr>
        <p:spPr bwMode="auto">
          <a:xfrm>
            <a:off x="10199323" y="1578606"/>
            <a:ext cx="756084" cy="307758"/>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400" dirty="0">
                <a:cs typeface="+mn-ea"/>
                <a:sym typeface="+mn-lt"/>
              </a:rPr>
              <a:t>用户</a:t>
            </a:r>
            <a:endParaRPr lang="en-US" altLang="zh-CN" sz="1400" dirty="0">
              <a:cs typeface="+mn-ea"/>
              <a:sym typeface="+mn-lt"/>
            </a:endParaRPr>
          </a:p>
        </p:txBody>
      </p:sp>
      <p:sp>
        <p:nvSpPr>
          <p:cNvPr id="57" name="Rectangle 18"/>
          <p:cNvSpPr>
            <a:spLocks noChangeArrowheads="1"/>
          </p:cNvSpPr>
          <p:nvPr/>
        </p:nvSpPr>
        <p:spPr bwMode="auto">
          <a:xfrm>
            <a:off x="9574912" y="1894865"/>
            <a:ext cx="501159" cy="325083"/>
          </a:xfrm>
          <a:prstGeom prst="rect">
            <a:avLst/>
          </a:prstGeom>
          <a:noFill/>
          <a:ln w="28575" algn="ctr">
            <a:noFill/>
            <a:miter lim="800000"/>
          </a:ln>
          <a:effectLst>
            <a:outerShdw blurRad="50800" dist="38100" dir="2700000" algn="tl" rotWithShape="0">
              <a:prstClr val="black">
                <a:alpha val="40000"/>
              </a:prstClr>
            </a:outerShdw>
          </a:effectLst>
        </p:spPr>
        <p:txBody>
          <a:bodyPr wrap="none" lIns="91422" tIns="45711" rIns="91422" bIns="45711" anchor="ctr"/>
          <a:lstStyle/>
          <a:p>
            <a:pPr algn="ctr" defTabSz="914400"/>
            <a:r>
              <a:rPr kumimoji="1" lang="en-US" altLang="zh-CN" sz="1600" b="1" dirty="0" smtClean="0">
                <a:cs typeface="+mn-ea"/>
                <a:sym typeface="+mn-lt"/>
              </a:rPr>
              <a:t>…</a:t>
            </a:r>
            <a:endParaRPr kumimoji="1" lang="en-US" altLang="zh-CN" sz="1600" b="1" dirty="0">
              <a:cs typeface="+mn-ea"/>
              <a:sym typeface="+mn-lt"/>
            </a:endParaRPr>
          </a:p>
        </p:txBody>
      </p:sp>
      <p:sp>
        <p:nvSpPr>
          <p:cNvPr id="58" name="流程图: 可选过程 57"/>
          <p:cNvSpPr/>
          <p:nvPr/>
        </p:nvSpPr>
        <p:spPr bwMode="auto">
          <a:xfrm>
            <a:off x="8373253" y="3320988"/>
            <a:ext cx="1314146" cy="696116"/>
          </a:xfrm>
          <a:prstGeom prst="flowChartAlternateProcess">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r>
              <a:rPr lang="zh-CN" altLang="en-US" sz="1800" dirty="0" smtClean="0">
                <a:cs typeface="+mn-ea"/>
                <a:sym typeface="+mn-lt"/>
              </a:rPr>
              <a:t>数据库</a:t>
            </a:r>
            <a:endParaRPr lang="en-US" altLang="zh-CN" sz="1800" dirty="0" smtClean="0">
              <a:cs typeface="+mn-ea"/>
              <a:sym typeface="+mn-lt"/>
            </a:endParaRPr>
          </a:p>
          <a:p>
            <a:pPr algn="ctr"/>
            <a:r>
              <a:rPr lang="zh-CN" altLang="en-US" sz="1800" dirty="0" smtClean="0">
                <a:cs typeface="+mn-ea"/>
                <a:sym typeface="+mn-lt"/>
              </a:rPr>
              <a:t>管理系统</a:t>
            </a:r>
            <a:endParaRPr lang="zh-CN" altLang="en-US" sz="1800" dirty="0">
              <a:cs typeface="+mn-ea"/>
              <a:sym typeface="+mn-lt"/>
            </a:endParaRPr>
          </a:p>
        </p:txBody>
      </p:sp>
      <p:cxnSp>
        <p:nvCxnSpPr>
          <p:cNvPr id="59" name="直接连接符 58"/>
          <p:cNvCxnSpPr>
            <a:stCxn id="58" idx="2"/>
            <a:endCxn id="150" idx="1"/>
          </p:cNvCxnSpPr>
          <p:nvPr/>
        </p:nvCxnSpPr>
        <p:spPr bwMode="auto">
          <a:xfrm>
            <a:off x="9030326" y="4017104"/>
            <a:ext cx="0" cy="469743"/>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60" name="直接箭头连接符 59"/>
          <p:cNvCxnSpPr>
            <a:stCxn id="116" idx="2"/>
            <a:endCxn id="58" idx="0"/>
          </p:cNvCxnSpPr>
          <p:nvPr/>
        </p:nvCxnSpPr>
        <p:spPr bwMode="auto">
          <a:xfrm>
            <a:off x="7959832" y="2321061"/>
            <a:ext cx="1070494" cy="999927"/>
          </a:xfrm>
          <a:prstGeom prst="straightConnector1">
            <a:avLst/>
          </a:prstGeom>
          <a:noFill/>
          <a:ln w="28575" cap="flat" cmpd="sng" algn="ctr">
            <a:solidFill>
              <a:srgbClr val="99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61" name="直接箭头连接符 60"/>
          <p:cNvCxnSpPr>
            <a:stCxn id="84" idx="18"/>
            <a:endCxn id="58" idx="0"/>
          </p:cNvCxnSpPr>
          <p:nvPr/>
        </p:nvCxnSpPr>
        <p:spPr bwMode="auto">
          <a:xfrm>
            <a:off x="9019552" y="2254082"/>
            <a:ext cx="10774" cy="1066906"/>
          </a:xfrm>
          <a:prstGeom prst="straightConnector1">
            <a:avLst/>
          </a:prstGeom>
          <a:noFill/>
          <a:ln w="28575" cap="flat" cmpd="sng" algn="ctr">
            <a:solidFill>
              <a:srgbClr val="990000"/>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62" name="直接箭头连接符 61"/>
          <p:cNvCxnSpPr>
            <a:endCxn id="58" idx="0"/>
          </p:cNvCxnSpPr>
          <p:nvPr/>
        </p:nvCxnSpPr>
        <p:spPr bwMode="auto">
          <a:xfrm flipH="1">
            <a:off x="9030326" y="2321061"/>
            <a:ext cx="1547039" cy="999927"/>
          </a:xfrm>
          <a:prstGeom prst="straightConnector1">
            <a:avLst/>
          </a:prstGeom>
          <a:noFill/>
          <a:ln w="28575" cap="flat" cmpd="sng" algn="ctr">
            <a:solidFill>
              <a:srgbClr val="990000"/>
            </a:solidFill>
            <a:prstDash val="solid"/>
            <a:round/>
            <a:headEnd type="none" w="med" len="med"/>
            <a:tailEnd type="none" w="med" len="med"/>
          </a:ln>
          <a:effectLst>
            <a:outerShdw blurRad="50800" dist="38100" dir="2700000" algn="tl" rotWithShape="0">
              <a:prstClr val="black">
                <a:alpha val="40000"/>
              </a:prstClr>
            </a:outerShdw>
          </a:effectLst>
        </p:spPr>
      </p:cxnSp>
      <p:sp>
        <p:nvSpPr>
          <p:cNvPr id="74" name="Man5"/>
          <p:cNvSpPr>
            <a:spLocks noChangeAspect="1" noChangeArrowheads="1"/>
          </p:cNvSpPr>
          <p:nvPr>
            <p:custDataLst>
              <p:tags r:id="rId47"/>
            </p:custDataLst>
          </p:nvPr>
        </p:nvSpPr>
        <p:spPr bwMode="auto">
          <a:xfrm>
            <a:off x="10362474" y="1871056"/>
            <a:ext cx="429782" cy="429780"/>
          </a:xfrm>
          <a:custGeom>
            <a:avLst/>
            <a:gdLst>
              <a:gd name="T0" fmla="*/ 0 w 692"/>
              <a:gd name="T1" fmla="*/ 81 h 692"/>
              <a:gd name="T2" fmla="*/ 0 w 692"/>
              <a:gd name="T3" fmla="*/ 618 h 692"/>
              <a:gd name="T4" fmla="*/ 74 w 692"/>
              <a:gd name="T5" fmla="*/ 691 h 692"/>
              <a:gd name="T6" fmla="*/ 610 w 692"/>
              <a:gd name="T7" fmla="*/ 691 h 692"/>
              <a:gd name="T8" fmla="*/ 691 w 692"/>
              <a:gd name="T9" fmla="*/ 618 h 692"/>
              <a:gd name="T10" fmla="*/ 691 w 692"/>
              <a:gd name="T11" fmla="*/ 81 h 692"/>
              <a:gd name="T12" fmla="*/ 610 w 692"/>
              <a:gd name="T13" fmla="*/ 0 h 692"/>
              <a:gd name="T14" fmla="*/ 74 w 692"/>
              <a:gd name="T15" fmla="*/ 0 h 692"/>
              <a:gd name="T16" fmla="*/ 0 w 692"/>
              <a:gd name="T17" fmla="*/ 81 h 692"/>
              <a:gd name="T18" fmla="*/ 456 w 692"/>
              <a:gd name="T19" fmla="*/ 228 h 692"/>
              <a:gd name="T20" fmla="*/ 346 w 692"/>
              <a:gd name="T21" fmla="*/ 345 h 692"/>
              <a:gd name="T22" fmla="*/ 228 w 692"/>
              <a:gd name="T23" fmla="*/ 228 h 692"/>
              <a:gd name="T24" fmla="*/ 346 w 692"/>
              <a:gd name="T25" fmla="*/ 117 h 692"/>
              <a:gd name="T26" fmla="*/ 456 w 692"/>
              <a:gd name="T27" fmla="*/ 228 h 692"/>
              <a:gd name="T28" fmla="*/ 110 w 692"/>
              <a:gd name="T29" fmla="*/ 537 h 692"/>
              <a:gd name="T30" fmla="*/ 346 w 692"/>
              <a:gd name="T31" fmla="*/ 419 h 692"/>
              <a:gd name="T32" fmla="*/ 574 w 692"/>
              <a:gd name="T33" fmla="*/ 537 h 692"/>
              <a:gd name="T34" fmla="*/ 574 w 692"/>
              <a:gd name="T35" fmla="*/ 581 h 692"/>
              <a:gd name="T36" fmla="*/ 110 w 692"/>
              <a:gd name="T37" fmla="*/ 581 h 692"/>
              <a:gd name="T38" fmla="*/ 110 w 692"/>
              <a:gd name="T39" fmla="*/ 537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2" h="692">
                <a:moveTo>
                  <a:pt x="0" y="81"/>
                </a:moveTo>
                <a:lnTo>
                  <a:pt x="0" y="618"/>
                </a:lnTo>
                <a:cubicBezTo>
                  <a:pt x="0" y="662"/>
                  <a:pt x="29" y="691"/>
                  <a:pt x="74" y="691"/>
                </a:cubicBezTo>
                <a:lnTo>
                  <a:pt x="610" y="691"/>
                </a:lnTo>
                <a:cubicBezTo>
                  <a:pt x="655" y="691"/>
                  <a:pt x="691" y="662"/>
                  <a:pt x="691" y="618"/>
                </a:cubicBezTo>
                <a:lnTo>
                  <a:pt x="691" y="81"/>
                </a:lnTo>
                <a:cubicBezTo>
                  <a:pt x="691" y="37"/>
                  <a:pt x="655" y="0"/>
                  <a:pt x="610" y="0"/>
                </a:cubicBezTo>
                <a:lnTo>
                  <a:pt x="74" y="0"/>
                </a:lnTo>
                <a:cubicBezTo>
                  <a:pt x="29" y="0"/>
                  <a:pt x="0" y="37"/>
                  <a:pt x="0" y="81"/>
                </a:cubicBezTo>
                <a:close/>
                <a:moveTo>
                  <a:pt x="456" y="228"/>
                </a:moveTo>
                <a:cubicBezTo>
                  <a:pt x="456" y="294"/>
                  <a:pt x="412" y="345"/>
                  <a:pt x="346" y="345"/>
                </a:cubicBezTo>
                <a:cubicBezTo>
                  <a:pt x="280" y="345"/>
                  <a:pt x="228" y="290"/>
                  <a:pt x="228" y="228"/>
                </a:cubicBezTo>
                <a:cubicBezTo>
                  <a:pt x="228" y="165"/>
                  <a:pt x="280" y="117"/>
                  <a:pt x="346" y="117"/>
                </a:cubicBezTo>
                <a:cubicBezTo>
                  <a:pt x="412" y="117"/>
                  <a:pt x="456" y="169"/>
                  <a:pt x="456" y="228"/>
                </a:cubicBezTo>
                <a:close/>
                <a:moveTo>
                  <a:pt x="110" y="537"/>
                </a:moveTo>
                <a:cubicBezTo>
                  <a:pt x="110" y="463"/>
                  <a:pt x="268" y="419"/>
                  <a:pt x="346" y="419"/>
                </a:cubicBezTo>
                <a:cubicBezTo>
                  <a:pt x="423" y="419"/>
                  <a:pt x="574" y="463"/>
                  <a:pt x="574" y="537"/>
                </a:cubicBezTo>
                <a:lnTo>
                  <a:pt x="574" y="581"/>
                </a:lnTo>
                <a:lnTo>
                  <a:pt x="110" y="581"/>
                </a:lnTo>
                <a:lnTo>
                  <a:pt x="110" y="537"/>
                </a:lnTo>
                <a:close/>
              </a:path>
            </a:pathLst>
          </a:custGeom>
          <a:solidFill>
            <a:srgbClr val="C00000"/>
          </a:solidFill>
          <a:ln>
            <a:noFill/>
          </a:ln>
          <a:effectLst>
            <a:outerShdw blurRad="50800" dist="38100" dir="2700000" algn="tl" rotWithShape="0">
              <a:prstClr val="black">
                <a:alpha val="40000"/>
              </a:prst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grpSp>
        <p:nvGrpSpPr>
          <p:cNvPr id="78" name="Analytics"/>
          <p:cNvGrpSpPr>
            <a:grpSpLocks noChangeAspect="1"/>
          </p:cNvGrpSpPr>
          <p:nvPr>
            <p:custDataLst>
              <p:tags r:id="rId48"/>
            </p:custDataLst>
          </p:nvPr>
        </p:nvGrpSpPr>
        <p:grpSpPr>
          <a:xfrm>
            <a:off x="8737145" y="1909641"/>
            <a:ext cx="449517" cy="406113"/>
            <a:chOff x="6889531" y="788276"/>
            <a:chExt cx="4540471" cy="4102057"/>
          </a:xfrm>
        </p:grpSpPr>
        <p:sp>
          <p:nvSpPr>
            <p:cNvPr id="79" name="Rectangle 20"/>
            <p:cNvSpPr/>
            <p:nvPr/>
          </p:nvSpPr>
          <p:spPr>
            <a:xfrm>
              <a:off x="6889531" y="2506717"/>
              <a:ext cx="677917" cy="2017986"/>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80" name="Rectangle 21"/>
            <p:cNvSpPr/>
            <p:nvPr/>
          </p:nvSpPr>
          <p:spPr>
            <a:xfrm>
              <a:off x="7677810" y="1955654"/>
              <a:ext cx="677917" cy="2569049"/>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81" name="Freeform: Shape 902"/>
            <p:cNvSpPr/>
            <p:nvPr/>
          </p:nvSpPr>
          <p:spPr>
            <a:xfrm>
              <a:off x="8500246" y="1434662"/>
              <a:ext cx="1416264" cy="3090041"/>
            </a:xfrm>
            <a:custGeom>
              <a:avLst/>
              <a:gdLst>
                <a:gd name="connsiteX0" fmla="*/ 1014623 w 1416264"/>
                <a:gd name="connsiteY0" fmla="*/ 3021020 h 3090041"/>
                <a:gd name="connsiteX1" fmla="*/ 1156262 w 1416264"/>
                <a:gd name="connsiteY1" fmla="*/ 3021020 h 3090041"/>
                <a:gd name="connsiteX2" fmla="*/ 1156262 w 1416264"/>
                <a:gd name="connsiteY2" fmla="*/ 3090041 h 3090041"/>
                <a:gd name="connsiteX3" fmla="*/ 1014623 w 1416264"/>
                <a:gd name="connsiteY3" fmla="*/ 3090041 h 3090041"/>
                <a:gd name="connsiteX4" fmla="*/ 759496 w 1416264"/>
                <a:gd name="connsiteY4" fmla="*/ 3021020 h 3090041"/>
                <a:gd name="connsiteX5" fmla="*/ 901135 w 1416264"/>
                <a:gd name="connsiteY5" fmla="*/ 3021020 h 3090041"/>
                <a:gd name="connsiteX6" fmla="*/ 901135 w 1416264"/>
                <a:gd name="connsiteY6" fmla="*/ 3090041 h 3090041"/>
                <a:gd name="connsiteX7" fmla="*/ 759496 w 1416264"/>
                <a:gd name="connsiteY7" fmla="*/ 3090041 h 3090041"/>
                <a:gd name="connsiteX8" fmla="*/ 504369 w 1416264"/>
                <a:gd name="connsiteY8" fmla="*/ 3021020 h 3090041"/>
                <a:gd name="connsiteX9" fmla="*/ 646008 w 1416264"/>
                <a:gd name="connsiteY9" fmla="*/ 3021020 h 3090041"/>
                <a:gd name="connsiteX10" fmla="*/ 646008 w 1416264"/>
                <a:gd name="connsiteY10" fmla="*/ 3090041 h 3090041"/>
                <a:gd name="connsiteX11" fmla="*/ 504369 w 1416264"/>
                <a:gd name="connsiteY11" fmla="*/ 3090041 h 3090041"/>
                <a:gd name="connsiteX12" fmla="*/ 249242 w 1416264"/>
                <a:gd name="connsiteY12" fmla="*/ 3021020 h 3090041"/>
                <a:gd name="connsiteX13" fmla="*/ 390881 w 1416264"/>
                <a:gd name="connsiteY13" fmla="*/ 3021020 h 3090041"/>
                <a:gd name="connsiteX14" fmla="*/ 390881 w 1416264"/>
                <a:gd name="connsiteY14" fmla="*/ 3090041 h 3090041"/>
                <a:gd name="connsiteX15" fmla="*/ 249242 w 1416264"/>
                <a:gd name="connsiteY15" fmla="*/ 3090041 h 3090041"/>
                <a:gd name="connsiteX16" fmla="*/ 1351889 w 1416264"/>
                <a:gd name="connsiteY16" fmla="*/ 2864758 h 3090041"/>
                <a:gd name="connsiteX17" fmla="*/ 1416264 w 1416264"/>
                <a:gd name="connsiteY17" fmla="*/ 2864758 h 3090041"/>
                <a:gd name="connsiteX18" fmla="*/ 1416264 w 1416264"/>
                <a:gd name="connsiteY18" fmla="*/ 3090041 h 3090041"/>
                <a:gd name="connsiteX19" fmla="*/ 1269750 w 1416264"/>
                <a:gd name="connsiteY19" fmla="*/ 3090041 h 3090041"/>
                <a:gd name="connsiteX20" fmla="*/ 1269750 w 1416264"/>
                <a:gd name="connsiteY20" fmla="*/ 3021020 h 3090041"/>
                <a:gd name="connsiteX21" fmla="*/ 1351889 w 1416264"/>
                <a:gd name="connsiteY21" fmla="*/ 3021020 h 3090041"/>
                <a:gd name="connsiteX22" fmla="*/ 0 w 1416264"/>
                <a:gd name="connsiteY22" fmla="*/ 2864758 h 3090041"/>
                <a:gd name="connsiteX23" fmla="*/ 64376 w 1416264"/>
                <a:gd name="connsiteY23" fmla="*/ 2864758 h 3090041"/>
                <a:gd name="connsiteX24" fmla="*/ 64376 w 1416264"/>
                <a:gd name="connsiteY24" fmla="*/ 3021020 h 3090041"/>
                <a:gd name="connsiteX25" fmla="*/ 135754 w 1416264"/>
                <a:gd name="connsiteY25" fmla="*/ 3021020 h 3090041"/>
                <a:gd name="connsiteX26" fmla="*/ 135754 w 1416264"/>
                <a:gd name="connsiteY26" fmla="*/ 3090041 h 3090041"/>
                <a:gd name="connsiteX27" fmla="*/ 0 w 1416264"/>
                <a:gd name="connsiteY27" fmla="*/ 3090041 h 3090041"/>
                <a:gd name="connsiteX28" fmla="*/ 1351889 w 1416264"/>
                <a:gd name="connsiteY28" fmla="*/ 2610758 h 3090041"/>
                <a:gd name="connsiteX29" fmla="*/ 1416264 w 1416264"/>
                <a:gd name="connsiteY29" fmla="*/ 2610758 h 3090041"/>
                <a:gd name="connsiteX30" fmla="*/ 1416264 w 1416264"/>
                <a:gd name="connsiteY30" fmla="*/ 2751270 h 3090041"/>
                <a:gd name="connsiteX31" fmla="*/ 1351889 w 1416264"/>
                <a:gd name="connsiteY31" fmla="*/ 2751270 h 3090041"/>
                <a:gd name="connsiteX32" fmla="*/ 0 w 1416264"/>
                <a:gd name="connsiteY32" fmla="*/ 2610758 h 3090041"/>
                <a:gd name="connsiteX33" fmla="*/ 64376 w 1416264"/>
                <a:gd name="connsiteY33" fmla="*/ 2610758 h 3090041"/>
                <a:gd name="connsiteX34" fmla="*/ 64376 w 1416264"/>
                <a:gd name="connsiteY34" fmla="*/ 2751270 h 3090041"/>
                <a:gd name="connsiteX35" fmla="*/ 0 w 1416264"/>
                <a:gd name="connsiteY35" fmla="*/ 2751270 h 3090041"/>
                <a:gd name="connsiteX36" fmla="*/ 1351889 w 1416264"/>
                <a:gd name="connsiteY36" fmla="*/ 2356758 h 3090041"/>
                <a:gd name="connsiteX37" fmla="*/ 1416264 w 1416264"/>
                <a:gd name="connsiteY37" fmla="*/ 2356758 h 3090041"/>
                <a:gd name="connsiteX38" fmla="*/ 1416264 w 1416264"/>
                <a:gd name="connsiteY38" fmla="*/ 2497270 h 3090041"/>
                <a:gd name="connsiteX39" fmla="*/ 1351889 w 1416264"/>
                <a:gd name="connsiteY39" fmla="*/ 2497270 h 3090041"/>
                <a:gd name="connsiteX40" fmla="*/ 0 w 1416264"/>
                <a:gd name="connsiteY40" fmla="*/ 2356758 h 3090041"/>
                <a:gd name="connsiteX41" fmla="*/ 64376 w 1416264"/>
                <a:gd name="connsiteY41" fmla="*/ 2356758 h 3090041"/>
                <a:gd name="connsiteX42" fmla="*/ 64376 w 1416264"/>
                <a:gd name="connsiteY42" fmla="*/ 2497270 h 3090041"/>
                <a:gd name="connsiteX43" fmla="*/ 0 w 1416264"/>
                <a:gd name="connsiteY43" fmla="*/ 2497270 h 3090041"/>
                <a:gd name="connsiteX44" fmla="*/ 1351889 w 1416264"/>
                <a:gd name="connsiteY44" fmla="*/ 2102758 h 3090041"/>
                <a:gd name="connsiteX45" fmla="*/ 1416264 w 1416264"/>
                <a:gd name="connsiteY45" fmla="*/ 2102758 h 3090041"/>
                <a:gd name="connsiteX46" fmla="*/ 1416264 w 1416264"/>
                <a:gd name="connsiteY46" fmla="*/ 2243270 h 3090041"/>
                <a:gd name="connsiteX47" fmla="*/ 1351889 w 1416264"/>
                <a:gd name="connsiteY47" fmla="*/ 2243270 h 3090041"/>
                <a:gd name="connsiteX48" fmla="*/ 0 w 1416264"/>
                <a:gd name="connsiteY48" fmla="*/ 2102758 h 3090041"/>
                <a:gd name="connsiteX49" fmla="*/ 64376 w 1416264"/>
                <a:gd name="connsiteY49" fmla="*/ 2102758 h 3090041"/>
                <a:gd name="connsiteX50" fmla="*/ 64376 w 1416264"/>
                <a:gd name="connsiteY50" fmla="*/ 2243270 h 3090041"/>
                <a:gd name="connsiteX51" fmla="*/ 0 w 1416264"/>
                <a:gd name="connsiteY51" fmla="*/ 2243270 h 3090041"/>
                <a:gd name="connsiteX52" fmla="*/ 1351889 w 1416264"/>
                <a:gd name="connsiteY52" fmla="*/ 1848758 h 3090041"/>
                <a:gd name="connsiteX53" fmla="*/ 1416264 w 1416264"/>
                <a:gd name="connsiteY53" fmla="*/ 1848758 h 3090041"/>
                <a:gd name="connsiteX54" fmla="*/ 1416264 w 1416264"/>
                <a:gd name="connsiteY54" fmla="*/ 1989270 h 3090041"/>
                <a:gd name="connsiteX55" fmla="*/ 1351889 w 1416264"/>
                <a:gd name="connsiteY55" fmla="*/ 1989270 h 3090041"/>
                <a:gd name="connsiteX56" fmla="*/ 0 w 1416264"/>
                <a:gd name="connsiteY56" fmla="*/ 1848758 h 3090041"/>
                <a:gd name="connsiteX57" fmla="*/ 64376 w 1416264"/>
                <a:gd name="connsiteY57" fmla="*/ 1848758 h 3090041"/>
                <a:gd name="connsiteX58" fmla="*/ 64376 w 1416264"/>
                <a:gd name="connsiteY58" fmla="*/ 1989270 h 3090041"/>
                <a:gd name="connsiteX59" fmla="*/ 0 w 1416264"/>
                <a:gd name="connsiteY59" fmla="*/ 1989270 h 3090041"/>
                <a:gd name="connsiteX60" fmla="*/ 1351889 w 1416264"/>
                <a:gd name="connsiteY60" fmla="*/ 1594758 h 3090041"/>
                <a:gd name="connsiteX61" fmla="*/ 1416264 w 1416264"/>
                <a:gd name="connsiteY61" fmla="*/ 1594758 h 3090041"/>
                <a:gd name="connsiteX62" fmla="*/ 1416264 w 1416264"/>
                <a:gd name="connsiteY62" fmla="*/ 1735270 h 3090041"/>
                <a:gd name="connsiteX63" fmla="*/ 1351889 w 1416264"/>
                <a:gd name="connsiteY63" fmla="*/ 1735270 h 3090041"/>
                <a:gd name="connsiteX64" fmla="*/ 0 w 1416264"/>
                <a:gd name="connsiteY64" fmla="*/ 1594758 h 3090041"/>
                <a:gd name="connsiteX65" fmla="*/ 64376 w 1416264"/>
                <a:gd name="connsiteY65" fmla="*/ 1594758 h 3090041"/>
                <a:gd name="connsiteX66" fmla="*/ 64376 w 1416264"/>
                <a:gd name="connsiteY66" fmla="*/ 1735270 h 3090041"/>
                <a:gd name="connsiteX67" fmla="*/ 0 w 1416264"/>
                <a:gd name="connsiteY67" fmla="*/ 1735270 h 3090041"/>
                <a:gd name="connsiteX68" fmla="*/ 1351889 w 1416264"/>
                <a:gd name="connsiteY68" fmla="*/ 1340758 h 3090041"/>
                <a:gd name="connsiteX69" fmla="*/ 1416264 w 1416264"/>
                <a:gd name="connsiteY69" fmla="*/ 1340758 h 3090041"/>
                <a:gd name="connsiteX70" fmla="*/ 1416264 w 1416264"/>
                <a:gd name="connsiteY70" fmla="*/ 1481270 h 3090041"/>
                <a:gd name="connsiteX71" fmla="*/ 1351889 w 1416264"/>
                <a:gd name="connsiteY71" fmla="*/ 1481270 h 3090041"/>
                <a:gd name="connsiteX72" fmla="*/ 0 w 1416264"/>
                <a:gd name="connsiteY72" fmla="*/ 1340758 h 3090041"/>
                <a:gd name="connsiteX73" fmla="*/ 64376 w 1416264"/>
                <a:gd name="connsiteY73" fmla="*/ 1340758 h 3090041"/>
                <a:gd name="connsiteX74" fmla="*/ 64376 w 1416264"/>
                <a:gd name="connsiteY74" fmla="*/ 1481270 h 3090041"/>
                <a:gd name="connsiteX75" fmla="*/ 0 w 1416264"/>
                <a:gd name="connsiteY75" fmla="*/ 1481270 h 3090041"/>
                <a:gd name="connsiteX76" fmla="*/ 1351889 w 1416264"/>
                <a:gd name="connsiteY76" fmla="*/ 1086758 h 3090041"/>
                <a:gd name="connsiteX77" fmla="*/ 1416264 w 1416264"/>
                <a:gd name="connsiteY77" fmla="*/ 1086758 h 3090041"/>
                <a:gd name="connsiteX78" fmla="*/ 1416264 w 1416264"/>
                <a:gd name="connsiteY78" fmla="*/ 1227270 h 3090041"/>
                <a:gd name="connsiteX79" fmla="*/ 1351889 w 1416264"/>
                <a:gd name="connsiteY79" fmla="*/ 1227270 h 3090041"/>
                <a:gd name="connsiteX80" fmla="*/ 0 w 1416264"/>
                <a:gd name="connsiteY80" fmla="*/ 1086758 h 3090041"/>
                <a:gd name="connsiteX81" fmla="*/ 64376 w 1416264"/>
                <a:gd name="connsiteY81" fmla="*/ 1086758 h 3090041"/>
                <a:gd name="connsiteX82" fmla="*/ 64376 w 1416264"/>
                <a:gd name="connsiteY82" fmla="*/ 1227270 h 3090041"/>
                <a:gd name="connsiteX83" fmla="*/ 0 w 1416264"/>
                <a:gd name="connsiteY83" fmla="*/ 1227270 h 3090041"/>
                <a:gd name="connsiteX84" fmla="*/ 1351889 w 1416264"/>
                <a:gd name="connsiteY84" fmla="*/ 832758 h 3090041"/>
                <a:gd name="connsiteX85" fmla="*/ 1416264 w 1416264"/>
                <a:gd name="connsiteY85" fmla="*/ 832758 h 3090041"/>
                <a:gd name="connsiteX86" fmla="*/ 1416264 w 1416264"/>
                <a:gd name="connsiteY86" fmla="*/ 973270 h 3090041"/>
                <a:gd name="connsiteX87" fmla="*/ 1351889 w 1416264"/>
                <a:gd name="connsiteY87" fmla="*/ 973270 h 3090041"/>
                <a:gd name="connsiteX88" fmla="*/ 0 w 1416264"/>
                <a:gd name="connsiteY88" fmla="*/ 832758 h 3090041"/>
                <a:gd name="connsiteX89" fmla="*/ 64376 w 1416264"/>
                <a:gd name="connsiteY89" fmla="*/ 832758 h 3090041"/>
                <a:gd name="connsiteX90" fmla="*/ 64376 w 1416264"/>
                <a:gd name="connsiteY90" fmla="*/ 973270 h 3090041"/>
                <a:gd name="connsiteX91" fmla="*/ 0 w 1416264"/>
                <a:gd name="connsiteY91" fmla="*/ 973270 h 3090041"/>
                <a:gd name="connsiteX92" fmla="*/ 1351889 w 1416264"/>
                <a:gd name="connsiteY92" fmla="*/ 578758 h 3090041"/>
                <a:gd name="connsiteX93" fmla="*/ 1416264 w 1416264"/>
                <a:gd name="connsiteY93" fmla="*/ 578758 h 3090041"/>
                <a:gd name="connsiteX94" fmla="*/ 1416264 w 1416264"/>
                <a:gd name="connsiteY94" fmla="*/ 719270 h 3090041"/>
                <a:gd name="connsiteX95" fmla="*/ 1351889 w 1416264"/>
                <a:gd name="connsiteY95" fmla="*/ 719270 h 3090041"/>
                <a:gd name="connsiteX96" fmla="*/ 0 w 1416264"/>
                <a:gd name="connsiteY96" fmla="*/ 578758 h 3090041"/>
                <a:gd name="connsiteX97" fmla="*/ 64376 w 1416264"/>
                <a:gd name="connsiteY97" fmla="*/ 578758 h 3090041"/>
                <a:gd name="connsiteX98" fmla="*/ 64376 w 1416264"/>
                <a:gd name="connsiteY98" fmla="*/ 719270 h 3090041"/>
                <a:gd name="connsiteX99" fmla="*/ 0 w 1416264"/>
                <a:gd name="connsiteY99" fmla="*/ 719270 h 3090041"/>
                <a:gd name="connsiteX100" fmla="*/ 1351889 w 1416264"/>
                <a:gd name="connsiteY100" fmla="*/ 337458 h 3090041"/>
                <a:gd name="connsiteX101" fmla="*/ 1416264 w 1416264"/>
                <a:gd name="connsiteY101" fmla="*/ 337458 h 3090041"/>
                <a:gd name="connsiteX102" fmla="*/ 1416264 w 1416264"/>
                <a:gd name="connsiteY102" fmla="*/ 465270 h 3090041"/>
                <a:gd name="connsiteX103" fmla="*/ 1351889 w 1416264"/>
                <a:gd name="connsiteY103" fmla="*/ 465270 h 3090041"/>
                <a:gd name="connsiteX104" fmla="*/ 0 w 1416264"/>
                <a:gd name="connsiteY104" fmla="*/ 337458 h 3090041"/>
                <a:gd name="connsiteX105" fmla="*/ 64376 w 1416264"/>
                <a:gd name="connsiteY105" fmla="*/ 337458 h 3090041"/>
                <a:gd name="connsiteX106" fmla="*/ 64376 w 1416264"/>
                <a:gd name="connsiteY106" fmla="*/ 465270 h 3090041"/>
                <a:gd name="connsiteX107" fmla="*/ 0 w 1416264"/>
                <a:gd name="connsiteY107" fmla="*/ 465270 h 3090041"/>
                <a:gd name="connsiteX108" fmla="*/ 1269750 w 1416264"/>
                <a:gd name="connsiteY108" fmla="*/ 0 h 3090041"/>
                <a:gd name="connsiteX109" fmla="*/ 1416264 w 1416264"/>
                <a:gd name="connsiteY109" fmla="*/ 0 h 3090041"/>
                <a:gd name="connsiteX110" fmla="*/ 1416264 w 1416264"/>
                <a:gd name="connsiteY110" fmla="*/ 223970 h 3090041"/>
                <a:gd name="connsiteX111" fmla="*/ 1351889 w 1416264"/>
                <a:gd name="connsiteY111" fmla="*/ 223970 h 3090041"/>
                <a:gd name="connsiteX112" fmla="*/ 1351889 w 1416264"/>
                <a:gd name="connsiteY112" fmla="*/ 69020 h 3090041"/>
                <a:gd name="connsiteX113" fmla="*/ 1269750 w 1416264"/>
                <a:gd name="connsiteY113" fmla="*/ 69020 h 3090041"/>
                <a:gd name="connsiteX114" fmla="*/ 1014623 w 1416264"/>
                <a:gd name="connsiteY114" fmla="*/ 0 h 3090041"/>
                <a:gd name="connsiteX115" fmla="*/ 1156262 w 1416264"/>
                <a:gd name="connsiteY115" fmla="*/ 0 h 3090041"/>
                <a:gd name="connsiteX116" fmla="*/ 1156262 w 1416264"/>
                <a:gd name="connsiteY116" fmla="*/ 69020 h 3090041"/>
                <a:gd name="connsiteX117" fmla="*/ 1014623 w 1416264"/>
                <a:gd name="connsiteY117" fmla="*/ 69020 h 3090041"/>
                <a:gd name="connsiteX118" fmla="*/ 759496 w 1416264"/>
                <a:gd name="connsiteY118" fmla="*/ 0 h 3090041"/>
                <a:gd name="connsiteX119" fmla="*/ 901135 w 1416264"/>
                <a:gd name="connsiteY119" fmla="*/ 0 h 3090041"/>
                <a:gd name="connsiteX120" fmla="*/ 901135 w 1416264"/>
                <a:gd name="connsiteY120" fmla="*/ 69020 h 3090041"/>
                <a:gd name="connsiteX121" fmla="*/ 759496 w 1416264"/>
                <a:gd name="connsiteY121" fmla="*/ 69020 h 3090041"/>
                <a:gd name="connsiteX122" fmla="*/ 504369 w 1416264"/>
                <a:gd name="connsiteY122" fmla="*/ 0 h 3090041"/>
                <a:gd name="connsiteX123" fmla="*/ 646008 w 1416264"/>
                <a:gd name="connsiteY123" fmla="*/ 0 h 3090041"/>
                <a:gd name="connsiteX124" fmla="*/ 646008 w 1416264"/>
                <a:gd name="connsiteY124" fmla="*/ 69020 h 3090041"/>
                <a:gd name="connsiteX125" fmla="*/ 504369 w 1416264"/>
                <a:gd name="connsiteY125" fmla="*/ 69020 h 3090041"/>
                <a:gd name="connsiteX126" fmla="*/ 249242 w 1416264"/>
                <a:gd name="connsiteY126" fmla="*/ 0 h 3090041"/>
                <a:gd name="connsiteX127" fmla="*/ 390881 w 1416264"/>
                <a:gd name="connsiteY127" fmla="*/ 0 h 3090041"/>
                <a:gd name="connsiteX128" fmla="*/ 390881 w 1416264"/>
                <a:gd name="connsiteY128" fmla="*/ 69020 h 3090041"/>
                <a:gd name="connsiteX129" fmla="*/ 249242 w 1416264"/>
                <a:gd name="connsiteY129" fmla="*/ 69020 h 3090041"/>
                <a:gd name="connsiteX130" fmla="*/ 0 w 1416264"/>
                <a:gd name="connsiteY130" fmla="*/ 0 h 3090041"/>
                <a:gd name="connsiteX131" fmla="*/ 135754 w 1416264"/>
                <a:gd name="connsiteY131" fmla="*/ 0 h 3090041"/>
                <a:gd name="connsiteX132" fmla="*/ 135754 w 1416264"/>
                <a:gd name="connsiteY132" fmla="*/ 69020 h 3090041"/>
                <a:gd name="connsiteX133" fmla="*/ 64376 w 1416264"/>
                <a:gd name="connsiteY133" fmla="*/ 69020 h 3090041"/>
                <a:gd name="connsiteX134" fmla="*/ 64376 w 1416264"/>
                <a:gd name="connsiteY134" fmla="*/ 223970 h 3090041"/>
                <a:gd name="connsiteX135" fmla="*/ 0 w 1416264"/>
                <a:gd name="connsiteY135" fmla="*/ 223970 h 3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16264" h="3090041">
                  <a:moveTo>
                    <a:pt x="1014623" y="3021020"/>
                  </a:moveTo>
                  <a:lnTo>
                    <a:pt x="1156262" y="3021020"/>
                  </a:lnTo>
                  <a:lnTo>
                    <a:pt x="1156262" y="3090041"/>
                  </a:lnTo>
                  <a:lnTo>
                    <a:pt x="1014623" y="3090041"/>
                  </a:lnTo>
                  <a:close/>
                  <a:moveTo>
                    <a:pt x="759496" y="3021020"/>
                  </a:moveTo>
                  <a:lnTo>
                    <a:pt x="901135" y="3021020"/>
                  </a:lnTo>
                  <a:lnTo>
                    <a:pt x="901135" y="3090041"/>
                  </a:lnTo>
                  <a:lnTo>
                    <a:pt x="759496" y="3090041"/>
                  </a:lnTo>
                  <a:close/>
                  <a:moveTo>
                    <a:pt x="504369" y="3021020"/>
                  </a:moveTo>
                  <a:lnTo>
                    <a:pt x="646008" y="3021020"/>
                  </a:lnTo>
                  <a:lnTo>
                    <a:pt x="646008" y="3090041"/>
                  </a:lnTo>
                  <a:lnTo>
                    <a:pt x="504369" y="3090041"/>
                  </a:lnTo>
                  <a:close/>
                  <a:moveTo>
                    <a:pt x="249242" y="3021020"/>
                  </a:moveTo>
                  <a:lnTo>
                    <a:pt x="390881" y="3021020"/>
                  </a:lnTo>
                  <a:lnTo>
                    <a:pt x="390881" y="3090041"/>
                  </a:lnTo>
                  <a:lnTo>
                    <a:pt x="249242" y="3090041"/>
                  </a:lnTo>
                  <a:close/>
                  <a:moveTo>
                    <a:pt x="1351889" y="2864758"/>
                  </a:moveTo>
                  <a:lnTo>
                    <a:pt x="1416264" y="2864758"/>
                  </a:lnTo>
                  <a:lnTo>
                    <a:pt x="1416264" y="3090041"/>
                  </a:lnTo>
                  <a:lnTo>
                    <a:pt x="1269750" y="3090041"/>
                  </a:lnTo>
                  <a:lnTo>
                    <a:pt x="1269750" y="3021020"/>
                  </a:lnTo>
                  <a:lnTo>
                    <a:pt x="1351889" y="3021020"/>
                  </a:lnTo>
                  <a:close/>
                  <a:moveTo>
                    <a:pt x="0" y="2864758"/>
                  </a:moveTo>
                  <a:lnTo>
                    <a:pt x="64376" y="2864758"/>
                  </a:lnTo>
                  <a:lnTo>
                    <a:pt x="64376" y="3021020"/>
                  </a:lnTo>
                  <a:lnTo>
                    <a:pt x="135754" y="3021020"/>
                  </a:lnTo>
                  <a:lnTo>
                    <a:pt x="135754" y="3090041"/>
                  </a:lnTo>
                  <a:lnTo>
                    <a:pt x="0" y="3090041"/>
                  </a:lnTo>
                  <a:close/>
                  <a:moveTo>
                    <a:pt x="1351889" y="2610758"/>
                  </a:moveTo>
                  <a:lnTo>
                    <a:pt x="1416264" y="2610758"/>
                  </a:lnTo>
                  <a:lnTo>
                    <a:pt x="1416264" y="2751270"/>
                  </a:lnTo>
                  <a:lnTo>
                    <a:pt x="1351889" y="2751270"/>
                  </a:lnTo>
                  <a:close/>
                  <a:moveTo>
                    <a:pt x="0" y="2610758"/>
                  </a:moveTo>
                  <a:lnTo>
                    <a:pt x="64376" y="2610758"/>
                  </a:lnTo>
                  <a:lnTo>
                    <a:pt x="64376" y="2751270"/>
                  </a:lnTo>
                  <a:lnTo>
                    <a:pt x="0" y="2751270"/>
                  </a:lnTo>
                  <a:close/>
                  <a:moveTo>
                    <a:pt x="1351889" y="2356758"/>
                  </a:moveTo>
                  <a:lnTo>
                    <a:pt x="1416264" y="2356758"/>
                  </a:lnTo>
                  <a:lnTo>
                    <a:pt x="1416264" y="2497270"/>
                  </a:lnTo>
                  <a:lnTo>
                    <a:pt x="1351889" y="2497270"/>
                  </a:lnTo>
                  <a:close/>
                  <a:moveTo>
                    <a:pt x="0" y="2356758"/>
                  </a:moveTo>
                  <a:lnTo>
                    <a:pt x="64376" y="2356758"/>
                  </a:lnTo>
                  <a:lnTo>
                    <a:pt x="64376" y="2497270"/>
                  </a:lnTo>
                  <a:lnTo>
                    <a:pt x="0" y="2497270"/>
                  </a:lnTo>
                  <a:close/>
                  <a:moveTo>
                    <a:pt x="1351889" y="2102758"/>
                  </a:moveTo>
                  <a:lnTo>
                    <a:pt x="1416264" y="2102758"/>
                  </a:lnTo>
                  <a:lnTo>
                    <a:pt x="1416264" y="2243270"/>
                  </a:lnTo>
                  <a:lnTo>
                    <a:pt x="1351889" y="2243270"/>
                  </a:lnTo>
                  <a:close/>
                  <a:moveTo>
                    <a:pt x="0" y="2102758"/>
                  </a:moveTo>
                  <a:lnTo>
                    <a:pt x="64376" y="2102758"/>
                  </a:lnTo>
                  <a:lnTo>
                    <a:pt x="64376" y="2243270"/>
                  </a:lnTo>
                  <a:lnTo>
                    <a:pt x="0" y="2243270"/>
                  </a:lnTo>
                  <a:close/>
                  <a:moveTo>
                    <a:pt x="1351889" y="1848758"/>
                  </a:moveTo>
                  <a:lnTo>
                    <a:pt x="1416264" y="1848758"/>
                  </a:lnTo>
                  <a:lnTo>
                    <a:pt x="1416264" y="1989270"/>
                  </a:lnTo>
                  <a:lnTo>
                    <a:pt x="1351889" y="1989270"/>
                  </a:lnTo>
                  <a:close/>
                  <a:moveTo>
                    <a:pt x="0" y="1848758"/>
                  </a:moveTo>
                  <a:lnTo>
                    <a:pt x="64376" y="1848758"/>
                  </a:lnTo>
                  <a:lnTo>
                    <a:pt x="64376" y="1989270"/>
                  </a:lnTo>
                  <a:lnTo>
                    <a:pt x="0" y="1989270"/>
                  </a:lnTo>
                  <a:close/>
                  <a:moveTo>
                    <a:pt x="1351889" y="1594758"/>
                  </a:moveTo>
                  <a:lnTo>
                    <a:pt x="1416264" y="1594758"/>
                  </a:lnTo>
                  <a:lnTo>
                    <a:pt x="1416264" y="1735270"/>
                  </a:lnTo>
                  <a:lnTo>
                    <a:pt x="1351889" y="1735270"/>
                  </a:lnTo>
                  <a:close/>
                  <a:moveTo>
                    <a:pt x="0" y="1594758"/>
                  </a:moveTo>
                  <a:lnTo>
                    <a:pt x="64376" y="1594758"/>
                  </a:lnTo>
                  <a:lnTo>
                    <a:pt x="64376" y="1735270"/>
                  </a:lnTo>
                  <a:lnTo>
                    <a:pt x="0" y="1735270"/>
                  </a:lnTo>
                  <a:close/>
                  <a:moveTo>
                    <a:pt x="1351889" y="1340758"/>
                  </a:moveTo>
                  <a:lnTo>
                    <a:pt x="1416264" y="1340758"/>
                  </a:lnTo>
                  <a:lnTo>
                    <a:pt x="1416264" y="1481270"/>
                  </a:lnTo>
                  <a:lnTo>
                    <a:pt x="1351889" y="1481270"/>
                  </a:lnTo>
                  <a:close/>
                  <a:moveTo>
                    <a:pt x="0" y="1340758"/>
                  </a:moveTo>
                  <a:lnTo>
                    <a:pt x="64376" y="1340758"/>
                  </a:lnTo>
                  <a:lnTo>
                    <a:pt x="64376" y="1481270"/>
                  </a:lnTo>
                  <a:lnTo>
                    <a:pt x="0" y="1481270"/>
                  </a:lnTo>
                  <a:close/>
                  <a:moveTo>
                    <a:pt x="1351889" y="1086758"/>
                  </a:moveTo>
                  <a:lnTo>
                    <a:pt x="1416264" y="1086758"/>
                  </a:lnTo>
                  <a:lnTo>
                    <a:pt x="1416264" y="1227270"/>
                  </a:lnTo>
                  <a:lnTo>
                    <a:pt x="1351889" y="1227270"/>
                  </a:lnTo>
                  <a:close/>
                  <a:moveTo>
                    <a:pt x="0" y="1086758"/>
                  </a:moveTo>
                  <a:lnTo>
                    <a:pt x="64376" y="1086758"/>
                  </a:lnTo>
                  <a:lnTo>
                    <a:pt x="64376" y="1227270"/>
                  </a:lnTo>
                  <a:lnTo>
                    <a:pt x="0" y="1227270"/>
                  </a:lnTo>
                  <a:close/>
                  <a:moveTo>
                    <a:pt x="1351889" y="832758"/>
                  </a:moveTo>
                  <a:lnTo>
                    <a:pt x="1416264" y="832758"/>
                  </a:lnTo>
                  <a:lnTo>
                    <a:pt x="1416264" y="973270"/>
                  </a:lnTo>
                  <a:lnTo>
                    <a:pt x="1351889" y="973270"/>
                  </a:lnTo>
                  <a:close/>
                  <a:moveTo>
                    <a:pt x="0" y="832758"/>
                  </a:moveTo>
                  <a:lnTo>
                    <a:pt x="64376" y="832758"/>
                  </a:lnTo>
                  <a:lnTo>
                    <a:pt x="64376" y="973270"/>
                  </a:lnTo>
                  <a:lnTo>
                    <a:pt x="0" y="973270"/>
                  </a:lnTo>
                  <a:close/>
                  <a:moveTo>
                    <a:pt x="1351889" y="578758"/>
                  </a:moveTo>
                  <a:lnTo>
                    <a:pt x="1416264" y="578758"/>
                  </a:lnTo>
                  <a:lnTo>
                    <a:pt x="1416264" y="719270"/>
                  </a:lnTo>
                  <a:lnTo>
                    <a:pt x="1351889" y="719270"/>
                  </a:lnTo>
                  <a:close/>
                  <a:moveTo>
                    <a:pt x="0" y="578758"/>
                  </a:moveTo>
                  <a:lnTo>
                    <a:pt x="64376" y="578758"/>
                  </a:lnTo>
                  <a:lnTo>
                    <a:pt x="64376" y="719270"/>
                  </a:lnTo>
                  <a:lnTo>
                    <a:pt x="0" y="719270"/>
                  </a:lnTo>
                  <a:close/>
                  <a:moveTo>
                    <a:pt x="1351889" y="337458"/>
                  </a:moveTo>
                  <a:lnTo>
                    <a:pt x="1416264" y="337458"/>
                  </a:lnTo>
                  <a:lnTo>
                    <a:pt x="1416264" y="465270"/>
                  </a:lnTo>
                  <a:lnTo>
                    <a:pt x="1351889" y="465270"/>
                  </a:lnTo>
                  <a:close/>
                  <a:moveTo>
                    <a:pt x="0" y="337458"/>
                  </a:moveTo>
                  <a:lnTo>
                    <a:pt x="64376" y="337458"/>
                  </a:lnTo>
                  <a:lnTo>
                    <a:pt x="64376" y="465270"/>
                  </a:lnTo>
                  <a:lnTo>
                    <a:pt x="0" y="465270"/>
                  </a:lnTo>
                  <a:close/>
                  <a:moveTo>
                    <a:pt x="1269750" y="0"/>
                  </a:moveTo>
                  <a:lnTo>
                    <a:pt x="1416264" y="0"/>
                  </a:lnTo>
                  <a:lnTo>
                    <a:pt x="1416264" y="223970"/>
                  </a:lnTo>
                  <a:lnTo>
                    <a:pt x="1351889" y="223970"/>
                  </a:lnTo>
                  <a:lnTo>
                    <a:pt x="1351889" y="69020"/>
                  </a:lnTo>
                  <a:lnTo>
                    <a:pt x="1269750" y="69020"/>
                  </a:lnTo>
                  <a:close/>
                  <a:moveTo>
                    <a:pt x="1014623" y="0"/>
                  </a:moveTo>
                  <a:lnTo>
                    <a:pt x="1156262" y="0"/>
                  </a:lnTo>
                  <a:lnTo>
                    <a:pt x="1156262" y="69020"/>
                  </a:lnTo>
                  <a:lnTo>
                    <a:pt x="1014623" y="69020"/>
                  </a:lnTo>
                  <a:close/>
                  <a:moveTo>
                    <a:pt x="759496" y="0"/>
                  </a:moveTo>
                  <a:lnTo>
                    <a:pt x="901135" y="0"/>
                  </a:lnTo>
                  <a:lnTo>
                    <a:pt x="901135" y="69020"/>
                  </a:lnTo>
                  <a:lnTo>
                    <a:pt x="759496" y="69020"/>
                  </a:lnTo>
                  <a:close/>
                  <a:moveTo>
                    <a:pt x="504369" y="0"/>
                  </a:moveTo>
                  <a:lnTo>
                    <a:pt x="646008" y="0"/>
                  </a:lnTo>
                  <a:lnTo>
                    <a:pt x="646008" y="69020"/>
                  </a:lnTo>
                  <a:lnTo>
                    <a:pt x="504369" y="69020"/>
                  </a:lnTo>
                  <a:close/>
                  <a:moveTo>
                    <a:pt x="249242" y="0"/>
                  </a:moveTo>
                  <a:lnTo>
                    <a:pt x="390881" y="0"/>
                  </a:lnTo>
                  <a:lnTo>
                    <a:pt x="390881" y="69020"/>
                  </a:lnTo>
                  <a:lnTo>
                    <a:pt x="249242" y="69020"/>
                  </a:lnTo>
                  <a:close/>
                  <a:moveTo>
                    <a:pt x="0" y="0"/>
                  </a:moveTo>
                  <a:lnTo>
                    <a:pt x="135754" y="0"/>
                  </a:lnTo>
                  <a:lnTo>
                    <a:pt x="135754" y="69020"/>
                  </a:lnTo>
                  <a:lnTo>
                    <a:pt x="64376" y="69020"/>
                  </a:lnTo>
                  <a:lnTo>
                    <a:pt x="64376" y="223970"/>
                  </a:lnTo>
                  <a:lnTo>
                    <a:pt x="0" y="223970"/>
                  </a:lnTo>
                  <a:close/>
                </a:path>
              </a:pathLst>
            </a:cu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82" name="Rectangle 23"/>
            <p:cNvSpPr/>
            <p:nvPr/>
          </p:nvSpPr>
          <p:spPr>
            <a:xfrm>
              <a:off x="9982202" y="1119352"/>
              <a:ext cx="677917" cy="3405351"/>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83" name="Rectangle 24"/>
            <p:cNvSpPr/>
            <p:nvPr/>
          </p:nvSpPr>
          <p:spPr>
            <a:xfrm>
              <a:off x="10752085" y="788276"/>
              <a:ext cx="677917" cy="3736427"/>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84" name="Magnifying_Glass2"/>
            <p:cNvSpPr>
              <a:spLocks noChangeAspect="1" noEditPoints="1"/>
            </p:cNvSpPr>
            <p:nvPr>
              <p:custDataLst>
                <p:tags r:id="rId49"/>
              </p:custDataLst>
            </p:nvPr>
          </p:nvSpPr>
          <p:spPr bwMode="auto">
            <a:xfrm rot="537060">
              <a:off x="8523806" y="3186399"/>
              <a:ext cx="1703934" cy="1703934"/>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grpSp>
      <p:sp>
        <p:nvSpPr>
          <p:cNvPr id="92" name="Rectangle 18"/>
          <p:cNvSpPr>
            <a:spLocks noChangeArrowheads="1"/>
          </p:cNvSpPr>
          <p:nvPr/>
        </p:nvSpPr>
        <p:spPr bwMode="auto">
          <a:xfrm>
            <a:off x="8479232" y="1578606"/>
            <a:ext cx="1082153" cy="307758"/>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400" dirty="0" smtClean="0">
                <a:cs typeface="+mn-ea"/>
                <a:sym typeface="+mn-lt"/>
              </a:rPr>
              <a:t>应用程序</a:t>
            </a:r>
            <a:r>
              <a:rPr lang="en-US" altLang="zh-CN" sz="1400" dirty="0" smtClean="0">
                <a:cs typeface="+mn-ea"/>
                <a:sym typeface="+mn-lt"/>
              </a:rPr>
              <a:t>2</a:t>
            </a:r>
            <a:endParaRPr lang="en-US" altLang="zh-CN" sz="1400" dirty="0">
              <a:cs typeface="+mn-ea"/>
              <a:sym typeface="+mn-lt"/>
            </a:endParaRPr>
          </a:p>
        </p:txBody>
      </p:sp>
      <p:grpSp>
        <p:nvGrpSpPr>
          <p:cNvPr id="113" name="Graph"/>
          <p:cNvGrpSpPr>
            <a:grpSpLocks noChangeAspect="1"/>
          </p:cNvGrpSpPr>
          <p:nvPr>
            <p:custDataLst>
              <p:tags r:id="rId50"/>
            </p:custDataLst>
          </p:nvPr>
        </p:nvGrpSpPr>
        <p:grpSpPr bwMode="auto">
          <a:xfrm>
            <a:off x="7745143" y="1900913"/>
            <a:ext cx="331666" cy="420148"/>
            <a:chOff x="959" y="1717"/>
            <a:chExt cx="2875" cy="3642"/>
          </a:xfrm>
          <a:solidFill>
            <a:schemeClr val="accent1"/>
          </a:solidFill>
        </p:grpSpPr>
        <p:sp>
          <p:nvSpPr>
            <p:cNvPr id="114" name="Rectangle 467"/>
            <p:cNvSpPr>
              <a:spLocks noChangeArrowheads="1"/>
            </p:cNvSpPr>
            <p:nvPr/>
          </p:nvSpPr>
          <p:spPr bwMode="auto">
            <a:xfrm>
              <a:off x="3496" y="2056"/>
              <a:ext cx="338" cy="3303"/>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15" name="Rectangle 468"/>
            <p:cNvSpPr>
              <a:spLocks noChangeArrowheads="1"/>
            </p:cNvSpPr>
            <p:nvPr/>
          </p:nvSpPr>
          <p:spPr bwMode="auto">
            <a:xfrm>
              <a:off x="3073" y="2605"/>
              <a:ext cx="339" cy="2754"/>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16" name="Rectangle 469"/>
            <p:cNvSpPr>
              <a:spLocks noChangeArrowheads="1"/>
            </p:cNvSpPr>
            <p:nvPr/>
          </p:nvSpPr>
          <p:spPr bwMode="auto">
            <a:xfrm>
              <a:off x="2651" y="3157"/>
              <a:ext cx="338" cy="2202"/>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17" name="Rectangle 470"/>
            <p:cNvSpPr>
              <a:spLocks noChangeArrowheads="1"/>
            </p:cNvSpPr>
            <p:nvPr/>
          </p:nvSpPr>
          <p:spPr bwMode="auto">
            <a:xfrm>
              <a:off x="2228" y="3706"/>
              <a:ext cx="338" cy="1653"/>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18" name="Rectangle 471"/>
            <p:cNvSpPr>
              <a:spLocks noChangeArrowheads="1"/>
            </p:cNvSpPr>
            <p:nvPr/>
          </p:nvSpPr>
          <p:spPr bwMode="auto">
            <a:xfrm>
              <a:off x="1805" y="4258"/>
              <a:ext cx="338" cy="1101"/>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19" name="Rectangle 472"/>
            <p:cNvSpPr>
              <a:spLocks noChangeArrowheads="1"/>
            </p:cNvSpPr>
            <p:nvPr/>
          </p:nvSpPr>
          <p:spPr bwMode="auto">
            <a:xfrm>
              <a:off x="1382" y="4807"/>
              <a:ext cx="338" cy="552"/>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20" name="Rectangle 473"/>
            <p:cNvSpPr>
              <a:spLocks noChangeArrowheads="1"/>
            </p:cNvSpPr>
            <p:nvPr/>
          </p:nvSpPr>
          <p:spPr bwMode="auto">
            <a:xfrm>
              <a:off x="959" y="5190"/>
              <a:ext cx="339" cy="169"/>
            </a:xfrm>
            <a:prstGeom prst="rect">
              <a:avLst/>
            </a:pr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sp>
          <p:nvSpPr>
            <p:cNvPr id="121" name="Freeform 474"/>
            <p:cNvSpPr/>
            <p:nvPr/>
          </p:nvSpPr>
          <p:spPr bwMode="auto">
            <a:xfrm>
              <a:off x="1044" y="1717"/>
              <a:ext cx="2050" cy="3175"/>
            </a:xfrm>
            <a:custGeom>
              <a:avLst/>
              <a:gdLst>
                <a:gd name="T0" fmla="*/ 588 w 606"/>
                <a:gd name="T1" fmla="*/ 0 h 937"/>
                <a:gd name="T2" fmla="*/ 500 w 606"/>
                <a:gd name="T3" fmla="*/ 78 h 937"/>
                <a:gd name="T4" fmla="*/ 546 w 606"/>
                <a:gd name="T5" fmla="*/ 67 h 937"/>
                <a:gd name="T6" fmla="*/ 300 w 606"/>
                <a:gd name="T7" fmla="*/ 525 h 937"/>
                <a:gd name="T8" fmla="*/ 0 w 606"/>
                <a:gd name="T9" fmla="*/ 937 h 937"/>
                <a:gd name="T10" fmla="*/ 187 w 606"/>
                <a:gd name="T11" fmla="*/ 712 h 937"/>
                <a:gd name="T12" fmla="*/ 578 w 606"/>
                <a:gd name="T13" fmla="*/ 76 h 937"/>
                <a:gd name="T14" fmla="*/ 606 w 606"/>
                <a:gd name="T15" fmla="*/ 121 h 937"/>
                <a:gd name="T16" fmla="*/ 588 w 606"/>
                <a:gd name="T1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6" h="937">
                  <a:moveTo>
                    <a:pt x="588" y="0"/>
                  </a:moveTo>
                  <a:lnTo>
                    <a:pt x="500" y="78"/>
                  </a:lnTo>
                  <a:lnTo>
                    <a:pt x="546" y="67"/>
                  </a:lnTo>
                  <a:cubicBezTo>
                    <a:pt x="483" y="213"/>
                    <a:pt x="393" y="384"/>
                    <a:pt x="300" y="525"/>
                  </a:cubicBezTo>
                  <a:cubicBezTo>
                    <a:pt x="225" y="637"/>
                    <a:pt x="15" y="907"/>
                    <a:pt x="0" y="937"/>
                  </a:cubicBezTo>
                  <a:cubicBezTo>
                    <a:pt x="0" y="937"/>
                    <a:pt x="99" y="824"/>
                    <a:pt x="187" y="712"/>
                  </a:cubicBezTo>
                  <a:cubicBezTo>
                    <a:pt x="375" y="475"/>
                    <a:pt x="450" y="337"/>
                    <a:pt x="578" y="76"/>
                  </a:cubicBezTo>
                  <a:lnTo>
                    <a:pt x="606" y="121"/>
                  </a:lnTo>
                  <a:lnTo>
                    <a:pt x="588" y="0"/>
                  </a:lnTo>
                  <a:close/>
                </a:path>
              </a:pathLst>
            </a:custGeom>
            <a:solidFill>
              <a:srgbClr val="C00000"/>
            </a:solidFill>
            <a:ln>
              <a:noFill/>
            </a:ln>
            <a:effectLst>
              <a:outerShdw blurRad="50800" dist="38100" dir="2700000" algn="tl" rotWithShape="0">
                <a:prstClr val="black">
                  <a:alpha val="40000"/>
                </a:prstClr>
              </a:outerShdw>
            </a:effectLst>
          </p:spPr>
          <p:txBody>
            <a:bodyPr wrap="none" anchor="ctr"/>
            <a:lstStyle/>
            <a:p>
              <a:pPr fontAlgn="auto">
                <a:spcBef>
                  <a:spcPts val="0"/>
                </a:spcBef>
                <a:spcAft>
                  <a:spcPts val="0"/>
                </a:spcAft>
              </a:pPr>
              <a:endParaRPr lang="en-US" sz="1800" dirty="0">
                <a:solidFill>
                  <a:prstClr val="black"/>
                </a:solidFill>
                <a:cs typeface="+mn-ea"/>
                <a:sym typeface="+mn-lt"/>
              </a:endParaRPr>
            </a:p>
          </p:txBody>
        </p:sp>
      </p:grpSp>
      <p:sp>
        <p:nvSpPr>
          <p:cNvPr id="131" name="Rectangle 18"/>
          <p:cNvSpPr>
            <a:spLocks noChangeArrowheads="1"/>
          </p:cNvSpPr>
          <p:nvPr/>
        </p:nvSpPr>
        <p:spPr bwMode="auto">
          <a:xfrm>
            <a:off x="7335156" y="1578606"/>
            <a:ext cx="1082153" cy="307758"/>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400" dirty="0" smtClean="0">
                <a:cs typeface="+mn-ea"/>
                <a:sym typeface="+mn-lt"/>
              </a:rPr>
              <a:t>应用程序</a:t>
            </a:r>
            <a:r>
              <a:rPr lang="en-US" altLang="zh-CN" sz="1400" dirty="0">
                <a:cs typeface="+mn-ea"/>
                <a:sym typeface="+mn-lt"/>
              </a:rPr>
              <a:t>1</a:t>
            </a:r>
            <a:endParaRPr lang="en-US" altLang="zh-CN" sz="1400" dirty="0">
              <a:cs typeface="+mn-ea"/>
              <a:sym typeface="+mn-lt"/>
            </a:endParaRPr>
          </a:p>
        </p:txBody>
      </p:sp>
      <p:sp>
        <p:nvSpPr>
          <p:cNvPr id="150" name="Flowchart: Magnetic Disk 99"/>
          <p:cNvSpPr/>
          <p:nvPr/>
        </p:nvSpPr>
        <p:spPr>
          <a:xfrm>
            <a:off x="8373253" y="4486847"/>
            <a:ext cx="1314146" cy="1498437"/>
          </a:xfrm>
          <a:prstGeom prst="flowChartMagneticDisk">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fr-FR" sz="1800">
              <a:solidFill>
                <a:schemeClr val="tx1"/>
              </a:solidFill>
              <a:cs typeface="+mn-ea"/>
              <a:sym typeface="+mn-lt"/>
            </a:endParaRPr>
          </a:p>
        </p:txBody>
      </p:sp>
      <p:sp>
        <p:nvSpPr>
          <p:cNvPr id="151" name="Rectangle 18"/>
          <p:cNvSpPr>
            <a:spLocks noChangeArrowheads="1"/>
          </p:cNvSpPr>
          <p:nvPr/>
        </p:nvSpPr>
        <p:spPr bwMode="auto">
          <a:xfrm>
            <a:off x="8558238" y="4564878"/>
            <a:ext cx="922628" cy="338536"/>
          </a:xfrm>
          <a:prstGeom prst="rect">
            <a:avLst/>
          </a:prstGeom>
          <a:noFill/>
          <a:ln w="28575" algn="ctr">
            <a:noFill/>
            <a:miter lim="800000"/>
          </a:ln>
          <a:effectLst>
            <a:outerShdw blurRad="50800" dist="38100" dir="2700000" algn="tl" rotWithShape="0">
              <a:prstClr val="black">
                <a:alpha val="40000"/>
              </a:prstClr>
            </a:outerShdw>
          </a:effectLst>
        </p:spPr>
        <p:txBody>
          <a:bodyPr wrap="square" lIns="91422" tIns="45711" rIns="91422" bIns="45711">
            <a:spAutoFit/>
          </a:bodyPr>
          <a:lstStyle/>
          <a:p>
            <a:pPr algn="ctr" defTabSz="783590"/>
            <a:r>
              <a:rPr lang="zh-CN" altLang="en-US" sz="1600" dirty="0">
                <a:cs typeface="+mn-ea"/>
                <a:sym typeface="+mn-lt"/>
              </a:rPr>
              <a:t>数据库</a:t>
            </a:r>
            <a:endParaRPr lang="en-US" altLang="zh-CN" sz="1600" dirty="0">
              <a:cs typeface="+mn-ea"/>
              <a:sym typeface="+mn-lt"/>
            </a:endParaRPr>
          </a:p>
        </p:txBody>
      </p:sp>
      <p:sp>
        <p:nvSpPr>
          <p:cNvPr id="161" name="矩形 160"/>
          <p:cNvSpPr/>
          <p:nvPr/>
        </p:nvSpPr>
        <p:spPr bwMode="auto">
          <a:xfrm>
            <a:off x="8652284" y="5079855"/>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162" name="矩形 161"/>
          <p:cNvSpPr/>
          <p:nvPr/>
        </p:nvSpPr>
        <p:spPr bwMode="auto">
          <a:xfrm>
            <a:off x="9210979" y="5377803"/>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163" name="矩形 162"/>
          <p:cNvSpPr/>
          <p:nvPr/>
        </p:nvSpPr>
        <p:spPr bwMode="auto">
          <a:xfrm>
            <a:off x="8652284" y="5377804"/>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sp>
        <p:nvSpPr>
          <p:cNvPr id="165" name="矩形 164"/>
          <p:cNvSpPr/>
          <p:nvPr/>
        </p:nvSpPr>
        <p:spPr bwMode="auto">
          <a:xfrm>
            <a:off x="8921927" y="5675753"/>
            <a:ext cx="325028" cy="201519"/>
          </a:xfrm>
          <a:prstGeom prst="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cxnSp>
        <p:nvCxnSpPr>
          <p:cNvPr id="169" name="直接连接符 168"/>
          <p:cNvCxnSpPr>
            <a:stCxn id="161" idx="2"/>
            <a:endCxn id="163" idx="0"/>
          </p:cNvCxnSpPr>
          <p:nvPr/>
        </p:nvCxnSpPr>
        <p:spPr bwMode="auto">
          <a:xfrm>
            <a:off x="8814798" y="5281374"/>
            <a:ext cx="0" cy="96430"/>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72" name="直接连接符 171"/>
          <p:cNvCxnSpPr>
            <a:stCxn id="163" idx="2"/>
          </p:cNvCxnSpPr>
          <p:nvPr/>
        </p:nvCxnSpPr>
        <p:spPr bwMode="auto">
          <a:xfrm flipH="1">
            <a:off x="8804260" y="5579323"/>
            <a:ext cx="0" cy="19718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75" name="直接连接符 174"/>
          <p:cNvCxnSpPr>
            <a:stCxn id="165" idx="1"/>
          </p:cNvCxnSpPr>
          <p:nvPr/>
        </p:nvCxnSpPr>
        <p:spPr bwMode="auto">
          <a:xfrm flipH="1" flipV="1">
            <a:off x="8804260" y="5776512"/>
            <a:ext cx="117667" cy="1"/>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82" name="直接连接符 181"/>
          <p:cNvCxnSpPr/>
          <p:nvPr/>
        </p:nvCxnSpPr>
        <p:spPr bwMode="auto">
          <a:xfrm flipH="1">
            <a:off x="9361240" y="5579323"/>
            <a:ext cx="0" cy="197189"/>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183" name="直接连接符 182"/>
          <p:cNvCxnSpPr/>
          <p:nvPr/>
        </p:nvCxnSpPr>
        <p:spPr bwMode="auto">
          <a:xfrm flipH="1" flipV="1">
            <a:off x="9254697" y="5776512"/>
            <a:ext cx="117667" cy="1"/>
          </a:xfrm>
          <a:prstGeom prst="line">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cxn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系统发展特点</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279397" cy="4680000"/>
          </a:xfrm>
          <a:ln>
            <a:solidFill>
              <a:schemeClr val="bg1"/>
            </a:solidFill>
          </a:ln>
        </p:spPr>
        <p:txBody>
          <a:bodyPr>
            <a:normAutofit/>
          </a:bodyPr>
          <a:lstStyle/>
          <a:p>
            <a:r>
              <a:rPr lang="zh-CN" altLang="en-US" sz="2000" dirty="0" smtClean="0">
                <a:latin typeface="+mn-lt"/>
                <a:ea typeface="+mn-ea"/>
                <a:cs typeface="+mn-ea"/>
                <a:sym typeface="+mn-lt"/>
              </a:rPr>
              <a:t>数据库系统已经成为计算机信息系统和智能应用系统的核心技术之一和重要基础。</a:t>
            </a:r>
            <a:endParaRPr lang="en-US" altLang="zh-CN" sz="2000" dirty="0" smtClean="0">
              <a:latin typeface="+mn-lt"/>
              <a:ea typeface="+mn-ea"/>
              <a:cs typeface="+mn-ea"/>
              <a:sym typeface="+mn-lt"/>
            </a:endParaRPr>
          </a:p>
          <a:p>
            <a:r>
              <a:rPr lang="zh-CN" altLang="en-US" sz="2000" dirty="0" smtClean="0">
                <a:latin typeface="+mn-lt"/>
                <a:ea typeface="+mn-ea"/>
                <a:cs typeface="+mn-ea"/>
                <a:sym typeface="+mn-lt"/>
              </a:rPr>
              <a:t>数据库系统的发展特点</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据库的发展集中表现在数据模型的发展上；</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与其它计算机技术交叉结合；</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面向应用领域发展数据库新技术。</a:t>
            </a:r>
            <a:endParaRPr lang="en-US" altLang="zh-CN" sz="1800" dirty="0" smtClean="0">
              <a:latin typeface="+mn-lt"/>
              <a:ea typeface="+mn-ea"/>
              <a:cs typeface="+mn-ea"/>
              <a:sym typeface="+mn-lt"/>
            </a:endParaRPr>
          </a:p>
          <a:p>
            <a:pPr lvl="1"/>
            <a:endParaRPr lang="en-US" altLang="zh-CN"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89" name="Line 20"/>
          <p:cNvSpPr>
            <a:spLocks noChangeShapeType="1"/>
          </p:cNvSpPr>
          <p:nvPr/>
        </p:nvSpPr>
        <p:spPr bwMode="auto">
          <a:xfrm flipV="1">
            <a:off x="7501296" y="4145200"/>
            <a:ext cx="3384374" cy="2331"/>
          </a:xfrm>
          <a:prstGeom prst="line">
            <a:avLst/>
          </a:prstGeom>
          <a:noFill/>
          <a:ln w="19050">
            <a:solidFill>
              <a:srgbClr val="C00000"/>
            </a:solidFill>
            <a:prstDash val="dash"/>
            <a:round/>
            <a:tailEnd type="arrow" w="med" len="med"/>
          </a:ln>
          <a:effectLst/>
        </p:spPr>
        <p:txBody>
          <a:bodyPr wrap="square" lIns="83448" tIns="41724" rIns="83448" bIns="41724" anchor="ctr">
            <a:spAutoFit/>
          </a:bodyPr>
          <a:lstStyle/>
          <a:p>
            <a:endParaRPr lang="en-US" sz="800">
              <a:cs typeface="+mn-ea"/>
              <a:sym typeface="+mn-lt"/>
            </a:endParaRPr>
          </a:p>
        </p:txBody>
      </p:sp>
      <p:sp>
        <p:nvSpPr>
          <p:cNvPr id="91" name="Text Box 10"/>
          <p:cNvSpPr txBox="1">
            <a:spLocks noChangeArrowheads="1"/>
          </p:cNvSpPr>
          <p:nvPr/>
        </p:nvSpPr>
        <p:spPr bwMode="auto">
          <a:xfrm>
            <a:off x="5373928" y="5785538"/>
            <a:ext cx="902775" cy="307758"/>
          </a:xfrm>
          <a:prstGeom prst="rect">
            <a:avLst/>
          </a:prstGeom>
          <a:noFill/>
          <a:ln w="9525">
            <a:noFill/>
            <a:miter lim="800000"/>
          </a:ln>
          <a:effectLst/>
        </p:spPr>
        <p:txBody>
          <a:bodyPr wrap="none" lIns="91422" tIns="45711" rIns="91422" bIns="45711">
            <a:spAutoFit/>
          </a:bodyPr>
          <a:lstStyle/>
          <a:p>
            <a:pPr defTabSz="914400"/>
            <a:r>
              <a:rPr kumimoji="1" lang="zh-CN" altLang="en-US" sz="1400" b="1" dirty="0" smtClean="0">
                <a:solidFill>
                  <a:srgbClr val="006699"/>
                </a:solidFill>
                <a:cs typeface="+mn-ea"/>
                <a:sym typeface="+mn-lt"/>
              </a:rPr>
              <a:t>数据模型</a:t>
            </a:r>
            <a:endParaRPr kumimoji="1" lang="en-US" altLang="zh-CN" sz="1400" dirty="0">
              <a:solidFill>
                <a:srgbClr val="006699"/>
              </a:solidFill>
              <a:cs typeface="+mn-ea"/>
              <a:sym typeface="+mn-lt"/>
            </a:endParaRPr>
          </a:p>
        </p:txBody>
      </p:sp>
      <p:sp>
        <p:nvSpPr>
          <p:cNvPr id="106" name="Line 20"/>
          <p:cNvSpPr>
            <a:spLocks noChangeShapeType="1"/>
          </p:cNvSpPr>
          <p:nvPr/>
        </p:nvSpPr>
        <p:spPr bwMode="auto">
          <a:xfrm flipH="1">
            <a:off x="5700558" y="4166902"/>
            <a:ext cx="1798628" cy="1673820"/>
          </a:xfrm>
          <a:prstGeom prst="line">
            <a:avLst/>
          </a:prstGeom>
          <a:noFill/>
          <a:ln w="19050">
            <a:solidFill>
              <a:srgbClr val="006699"/>
            </a:solidFill>
            <a:prstDash val="dash"/>
            <a:round/>
            <a:tailEnd type="arrow" w="med" len="med"/>
          </a:ln>
          <a:effectLst/>
        </p:spPr>
        <p:txBody>
          <a:bodyPr wrap="square" lIns="83448" tIns="41724" rIns="83448" bIns="41724" anchor="ctr">
            <a:spAutoFit/>
          </a:bodyPr>
          <a:lstStyle/>
          <a:p>
            <a:endParaRPr lang="en-US" sz="800">
              <a:cs typeface="+mn-ea"/>
              <a:sym typeface="+mn-lt"/>
            </a:endParaRPr>
          </a:p>
        </p:txBody>
      </p:sp>
      <p:sp>
        <p:nvSpPr>
          <p:cNvPr id="107" name="Line 20"/>
          <p:cNvSpPr>
            <a:spLocks noChangeShapeType="1"/>
          </p:cNvSpPr>
          <p:nvPr/>
        </p:nvSpPr>
        <p:spPr bwMode="auto">
          <a:xfrm flipV="1">
            <a:off x="7501294" y="1679293"/>
            <a:ext cx="2" cy="2465908"/>
          </a:xfrm>
          <a:prstGeom prst="line">
            <a:avLst/>
          </a:prstGeom>
          <a:noFill/>
          <a:ln w="19050">
            <a:solidFill>
              <a:schemeClr val="tx1"/>
            </a:solidFill>
            <a:prstDash val="dash"/>
            <a:round/>
            <a:tailEnd type="arrow" w="med" len="med"/>
          </a:ln>
          <a:effectLst/>
        </p:spPr>
        <p:txBody>
          <a:bodyPr wrap="square" lIns="83448" tIns="41724" rIns="83448" bIns="41724" anchor="ctr">
            <a:spAutoFit/>
          </a:bodyPr>
          <a:lstStyle/>
          <a:p>
            <a:endParaRPr lang="en-US" sz="800">
              <a:cs typeface="+mn-ea"/>
              <a:sym typeface="+mn-lt"/>
            </a:endParaRPr>
          </a:p>
        </p:txBody>
      </p:sp>
      <p:sp>
        <p:nvSpPr>
          <p:cNvPr id="108" name="Text Box 10"/>
          <p:cNvSpPr txBox="1">
            <a:spLocks noChangeArrowheads="1"/>
          </p:cNvSpPr>
          <p:nvPr/>
        </p:nvSpPr>
        <p:spPr bwMode="auto">
          <a:xfrm>
            <a:off x="7295004" y="1368370"/>
            <a:ext cx="902775" cy="307758"/>
          </a:xfrm>
          <a:prstGeom prst="rect">
            <a:avLst/>
          </a:prstGeom>
          <a:noFill/>
          <a:ln w="9525">
            <a:noFill/>
            <a:miter lim="800000"/>
          </a:ln>
          <a:effectLst/>
        </p:spPr>
        <p:txBody>
          <a:bodyPr wrap="none" lIns="91422" tIns="45711" rIns="91422" bIns="45711">
            <a:spAutoFit/>
          </a:bodyPr>
          <a:lstStyle/>
          <a:p>
            <a:pPr defTabSz="914400"/>
            <a:r>
              <a:rPr kumimoji="1" lang="zh-CN" altLang="en-US" sz="1400" b="1" dirty="0" smtClean="0">
                <a:cs typeface="+mn-ea"/>
                <a:sym typeface="+mn-lt"/>
              </a:rPr>
              <a:t>应用领域</a:t>
            </a:r>
            <a:endParaRPr kumimoji="1" lang="en-US" altLang="zh-CN" sz="1400" dirty="0">
              <a:cs typeface="+mn-ea"/>
              <a:sym typeface="+mn-lt"/>
            </a:endParaRPr>
          </a:p>
        </p:txBody>
      </p:sp>
      <p:sp>
        <p:nvSpPr>
          <p:cNvPr id="109" name="Text Box 10"/>
          <p:cNvSpPr txBox="1">
            <a:spLocks noChangeArrowheads="1"/>
          </p:cNvSpPr>
          <p:nvPr/>
        </p:nvSpPr>
        <p:spPr bwMode="auto">
          <a:xfrm>
            <a:off x="10524050" y="4199106"/>
            <a:ext cx="723239" cy="523202"/>
          </a:xfrm>
          <a:prstGeom prst="rect">
            <a:avLst/>
          </a:prstGeom>
          <a:noFill/>
          <a:ln w="9525">
            <a:noFill/>
            <a:miter lim="800000"/>
          </a:ln>
          <a:effectLst/>
        </p:spPr>
        <p:txBody>
          <a:bodyPr wrap="none" lIns="91422" tIns="45711" rIns="91422" bIns="45711">
            <a:spAutoFit/>
          </a:bodyPr>
          <a:lstStyle>
            <a:defPPr>
              <a:defRPr lang="zh-CN"/>
            </a:defPPr>
            <a:lvl1pPr defTabSz="914400">
              <a:defRPr kumimoji="1" sz="1400" b="1">
                <a:latin typeface="+mn-lt"/>
                <a:ea typeface="+mn-ea"/>
              </a:defRPr>
            </a:lvl1pPr>
          </a:lstStyle>
          <a:p>
            <a:pPr algn="ctr"/>
            <a:r>
              <a:rPr lang="zh-CN" altLang="en-US" dirty="0">
                <a:solidFill>
                  <a:srgbClr val="C00000"/>
                </a:solidFill>
                <a:cs typeface="+mn-ea"/>
                <a:sym typeface="+mn-lt"/>
              </a:rPr>
              <a:t>计算机</a:t>
            </a:r>
            <a:endParaRPr lang="en-US" altLang="zh-CN" dirty="0">
              <a:solidFill>
                <a:srgbClr val="C00000"/>
              </a:solidFill>
              <a:cs typeface="+mn-ea"/>
              <a:sym typeface="+mn-lt"/>
            </a:endParaRPr>
          </a:p>
          <a:p>
            <a:pPr algn="ctr"/>
            <a:r>
              <a:rPr lang="zh-CN" altLang="en-US" dirty="0">
                <a:solidFill>
                  <a:srgbClr val="C00000"/>
                </a:solidFill>
                <a:cs typeface="+mn-ea"/>
                <a:sym typeface="+mn-lt"/>
              </a:rPr>
              <a:t>技术</a:t>
            </a:r>
            <a:endParaRPr lang="en-US" altLang="zh-CN" dirty="0">
              <a:solidFill>
                <a:srgbClr val="C00000"/>
              </a:solidFill>
              <a:cs typeface="+mn-ea"/>
              <a:sym typeface="+mn-lt"/>
            </a:endParaRPr>
          </a:p>
        </p:txBody>
      </p:sp>
      <p:sp>
        <p:nvSpPr>
          <p:cNvPr id="110" name="Text Box 10"/>
          <p:cNvSpPr txBox="1">
            <a:spLocks noChangeArrowheads="1"/>
          </p:cNvSpPr>
          <p:nvPr/>
        </p:nvSpPr>
        <p:spPr bwMode="auto">
          <a:xfrm>
            <a:off x="6053911" y="4067482"/>
            <a:ext cx="1261848"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solidFill>
                  <a:srgbClr val="006699"/>
                </a:solidFill>
                <a:cs typeface="+mn-ea"/>
                <a:sym typeface="+mn-lt"/>
              </a:rPr>
              <a:t>层次、网状模型</a:t>
            </a:r>
            <a:endParaRPr kumimoji="1" lang="en-US" altLang="zh-CN" sz="1200" dirty="0">
              <a:solidFill>
                <a:srgbClr val="006699"/>
              </a:solidFill>
              <a:cs typeface="+mn-ea"/>
              <a:sym typeface="+mn-lt"/>
            </a:endParaRPr>
          </a:p>
        </p:txBody>
      </p:sp>
      <p:cxnSp>
        <p:nvCxnSpPr>
          <p:cNvPr id="5" name="直接连接符 4"/>
          <p:cNvCxnSpPr/>
          <p:nvPr/>
        </p:nvCxnSpPr>
        <p:spPr bwMode="auto">
          <a:xfrm>
            <a:off x="7232730" y="4313738"/>
            <a:ext cx="124548" cy="62451"/>
          </a:xfrm>
          <a:prstGeom prst="line">
            <a:avLst/>
          </a:prstGeom>
          <a:solidFill>
            <a:schemeClr val="accent1"/>
          </a:solidFill>
          <a:ln w="9525" cap="flat" cmpd="sng" algn="ctr">
            <a:solidFill>
              <a:srgbClr val="006699"/>
            </a:solidFill>
            <a:prstDash val="solid"/>
            <a:round/>
            <a:headEnd type="none" w="med" len="med"/>
            <a:tailEnd type="none" w="med" len="med"/>
          </a:ln>
          <a:effectLst/>
        </p:spPr>
      </p:cxnSp>
      <p:cxnSp>
        <p:nvCxnSpPr>
          <p:cNvPr id="122" name="直接连接符 121"/>
          <p:cNvCxnSpPr/>
          <p:nvPr/>
        </p:nvCxnSpPr>
        <p:spPr bwMode="auto">
          <a:xfrm>
            <a:off x="6980702" y="4548892"/>
            <a:ext cx="124548" cy="62451"/>
          </a:xfrm>
          <a:prstGeom prst="line">
            <a:avLst/>
          </a:prstGeom>
          <a:solidFill>
            <a:schemeClr val="accent1"/>
          </a:solidFill>
          <a:ln w="9525" cap="flat" cmpd="sng" algn="ctr">
            <a:solidFill>
              <a:srgbClr val="006699"/>
            </a:solidFill>
            <a:prstDash val="solid"/>
            <a:round/>
            <a:headEnd type="none" w="med" len="med"/>
            <a:tailEnd type="none" w="med" len="med"/>
          </a:ln>
          <a:effectLst/>
        </p:spPr>
      </p:cxnSp>
      <p:sp>
        <p:nvSpPr>
          <p:cNvPr id="123" name="Text Box 10"/>
          <p:cNvSpPr txBox="1">
            <a:spLocks noChangeArrowheads="1"/>
          </p:cNvSpPr>
          <p:nvPr/>
        </p:nvSpPr>
        <p:spPr bwMode="auto">
          <a:xfrm>
            <a:off x="6222388" y="4323832"/>
            <a:ext cx="800183"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a:solidFill>
                  <a:srgbClr val="006699"/>
                </a:solidFill>
                <a:cs typeface="+mn-ea"/>
                <a:sym typeface="+mn-lt"/>
              </a:rPr>
              <a:t>关系</a:t>
            </a:r>
            <a:r>
              <a:rPr kumimoji="1" lang="zh-CN" altLang="en-US" sz="1200" dirty="0" smtClean="0">
                <a:solidFill>
                  <a:srgbClr val="006699"/>
                </a:solidFill>
                <a:cs typeface="+mn-ea"/>
                <a:sym typeface="+mn-lt"/>
              </a:rPr>
              <a:t>模型</a:t>
            </a:r>
            <a:endParaRPr kumimoji="1" lang="en-US" altLang="zh-CN" sz="1200" dirty="0">
              <a:solidFill>
                <a:srgbClr val="006699"/>
              </a:solidFill>
              <a:cs typeface="+mn-ea"/>
              <a:sym typeface="+mn-lt"/>
            </a:endParaRPr>
          </a:p>
        </p:txBody>
      </p:sp>
      <p:cxnSp>
        <p:nvCxnSpPr>
          <p:cNvPr id="126" name="直接连接符 125"/>
          <p:cNvCxnSpPr/>
          <p:nvPr/>
        </p:nvCxnSpPr>
        <p:spPr bwMode="auto">
          <a:xfrm>
            <a:off x="6702409" y="4800006"/>
            <a:ext cx="124548" cy="62451"/>
          </a:xfrm>
          <a:prstGeom prst="line">
            <a:avLst/>
          </a:prstGeom>
          <a:solidFill>
            <a:schemeClr val="accent1"/>
          </a:solidFill>
          <a:ln w="9525" cap="flat" cmpd="sng" algn="ctr">
            <a:solidFill>
              <a:srgbClr val="006699"/>
            </a:solidFill>
            <a:prstDash val="solid"/>
            <a:round/>
            <a:headEnd type="none" w="med" len="med"/>
            <a:tailEnd type="none" w="med" len="med"/>
          </a:ln>
          <a:effectLst/>
        </p:spPr>
      </p:cxnSp>
      <p:sp>
        <p:nvSpPr>
          <p:cNvPr id="127" name="Text Box 10"/>
          <p:cNvSpPr txBox="1">
            <a:spLocks noChangeArrowheads="1"/>
          </p:cNvSpPr>
          <p:nvPr/>
        </p:nvSpPr>
        <p:spPr bwMode="auto">
          <a:xfrm>
            <a:off x="5681619" y="4576310"/>
            <a:ext cx="1107959"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solidFill>
                  <a:srgbClr val="006699"/>
                </a:solidFill>
                <a:cs typeface="+mn-ea"/>
                <a:sym typeface="+mn-lt"/>
              </a:rPr>
              <a:t>面向对象模型</a:t>
            </a:r>
            <a:endParaRPr kumimoji="1" lang="en-US" altLang="zh-CN" sz="1200" dirty="0">
              <a:solidFill>
                <a:srgbClr val="006699"/>
              </a:solidFill>
              <a:cs typeface="+mn-ea"/>
              <a:sym typeface="+mn-lt"/>
            </a:endParaRPr>
          </a:p>
        </p:txBody>
      </p:sp>
      <p:cxnSp>
        <p:nvCxnSpPr>
          <p:cNvPr id="129" name="直接连接符 128"/>
          <p:cNvCxnSpPr/>
          <p:nvPr/>
        </p:nvCxnSpPr>
        <p:spPr bwMode="auto">
          <a:xfrm>
            <a:off x="6440642" y="5054444"/>
            <a:ext cx="124548" cy="62451"/>
          </a:xfrm>
          <a:prstGeom prst="line">
            <a:avLst/>
          </a:prstGeom>
          <a:solidFill>
            <a:schemeClr val="accent1"/>
          </a:solidFill>
          <a:ln w="9525" cap="flat" cmpd="sng" algn="ctr">
            <a:solidFill>
              <a:srgbClr val="006699"/>
            </a:solidFill>
            <a:prstDash val="solid"/>
            <a:round/>
            <a:headEnd type="none" w="med" len="med"/>
            <a:tailEnd type="none" w="med" len="med"/>
          </a:ln>
          <a:effectLst/>
        </p:spPr>
      </p:cxnSp>
      <p:sp>
        <p:nvSpPr>
          <p:cNvPr id="130" name="Text Box 10"/>
          <p:cNvSpPr txBox="1">
            <a:spLocks noChangeArrowheads="1"/>
          </p:cNvSpPr>
          <p:nvPr/>
        </p:nvSpPr>
        <p:spPr bwMode="auto">
          <a:xfrm>
            <a:off x="5258990" y="4839914"/>
            <a:ext cx="1274672" cy="276981"/>
          </a:xfrm>
          <a:prstGeom prst="rect">
            <a:avLst/>
          </a:prstGeom>
          <a:noFill/>
          <a:ln w="9525">
            <a:noFill/>
            <a:miter lim="800000"/>
          </a:ln>
          <a:effectLst/>
        </p:spPr>
        <p:txBody>
          <a:bodyPr wrap="none" lIns="91422" tIns="45711" rIns="91422" bIns="45711">
            <a:spAutoFit/>
          </a:bodyPr>
          <a:lstStyle/>
          <a:p>
            <a:pPr defTabSz="914400"/>
            <a:r>
              <a:rPr kumimoji="1" lang="en-US" altLang="zh-CN" sz="1200" dirty="0" smtClean="0">
                <a:solidFill>
                  <a:srgbClr val="006699"/>
                </a:solidFill>
                <a:cs typeface="+mn-ea"/>
                <a:sym typeface="+mn-lt"/>
              </a:rPr>
              <a:t>XML</a:t>
            </a:r>
            <a:r>
              <a:rPr kumimoji="1" lang="zh-CN" altLang="en-US" sz="1200" dirty="0" smtClean="0">
                <a:solidFill>
                  <a:srgbClr val="006699"/>
                </a:solidFill>
                <a:cs typeface="+mn-ea"/>
                <a:sym typeface="+mn-lt"/>
              </a:rPr>
              <a:t>、</a:t>
            </a:r>
            <a:r>
              <a:rPr kumimoji="1" lang="en-US" altLang="zh-CN" sz="1200" dirty="0" smtClean="0">
                <a:solidFill>
                  <a:srgbClr val="006699"/>
                </a:solidFill>
                <a:cs typeface="+mn-ea"/>
                <a:sym typeface="+mn-lt"/>
              </a:rPr>
              <a:t>RDF</a:t>
            </a:r>
            <a:r>
              <a:rPr kumimoji="1" lang="zh-CN" altLang="en-US" sz="1200" dirty="0" smtClean="0">
                <a:solidFill>
                  <a:srgbClr val="006699"/>
                </a:solidFill>
                <a:cs typeface="+mn-ea"/>
                <a:sym typeface="+mn-lt"/>
              </a:rPr>
              <a:t>模型</a:t>
            </a:r>
            <a:endParaRPr kumimoji="1" lang="en-US" altLang="zh-CN" sz="1200" dirty="0">
              <a:solidFill>
                <a:srgbClr val="006699"/>
              </a:solidFill>
              <a:cs typeface="+mn-ea"/>
              <a:sym typeface="+mn-lt"/>
            </a:endParaRPr>
          </a:p>
        </p:txBody>
      </p:sp>
      <p:cxnSp>
        <p:nvCxnSpPr>
          <p:cNvPr id="134" name="直接连接符 133"/>
          <p:cNvCxnSpPr/>
          <p:nvPr/>
        </p:nvCxnSpPr>
        <p:spPr bwMode="auto">
          <a:xfrm>
            <a:off x="6152610" y="5314533"/>
            <a:ext cx="124548" cy="62451"/>
          </a:xfrm>
          <a:prstGeom prst="line">
            <a:avLst/>
          </a:prstGeom>
          <a:solidFill>
            <a:schemeClr val="accent1"/>
          </a:solidFill>
          <a:ln w="9525" cap="flat" cmpd="sng" algn="ctr">
            <a:solidFill>
              <a:srgbClr val="006699"/>
            </a:solidFill>
            <a:prstDash val="solid"/>
            <a:round/>
            <a:headEnd type="none" w="med" len="med"/>
            <a:tailEnd type="none" w="med" len="med"/>
          </a:ln>
          <a:effectLst/>
        </p:spPr>
      </p:cxnSp>
      <p:sp>
        <p:nvSpPr>
          <p:cNvPr id="135" name="Text Box 10"/>
          <p:cNvSpPr txBox="1">
            <a:spLocks noChangeArrowheads="1"/>
          </p:cNvSpPr>
          <p:nvPr/>
        </p:nvSpPr>
        <p:spPr bwMode="auto">
          <a:xfrm>
            <a:off x="4763852" y="5100003"/>
            <a:ext cx="1478253" cy="276981"/>
          </a:xfrm>
          <a:prstGeom prst="rect">
            <a:avLst/>
          </a:prstGeom>
          <a:noFill/>
          <a:ln w="9525">
            <a:noFill/>
            <a:miter lim="800000"/>
          </a:ln>
          <a:effectLst/>
        </p:spPr>
        <p:txBody>
          <a:bodyPr wrap="none" lIns="91422" tIns="45711" rIns="91422" bIns="45711">
            <a:spAutoFit/>
          </a:bodyPr>
          <a:lstStyle/>
          <a:p>
            <a:pPr defTabSz="914400"/>
            <a:r>
              <a:rPr kumimoji="1" lang="en-US" altLang="zh-CN" sz="1200" dirty="0" err="1">
                <a:solidFill>
                  <a:srgbClr val="006699"/>
                </a:solidFill>
                <a:cs typeface="+mn-ea"/>
                <a:sym typeface="+mn-lt"/>
              </a:rPr>
              <a:t>NoSQL</a:t>
            </a:r>
            <a:r>
              <a:rPr kumimoji="1" lang="zh-CN" altLang="en-US" sz="1200" dirty="0" smtClean="0">
                <a:solidFill>
                  <a:srgbClr val="006699"/>
                </a:solidFill>
                <a:cs typeface="+mn-ea"/>
                <a:sym typeface="+mn-lt"/>
              </a:rPr>
              <a:t>、</a:t>
            </a:r>
            <a:r>
              <a:rPr kumimoji="1" lang="en-US" altLang="zh-CN" sz="1200" dirty="0" err="1" smtClean="0">
                <a:solidFill>
                  <a:srgbClr val="006699"/>
                </a:solidFill>
                <a:cs typeface="+mn-ea"/>
                <a:sym typeface="+mn-lt"/>
              </a:rPr>
              <a:t>NewSQL</a:t>
            </a:r>
            <a:endParaRPr kumimoji="1" lang="en-US" altLang="zh-CN" sz="1200" dirty="0">
              <a:solidFill>
                <a:srgbClr val="006699"/>
              </a:solidFill>
              <a:cs typeface="+mn-ea"/>
              <a:sym typeface="+mn-lt"/>
            </a:endParaRPr>
          </a:p>
        </p:txBody>
      </p:sp>
      <p:sp>
        <p:nvSpPr>
          <p:cNvPr id="136" name="Text Box 10"/>
          <p:cNvSpPr txBox="1">
            <a:spLocks noChangeArrowheads="1"/>
          </p:cNvSpPr>
          <p:nvPr/>
        </p:nvSpPr>
        <p:spPr bwMode="auto">
          <a:xfrm>
            <a:off x="5512589" y="5345705"/>
            <a:ext cx="142763" cy="276981"/>
          </a:xfrm>
          <a:prstGeom prst="rect">
            <a:avLst/>
          </a:prstGeom>
          <a:noFill/>
          <a:ln w="9525">
            <a:noFill/>
            <a:miter lim="800000"/>
          </a:ln>
          <a:effectLst/>
        </p:spPr>
        <p:txBody>
          <a:bodyPr wrap="square" lIns="91422" tIns="45711" rIns="91422" bIns="45711">
            <a:spAutoFit/>
          </a:bodyPr>
          <a:lstStyle/>
          <a:p>
            <a:pPr defTabSz="914400"/>
            <a:r>
              <a:rPr kumimoji="1" lang="en-US" altLang="zh-CN" sz="1200" b="1" dirty="0" smtClean="0">
                <a:solidFill>
                  <a:srgbClr val="006699"/>
                </a:solidFill>
                <a:cs typeface="+mn-ea"/>
                <a:sym typeface="+mn-lt"/>
              </a:rPr>
              <a:t>…</a:t>
            </a:r>
            <a:endParaRPr kumimoji="1" lang="en-US" altLang="zh-CN" sz="1200" b="1" dirty="0">
              <a:solidFill>
                <a:srgbClr val="006699"/>
              </a:solidFill>
              <a:cs typeface="+mn-ea"/>
              <a:sym typeface="+mn-lt"/>
            </a:endParaRPr>
          </a:p>
        </p:txBody>
      </p:sp>
      <p:cxnSp>
        <p:nvCxnSpPr>
          <p:cNvPr id="137" name="直接连接符 136"/>
          <p:cNvCxnSpPr/>
          <p:nvPr/>
        </p:nvCxnSpPr>
        <p:spPr bwMode="auto">
          <a:xfrm>
            <a:off x="7860356" y="4085160"/>
            <a:ext cx="0" cy="139696"/>
          </a:xfrm>
          <a:prstGeom prst="line">
            <a:avLst/>
          </a:prstGeom>
          <a:solidFill>
            <a:schemeClr val="accent1"/>
          </a:solidFill>
          <a:ln w="9525" cap="flat" cmpd="sng" algn="ctr">
            <a:solidFill>
              <a:srgbClr val="C00000"/>
            </a:solidFill>
            <a:prstDash val="solid"/>
            <a:round/>
            <a:headEnd type="none" w="med" len="med"/>
            <a:tailEnd type="none" w="med" len="med"/>
          </a:ln>
          <a:effectLst/>
        </p:spPr>
      </p:cxnSp>
      <p:cxnSp>
        <p:nvCxnSpPr>
          <p:cNvPr id="138" name="直接连接符 137"/>
          <p:cNvCxnSpPr/>
          <p:nvPr/>
        </p:nvCxnSpPr>
        <p:spPr bwMode="auto">
          <a:xfrm>
            <a:off x="8335577" y="4085160"/>
            <a:ext cx="0" cy="139696"/>
          </a:xfrm>
          <a:prstGeom prst="line">
            <a:avLst/>
          </a:prstGeom>
          <a:solidFill>
            <a:schemeClr val="accent1"/>
          </a:solidFill>
          <a:ln w="9525" cap="flat" cmpd="sng" algn="ctr">
            <a:solidFill>
              <a:srgbClr val="C00000"/>
            </a:solidFill>
            <a:prstDash val="solid"/>
            <a:round/>
            <a:headEnd type="none" w="med" len="med"/>
            <a:tailEnd type="none" w="med" len="med"/>
          </a:ln>
          <a:effectLst/>
        </p:spPr>
      </p:cxnSp>
      <p:cxnSp>
        <p:nvCxnSpPr>
          <p:cNvPr id="139" name="直接连接符 138"/>
          <p:cNvCxnSpPr/>
          <p:nvPr/>
        </p:nvCxnSpPr>
        <p:spPr bwMode="auto">
          <a:xfrm>
            <a:off x="8810798" y="4085160"/>
            <a:ext cx="0" cy="139696"/>
          </a:xfrm>
          <a:prstGeom prst="line">
            <a:avLst/>
          </a:prstGeom>
          <a:solidFill>
            <a:schemeClr val="accent1"/>
          </a:solidFill>
          <a:ln w="9525" cap="flat" cmpd="sng" algn="ctr">
            <a:solidFill>
              <a:srgbClr val="C00000"/>
            </a:solidFill>
            <a:prstDash val="solid"/>
            <a:round/>
            <a:headEnd type="none" w="med" len="med"/>
            <a:tailEnd type="none" w="med" len="med"/>
          </a:ln>
          <a:effectLst/>
        </p:spPr>
      </p:cxnSp>
      <p:cxnSp>
        <p:nvCxnSpPr>
          <p:cNvPr id="140" name="直接连接符 139"/>
          <p:cNvCxnSpPr/>
          <p:nvPr/>
        </p:nvCxnSpPr>
        <p:spPr bwMode="auto">
          <a:xfrm>
            <a:off x="9286019" y="4085160"/>
            <a:ext cx="0" cy="139696"/>
          </a:xfrm>
          <a:prstGeom prst="line">
            <a:avLst/>
          </a:prstGeom>
          <a:solidFill>
            <a:schemeClr val="accent1"/>
          </a:solidFill>
          <a:ln w="9525" cap="flat" cmpd="sng" algn="ctr">
            <a:solidFill>
              <a:srgbClr val="C00000"/>
            </a:solidFill>
            <a:prstDash val="solid"/>
            <a:round/>
            <a:headEnd type="none" w="med" len="med"/>
            <a:tailEnd type="none" w="med" len="med"/>
          </a:ln>
          <a:effectLst/>
        </p:spPr>
      </p:cxnSp>
      <p:cxnSp>
        <p:nvCxnSpPr>
          <p:cNvPr id="141" name="直接连接符 140"/>
          <p:cNvCxnSpPr/>
          <p:nvPr/>
        </p:nvCxnSpPr>
        <p:spPr bwMode="auto">
          <a:xfrm>
            <a:off x="9761240" y="4085160"/>
            <a:ext cx="0" cy="139696"/>
          </a:xfrm>
          <a:prstGeom prst="line">
            <a:avLst/>
          </a:prstGeom>
          <a:solidFill>
            <a:schemeClr val="accent1"/>
          </a:solidFill>
          <a:ln w="9525" cap="flat" cmpd="sng" algn="ctr">
            <a:solidFill>
              <a:srgbClr val="C00000"/>
            </a:solidFill>
            <a:prstDash val="solid"/>
            <a:round/>
            <a:headEnd type="none" w="med" len="med"/>
            <a:tailEnd type="none" w="med" len="med"/>
          </a:ln>
          <a:effectLst/>
        </p:spPr>
      </p:cxnSp>
      <p:cxnSp>
        <p:nvCxnSpPr>
          <p:cNvPr id="142" name="直接连接符 141"/>
          <p:cNvCxnSpPr/>
          <p:nvPr/>
        </p:nvCxnSpPr>
        <p:spPr bwMode="auto">
          <a:xfrm>
            <a:off x="10236460" y="4085160"/>
            <a:ext cx="0" cy="139696"/>
          </a:xfrm>
          <a:prstGeom prst="line">
            <a:avLst/>
          </a:prstGeom>
          <a:solidFill>
            <a:schemeClr val="accent1"/>
          </a:solidFill>
          <a:ln w="9525" cap="flat" cmpd="sng" algn="ctr">
            <a:solidFill>
              <a:srgbClr val="C00000"/>
            </a:solidFill>
            <a:prstDash val="solid"/>
            <a:round/>
            <a:headEnd type="none" w="med" len="med"/>
            <a:tailEnd type="none" w="med" len="med"/>
          </a:ln>
          <a:effectLst/>
        </p:spPr>
      </p:cxnSp>
      <p:sp>
        <p:nvSpPr>
          <p:cNvPr id="143" name="Text Box 10"/>
          <p:cNvSpPr txBox="1">
            <a:spLocks noChangeArrowheads="1"/>
          </p:cNvSpPr>
          <p:nvPr/>
        </p:nvSpPr>
        <p:spPr bwMode="auto">
          <a:xfrm>
            <a:off x="7637943" y="3571048"/>
            <a:ext cx="492406" cy="461647"/>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solidFill>
                  <a:srgbClr val="C00000"/>
                </a:solidFill>
                <a:cs typeface="+mn-ea"/>
                <a:sym typeface="+mn-lt"/>
              </a:rPr>
              <a:t>分布</a:t>
            </a:r>
            <a:endParaRPr kumimoji="1" lang="en-US" altLang="zh-CN" sz="1200" dirty="0" smtClean="0">
              <a:solidFill>
                <a:srgbClr val="C00000"/>
              </a:solidFill>
              <a:cs typeface="+mn-ea"/>
              <a:sym typeface="+mn-lt"/>
            </a:endParaRPr>
          </a:p>
          <a:p>
            <a:pPr defTabSz="914400"/>
            <a:r>
              <a:rPr kumimoji="1" lang="zh-CN" altLang="en-US" sz="1200" dirty="0" smtClean="0">
                <a:solidFill>
                  <a:srgbClr val="C00000"/>
                </a:solidFill>
                <a:cs typeface="+mn-ea"/>
                <a:sym typeface="+mn-lt"/>
              </a:rPr>
              <a:t>处理</a:t>
            </a:r>
            <a:endParaRPr kumimoji="1" lang="en-US" altLang="zh-CN" sz="1200" dirty="0">
              <a:solidFill>
                <a:srgbClr val="C00000"/>
              </a:solidFill>
              <a:cs typeface="+mn-ea"/>
              <a:sym typeface="+mn-lt"/>
            </a:endParaRPr>
          </a:p>
        </p:txBody>
      </p:sp>
      <p:sp>
        <p:nvSpPr>
          <p:cNvPr id="144" name="Text Box 10"/>
          <p:cNvSpPr txBox="1">
            <a:spLocks noChangeArrowheads="1"/>
          </p:cNvSpPr>
          <p:nvPr/>
        </p:nvSpPr>
        <p:spPr bwMode="auto">
          <a:xfrm>
            <a:off x="8138862" y="3567260"/>
            <a:ext cx="492406" cy="461647"/>
          </a:xfrm>
          <a:prstGeom prst="rect">
            <a:avLst/>
          </a:prstGeom>
          <a:noFill/>
          <a:ln w="9525">
            <a:noFill/>
            <a:miter lim="800000"/>
          </a:ln>
          <a:effectLst/>
        </p:spPr>
        <p:txBody>
          <a:bodyPr wrap="none" lIns="91422" tIns="45711" rIns="91422" bIns="45711">
            <a:spAutoFit/>
          </a:bodyPr>
          <a:lstStyle/>
          <a:p>
            <a:pPr defTabSz="914400"/>
            <a:r>
              <a:rPr kumimoji="1" lang="zh-CN" altLang="en-US" sz="1200" dirty="0">
                <a:solidFill>
                  <a:srgbClr val="C00000"/>
                </a:solidFill>
                <a:cs typeface="+mn-ea"/>
                <a:sym typeface="+mn-lt"/>
              </a:rPr>
              <a:t>并行</a:t>
            </a:r>
            <a:endParaRPr kumimoji="1" lang="en-US" altLang="zh-CN" sz="1200" dirty="0" smtClean="0">
              <a:solidFill>
                <a:srgbClr val="C00000"/>
              </a:solidFill>
              <a:cs typeface="+mn-ea"/>
              <a:sym typeface="+mn-lt"/>
            </a:endParaRPr>
          </a:p>
          <a:p>
            <a:pPr defTabSz="914400"/>
            <a:r>
              <a:rPr kumimoji="1" lang="zh-CN" altLang="en-US" sz="1200" dirty="0" smtClean="0">
                <a:solidFill>
                  <a:srgbClr val="C00000"/>
                </a:solidFill>
                <a:cs typeface="+mn-ea"/>
                <a:sym typeface="+mn-lt"/>
              </a:rPr>
              <a:t>处理</a:t>
            </a:r>
            <a:endParaRPr kumimoji="1" lang="en-US" altLang="zh-CN" sz="1200" dirty="0">
              <a:solidFill>
                <a:srgbClr val="C00000"/>
              </a:solidFill>
              <a:cs typeface="+mn-ea"/>
              <a:sym typeface="+mn-lt"/>
            </a:endParaRPr>
          </a:p>
        </p:txBody>
      </p:sp>
      <p:sp>
        <p:nvSpPr>
          <p:cNvPr id="145" name="Text Box 10"/>
          <p:cNvSpPr txBox="1">
            <a:spLocks noChangeArrowheads="1"/>
          </p:cNvSpPr>
          <p:nvPr/>
        </p:nvSpPr>
        <p:spPr bwMode="auto">
          <a:xfrm>
            <a:off x="8564595" y="3565366"/>
            <a:ext cx="492406" cy="461647"/>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solidFill>
                  <a:srgbClr val="C00000"/>
                </a:solidFill>
                <a:cs typeface="+mn-ea"/>
                <a:sym typeface="+mn-lt"/>
              </a:rPr>
              <a:t>人工</a:t>
            </a:r>
            <a:endParaRPr kumimoji="1" lang="en-US" altLang="zh-CN" sz="1200" dirty="0" smtClean="0">
              <a:solidFill>
                <a:srgbClr val="C00000"/>
              </a:solidFill>
              <a:cs typeface="+mn-ea"/>
              <a:sym typeface="+mn-lt"/>
            </a:endParaRPr>
          </a:p>
          <a:p>
            <a:pPr defTabSz="914400"/>
            <a:r>
              <a:rPr kumimoji="1" lang="zh-CN" altLang="en-US" sz="1200" dirty="0" smtClean="0">
                <a:solidFill>
                  <a:srgbClr val="C00000"/>
                </a:solidFill>
                <a:cs typeface="+mn-ea"/>
                <a:sym typeface="+mn-lt"/>
              </a:rPr>
              <a:t>智能</a:t>
            </a:r>
            <a:endParaRPr kumimoji="1" lang="en-US" altLang="zh-CN" sz="1200" dirty="0">
              <a:solidFill>
                <a:srgbClr val="C00000"/>
              </a:solidFill>
              <a:cs typeface="+mn-ea"/>
              <a:sym typeface="+mn-lt"/>
            </a:endParaRPr>
          </a:p>
        </p:txBody>
      </p:sp>
      <p:sp>
        <p:nvSpPr>
          <p:cNvPr id="146" name="Text Box 10"/>
          <p:cNvSpPr txBox="1">
            <a:spLocks noChangeArrowheads="1"/>
          </p:cNvSpPr>
          <p:nvPr/>
        </p:nvSpPr>
        <p:spPr bwMode="auto">
          <a:xfrm>
            <a:off x="8945687" y="3650204"/>
            <a:ext cx="646294"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solidFill>
                  <a:srgbClr val="C00000"/>
                </a:solidFill>
                <a:cs typeface="+mn-ea"/>
                <a:sym typeface="+mn-lt"/>
              </a:rPr>
              <a:t>多媒体</a:t>
            </a:r>
            <a:endParaRPr kumimoji="1" lang="en-US" altLang="zh-CN" sz="1200" dirty="0" smtClean="0">
              <a:solidFill>
                <a:srgbClr val="C00000"/>
              </a:solidFill>
              <a:cs typeface="+mn-ea"/>
              <a:sym typeface="+mn-lt"/>
            </a:endParaRPr>
          </a:p>
        </p:txBody>
      </p:sp>
      <p:sp>
        <p:nvSpPr>
          <p:cNvPr id="147" name="Text Box 10"/>
          <p:cNvSpPr txBox="1">
            <a:spLocks noChangeArrowheads="1"/>
          </p:cNvSpPr>
          <p:nvPr/>
        </p:nvSpPr>
        <p:spPr bwMode="auto">
          <a:xfrm>
            <a:off x="9515037" y="3571047"/>
            <a:ext cx="492406" cy="461647"/>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solidFill>
                  <a:srgbClr val="C00000"/>
                </a:solidFill>
                <a:cs typeface="+mn-ea"/>
                <a:sym typeface="+mn-lt"/>
              </a:rPr>
              <a:t>移动</a:t>
            </a:r>
            <a:endParaRPr kumimoji="1" lang="zh-CN" altLang="en-US" sz="1200" dirty="0" smtClean="0">
              <a:solidFill>
                <a:srgbClr val="C00000"/>
              </a:solidFill>
              <a:cs typeface="+mn-ea"/>
              <a:sym typeface="+mn-lt"/>
            </a:endParaRPr>
          </a:p>
          <a:p>
            <a:pPr defTabSz="914400"/>
            <a:r>
              <a:rPr kumimoji="1" lang="zh-CN" altLang="en-US" sz="1200" dirty="0" smtClean="0">
                <a:solidFill>
                  <a:srgbClr val="C00000"/>
                </a:solidFill>
                <a:cs typeface="+mn-ea"/>
                <a:sym typeface="+mn-lt"/>
              </a:rPr>
              <a:t>技术</a:t>
            </a:r>
            <a:endParaRPr kumimoji="1" lang="en-US" altLang="zh-CN" sz="1200" dirty="0" smtClean="0">
              <a:solidFill>
                <a:srgbClr val="C00000"/>
              </a:solidFill>
              <a:cs typeface="+mn-ea"/>
              <a:sym typeface="+mn-lt"/>
            </a:endParaRPr>
          </a:p>
        </p:txBody>
      </p:sp>
      <p:sp>
        <p:nvSpPr>
          <p:cNvPr id="148" name="Text Box 10"/>
          <p:cNvSpPr txBox="1">
            <a:spLocks noChangeArrowheads="1"/>
          </p:cNvSpPr>
          <p:nvPr/>
        </p:nvSpPr>
        <p:spPr bwMode="auto">
          <a:xfrm>
            <a:off x="10026312" y="3571046"/>
            <a:ext cx="586983" cy="461647"/>
          </a:xfrm>
          <a:prstGeom prst="rect">
            <a:avLst/>
          </a:prstGeom>
          <a:noFill/>
          <a:ln w="9525">
            <a:noFill/>
            <a:miter lim="800000"/>
          </a:ln>
          <a:effectLst/>
        </p:spPr>
        <p:txBody>
          <a:bodyPr wrap="none" lIns="91422" tIns="45711" rIns="91422" bIns="45711">
            <a:spAutoFit/>
          </a:bodyPr>
          <a:lstStyle/>
          <a:p>
            <a:pPr algn="ctr" defTabSz="914400"/>
            <a:r>
              <a:rPr kumimoji="1" lang="en-US" altLang="zh-CN" sz="1200" dirty="0">
                <a:solidFill>
                  <a:srgbClr val="C00000"/>
                </a:solidFill>
                <a:cs typeface="+mn-ea"/>
                <a:sym typeface="+mn-lt"/>
              </a:rPr>
              <a:t>Cloud</a:t>
            </a:r>
            <a:endParaRPr kumimoji="1" lang="en-US" altLang="zh-CN" sz="1200" dirty="0" smtClean="0">
              <a:solidFill>
                <a:srgbClr val="C00000"/>
              </a:solidFill>
              <a:cs typeface="+mn-ea"/>
              <a:sym typeface="+mn-lt"/>
            </a:endParaRPr>
          </a:p>
          <a:p>
            <a:pPr algn="ctr" defTabSz="914400"/>
            <a:r>
              <a:rPr kumimoji="1" lang="zh-CN" altLang="en-US" sz="1200" dirty="0" smtClean="0">
                <a:solidFill>
                  <a:srgbClr val="C00000"/>
                </a:solidFill>
                <a:cs typeface="+mn-ea"/>
                <a:sym typeface="+mn-lt"/>
              </a:rPr>
              <a:t>技术</a:t>
            </a:r>
            <a:endParaRPr kumimoji="1" lang="en-US" altLang="zh-CN" sz="1200" dirty="0" smtClean="0">
              <a:solidFill>
                <a:srgbClr val="C00000"/>
              </a:solidFill>
              <a:cs typeface="+mn-ea"/>
              <a:sym typeface="+mn-lt"/>
            </a:endParaRPr>
          </a:p>
        </p:txBody>
      </p:sp>
      <p:cxnSp>
        <p:nvCxnSpPr>
          <p:cNvPr id="152" name="直接连接符 151"/>
          <p:cNvCxnSpPr/>
          <p:nvPr/>
        </p:nvCxnSpPr>
        <p:spPr bwMode="auto">
          <a:xfrm rot="5400000">
            <a:off x="7491617" y="3737863"/>
            <a:ext cx="0" cy="13969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3" name="直接连接符 152"/>
          <p:cNvCxnSpPr/>
          <p:nvPr/>
        </p:nvCxnSpPr>
        <p:spPr bwMode="auto">
          <a:xfrm rot="5400000">
            <a:off x="7491617" y="3356096"/>
            <a:ext cx="0" cy="13969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4" name="直接连接符 153"/>
          <p:cNvCxnSpPr/>
          <p:nvPr/>
        </p:nvCxnSpPr>
        <p:spPr bwMode="auto">
          <a:xfrm rot="5400000">
            <a:off x="7491617" y="2974328"/>
            <a:ext cx="0" cy="13969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5" name="直接连接符 154"/>
          <p:cNvCxnSpPr/>
          <p:nvPr/>
        </p:nvCxnSpPr>
        <p:spPr bwMode="auto">
          <a:xfrm rot="5400000">
            <a:off x="7491617" y="2592560"/>
            <a:ext cx="0" cy="13969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6" name="直接连接符 155"/>
          <p:cNvCxnSpPr/>
          <p:nvPr/>
        </p:nvCxnSpPr>
        <p:spPr bwMode="auto">
          <a:xfrm rot="5400000">
            <a:off x="7491617" y="2210792"/>
            <a:ext cx="0" cy="13969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7" name="Text Box 10"/>
          <p:cNvSpPr txBox="1">
            <a:spLocks noChangeArrowheads="1"/>
          </p:cNvSpPr>
          <p:nvPr/>
        </p:nvSpPr>
        <p:spPr bwMode="auto">
          <a:xfrm>
            <a:off x="6353572" y="3657698"/>
            <a:ext cx="1107959"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cs typeface="+mn-ea"/>
                <a:sym typeface="+mn-lt"/>
              </a:rPr>
              <a:t>联机事务处理</a:t>
            </a:r>
            <a:endParaRPr kumimoji="1" lang="en-US" altLang="zh-CN" sz="1200" dirty="0">
              <a:cs typeface="+mn-ea"/>
              <a:sym typeface="+mn-lt"/>
            </a:endParaRPr>
          </a:p>
        </p:txBody>
      </p:sp>
      <p:sp>
        <p:nvSpPr>
          <p:cNvPr id="158" name="Text Box 10"/>
          <p:cNvSpPr txBox="1">
            <a:spLocks noChangeArrowheads="1"/>
          </p:cNvSpPr>
          <p:nvPr/>
        </p:nvSpPr>
        <p:spPr bwMode="auto">
          <a:xfrm>
            <a:off x="6361566" y="3291629"/>
            <a:ext cx="1107959"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cs typeface="+mn-ea"/>
                <a:sym typeface="+mn-lt"/>
              </a:rPr>
              <a:t>联机分析处理</a:t>
            </a:r>
            <a:endParaRPr kumimoji="1" lang="en-US" altLang="zh-CN" sz="1200" dirty="0">
              <a:cs typeface="+mn-ea"/>
              <a:sym typeface="+mn-lt"/>
            </a:endParaRPr>
          </a:p>
        </p:txBody>
      </p:sp>
      <p:sp>
        <p:nvSpPr>
          <p:cNvPr id="159" name="Text Box 10"/>
          <p:cNvSpPr txBox="1">
            <a:spLocks noChangeArrowheads="1"/>
          </p:cNvSpPr>
          <p:nvPr/>
        </p:nvSpPr>
        <p:spPr bwMode="auto">
          <a:xfrm>
            <a:off x="6502344" y="2902490"/>
            <a:ext cx="800183"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cs typeface="+mn-ea"/>
                <a:sym typeface="+mn-lt"/>
              </a:rPr>
              <a:t>实时处理</a:t>
            </a:r>
            <a:endParaRPr kumimoji="1" lang="en-US" altLang="zh-CN" sz="1200" dirty="0">
              <a:cs typeface="+mn-ea"/>
              <a:sym typeface="+mn-lt"/>
            </a:endParaRPr>
          </a:p>
        </p:txBody>
      </p:sp>
      <p:sp>
        <p:nvSpPr>
          <p:cNvPr id="160" name="Text Box 10"/>
          <p:cNvSpPr txBox="1">
            <a:spLocks noChangeArrowheads="1"/>
          </p:cNvSpPr>
          <p:nvPr/>
        </p:nvSpPr>
        <p:spPr bwMode="auto">
          <a:xfrm>
            <a:off x="6510550" y="2502909"/>
            <a:ext cx="800183"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cs typeface="+mn-ea"/>
                <a:sym typeface="+mn-lt"/>
              </a:rPr>
              <a:t>数据挖掘</a:t>
            </a:r>
            <a:endParaRPr kumimoji="1" lang="en-US" altLang="zh-CN" sz="1200" dirty="0">
              <a:cs typeface="+mn-ea"/>
              <a:sym typeface="+mn-lt"/>
            </a:endParaRPr>
          </a:p>
        </p:txBody>
      </p:sp>
      <p:sp>
        <p:nvSpPr>
          <p:cNvPr id="164" name="Text Box 10"/>
          <p:cNvSpPr txBox="1">
            <a:spLocks noChangeArrowheads="1"/>
          </p:cNvSpPr>
          <p:nvPr/>
        </p:nvSpPr>
        <p:spPr bwMode="auto">
          <a:xfrm>
            <a:off x="6362057" y="2144722"/>
            <a:ext cx="1107959" cy="276981"/>
          </a:xfrm>
          <a:prstGeom prst="rect">
            <a:avLst/>
          </a:prstGeom>
          <a:noFill/>
          <a:ln w="9525">
            <a:noFill/>
            <a:miter lim="800000"/>
          </a:ln>
          <a:effectLst/>
        </p:spPr>
        <p:txBody>
          <a:bodyPr wrap="none" lIns="91422" tIns="45711" rIns="91422" bIns="45711">
            <a:spAutoFit/>
          </a:bodyPr>
          <a:lstStyle/>
          <a:p>
            <a:pPr defTabSz="914400"/>
            <a:r>
              <a:rPr kumimoji="1" lang="zh-CN" altLang="en-US" sz="1200" dirty="0" smtClean="0">
                <a:cs typeface="+mn-ea"/>
                <a:sym typeface="+mn-lt"/>
              </a:rPr>
              <a:t>地理信息系统</a:t>
            </a:r>
            <a:endParaRPr kumimoji="1" lang="en-US" altLang="zh-CN" sz="1200" dirty="0">
              <a:cs typeface="+mn-ea"/>
              <a:sym typeface="+mn-lt"/>
            </a:endParaRPr>
          </a:p>
        </p:txBody>
      </p:sp>
      <p:sp>
        <p:nvSpPr>
          <p:cNvPr id="166" name="Text Box 10"/>
          <p:cNvSpPr txBox="1">
            <a:spLocks noChangeArrowheads="1"/>
          </p:cNvSpPr>
          <p:nvPr/>
        </p:nvSpPr>
        <p:spPr bwMode="auto">
          <a:xfrm>
            <a:off x="10532376" y="3652894"/>
            <a:ext cx="142763" cy="276981"/>
          </a:xfrm>
          <a:prstGeom prst="rect">
            <a:avLst/>
          </a:prstGeom>
          <a:noFill/>
          <a:ln w="9525">
            <a:noFill/>
            <a:miter lim="800000"/>
          </a:ln>
          <a:effectLst/>
        </p:spPr>
        <p:txBody>
          <a:bodyPr wrap="square" lIns="91422" tIns="45711" rIns="91422" bIns="45711">
            <a:spAutoFit/>
          </a:bodyPr>
          <a:lstStyle/>
          <a:p>
            <a:pPr defTabSz="914400"/>
            <a:r>
              <a:rPr kumimoji="1" lang="en-US" altLang="zh-CN" sz="1200" b="1" dirty="0" smtClean="0">
                <a:solidFill>
                  <a:srgbClr val="C00000"/>
                </a:solidFill>
                <a:cs typeface="+mn-ea"/>
                <a:sym typeface="+mn-lt"/>
              </a:rPr>
              <a:t>…</a:t>
            </a:r>
            <a:endParaRPr kumimoji="1" lang="en-US" altLang="zh-CN" sz="1200" b="1" dirty="0">
              <a:solidFill>
                <a:srgbClr val="C00000"/>
              </a:solidFill>
              <a:cs typeface="+mn-ea"/>
              <a:sym typeface="+mn-lt"/>
            </a:endParaRPr>
          </a:p>
        </p:txBody>
      </p:sp>
      <p:sp>
        <p:nvSpPr>
          <p:cNvPr id="167" name="Text Box 10"/>
          <p:cNvSpPr txBox="1">
            <a:spLocks noChangeArrowheads="1"/>
          </p:cNvSpPr>
          <p:nvPr/>
        </p:nvSpPr>
        <p:spPr bwMode="auto">
          <a:xfrm>
            <a:off x="6759672" y="1816520"/>
            <a:ext cx="142763" cy="276981"/>
          </a:xfrm>
          <a:prstGeom prst="rect">
            <a:avLst/>
          </a:prstGeom>
          <a:noFill/>
          <a:ln w="9525">
            <a:noFill/>
            <a:miter lim="800000"/>
          </a:ln>
          <a:effectLst/>
        </p:spPr>
        <p:txBody>
          <a:bodyPr wrap="square" lIns="91422" tIns="45711" rIns="91422" bIns="45711">
            <a:spAutoFit/>
          </a:bodyPr>
          <a:lstStyle/>
          <a:p>
            <a:pPr defTabSz="914400"/>
            <a:r>
              <a:rPr kumimoji="1" lang="en-US" altLang="zh-CN" sz="1200" b="1" dirty="0" smtClean="0">
                <a:cs typeface="+mn-ea"/>
                <a:sym typeface="+mn-lt"/>
              </a:rPr>
              <a:t>…</a:t>
            </a:r>
            <a:endParaRPr kumimoji="1" lang="en-US" altLang="zh-CN" sz="1200" b="1" dirty="0">
              <a:cs typeface="+mn-ea"/>
              <a:sym typeface="+mn-lt"/>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层次</a:t>
            </a:r>
            <a:r>
              <a:rPr lang="zh-CN" altLang="en-US" dirty="0">
                <a:latin typeface="+mn-lt"/>
                <a:ea typeface="+mn-ea"/>
                <a:cs typeface="+mn-ea"/>
                <a:sym typeface="+mn-lt"/>
              </a:rPr>
              <a:t>，</a:t>
            </a:r>
            <a:r>
              <a:rPr lang="zh-CN" altLang="en-US" dirty="0" smtClean="0">
                <a:latin typeface="+mn-lt"/>
                <a:ea typeface="+mn-ea"/>
                <a:cs typeface="+mn-ea"/>
                <a:sym typeface="+mn-lt"/>
              </a:rPr>
              <a:t>网状，关系模型</a:t>
            </a:r>
            <a:endParaRPr lang="zh-CN" altLang="en-US" dirty="0">
              <a:latin typeface="+mn-lt"/>
              <a:ea typeface="+mn-ea"/>
              <a:cs typeface="+mn-ea"/>
              <a:sym typeface="+mn-lt"/>
            </a:endParaRPr>
          </a:p>
        </p:txBody>
      </p:sp>
      <p:sp>
        <p:nvSpPr>
          <p:cNvPr id="25" name="文本占位符 2"/>
          <p:cNvSpPr>
            <a:spLocks noGrp="1"/>
          </p:cNvSpPr>
          <p:nvPr>
            <p:ph type="body" sz="quarter" idx="4294967295"/>
          </p:nvPr>
        </p:nvSpPr>
        <p:spPr>
          <a:xfrm>
            <a:off x="488509" y="1405098"/>
            <a:ext cx="3444875" cy="1690688"/>
          </a:xfrm>
        </p:spPr>
        <p:txBody>
          <a:bodyPr>
            <a:normAutofit fontScale="85000" lnSpcReduction="20000"/>
          </a:bodyPr>
          <a:lstStyle/>
          <a:p>
            <a:r>
              <a:rPr lang="zh-CN" altLang="en-US" sz="2000" dirty="0" smtClean="0">
                <a:latin typeface="+mn-lt"/>
                <a:ea typeface="+mn-ea"/>
                <a:cs typeface="+mn-ea"/>
                <a:sym typeface="+mn-lt"/>
              </a:rPr>
              <a:t>层次模型</a:t>
            </a:r>
            <a:endParaRPr lang="en-US" altLang="zh-CN" sz="2000" dirty="0" smtClean="0">
              <a:latin typeface="+mn-lt"/>
              <a:ea typeface="+mn-ea"/>
              <a:cs typeface="+mn-ea"/>
              <a:sym typeface="+mn-lt"/>
            </a:endParaRPr>
          </a:p>
          <a:p>
            <a:pPr lvl="1"/>
            <a:r>
              <a:rPr lang="zh-CN" altLang="en-US" sz="1800" dirty="0">
                <a:latin typeface="+mn-lt"/>
                <a:ea typeface="+mn-ea"/>
                <a:cs typeface="+mn-ea"/>
                <a:sym typeface="+mn-lt"/>
              </a:rPr>
              <a:t>有且只有一个节点没有双亲，该节点被称为根节点（</a:t>
            </a:r>
            <a:r>
              <a:rPr lang="en-US" altLang="zh-CN" sz="1800" dirty="0">
                <a:latin typeface="+mn-lt"/>
                <a:ea typeface="+mn-ea"/>
                <a:cs typeface="+mn-ea"/>
                <a:sym typeface="+mn-lt"/>
              </a:rPr>
              <a:t>root</a:t>
            </a:r>
            <a:r>
              <a:rPr lang="zh-CN" altLang="en-US" sz="1800" dirty="0">
                <a:latin typeface="+mn-lt"/>
                <a:ea typeface="+mn-ea"/>
                <a:cs typeface="+mn-ea"/>
                <a:sym typeface="+mn-lt"/>
              </a:rPr>
              <a:t>）。</a:t>
            </a:r>
            <a:endParaRPr lang="en-US" altLang="zh-CN" sz="1800" dirty="0">
              <a:latin typeface="+mn-lt"/>
              <a:ea typeface="+mn-ea"/>
              <a:cs typeface="+mn-ea"/>
              <a:sym typeface="+mn-lt"/>
            </a:endParaRPr>
          </a:p>
          <a:p>
            <a:pPr lvl="1"/>
            <a:r>
              <a:rPr lang="zh-CN" altLang="en-US" sz="1800" dirty="0">
                <a:latin typeface="+mn-lt"/>
                <a:ea typeface="+mn-ea"/>
                <a:cs typeface="+mn-ea"/>
                <a:sym typeface="+mn-lt"/>
              </a:rPr>
              <a:t>根节点以外的其他节点有且只有一个双亲</a:t>
            </a:r>
            <a:r>
              <a:rPr lang="zh-CN" altLang="en-US" sz="1800" dirty="0" smtClean="0">
                <a:latin typeface="+mn-lt"/>
                <a:ea typeface="+mn-ea"/>
                <a:cs typeface="+mn-ea"/>
                <a:sym typeface="+mn-lt"/>
              </a:rPr>
              <a:t>节点。</a:t>
            </a:r>
            <a:endParaRPr lang="en-US" altLang="zh-CN" dirty="0">
              <a:latin typeface="+mn-lt"/>
              <a:ea typeface="+mn-ea"/>
              <a:cs typeface="+mn-ea"/>
              <a:sym typeface="+mn-lt"/>
            </a:endParaRPr>
          </a:p>
          <a:p>
            <a:pPr lvl="1"/>
            <a:endParaRPr lang="en-US" altLang="zh-CN" sz="1800" dirty="0" smtClean="0">
              <a:latin typeface="+mn-lt"/>
              <a:ea typeface="+mn-ea"/>
              <a:cs typeface="+mn-ea"/>
              <a:sym typeface="+mn-lt"/>
            </a:endParaRPr>
          </a:p>
        </p:txBody>
      </p:sp>
      <p:sp>
        <p:nvSpPr>
          <p:cNvPr id="5" name="Rectangle 18"/>
          <p:cNvSpPr>
            <a:spLocks noChangeArrowheads="1"/>
          </p:cNvSpPr>
          <p:nvPr/>
        </p:nvSpPr>
        <p:spPr bwMode="auto">
          <a:xfrm>
            <a:off x="2464818" y="3380141"/>
            <a:ext cx="865609" cy="46125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400" b="1" dirty="0" smtClean="0">
                <a:cs typeface="+mn-ea"/>
                <a:sym typeface="+mn-lt"/>
              </a:rPr>
              <a:t>部门经理</a:t>
            </a:r>
            <a:endParaRPr kumimoji="1" lang="en-US" altLang="zh-CN" sz="1400" b="1" dirty="0">
              <a:cs typeface="+mn-ea"/>
              <a:sym typeface="+mn-lt"/>
            </a:endParaRPr>
          </a:p>
        </p:txBody>
      </p:sp>
      <p:sp>
        <p:nvSpPr>
          <p:cNvPr id="6" name="Rectangle 18"/>
          <p:cNvSpPr>
            <a:spLocks noChangeArrowheads="1"/>
          </p:cNvSpPr>
          <p:nvPr/>
        </p:nvSpPr>
        <p:spPr bwMode="auto">
          <a:xfrm>
            <a:off x="1679919" y="4297812"/>
            <a:ext cx="865609" cy="46125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400" b="1" dirty="0" smtClean="0">
                <a:cs typeface="+mn-ea"/>
                <a:sym typeface="+mn-lt"/>
              </a:rPr>
              <a:t>项目经理</a:t>
            </a:r>
            <a:r>
              <a:rPr kumimoji="1" lang="en-US" altLang="zh-CN" sz="1400" b="1" dirty="0" smtClean="0">
                <a:cs typeface="+mn-ea"/>
                <a:sym typeface="+mn-lt"/>
              </a:rPr>
              <a:t>1</a:t>
            </a:r>
            <a:endParaRPr kumimoji="1" lang="en-US" altLang="zh-CN" sz="1400" b="1" dirty="0">
              <a:cs typeface="+mn-ea"/>
              <a:sym typeface="+mn-lt"/>
            </a:endParaRPr>
          </a:p>
        </p:txBody>
      </p:sp>
      <p:sp>
        <p:nvSpPr>
          <p:cNvPr id="7" name="Rectangle 18"/>
          <p:cNvSpPr>
            <a:spLocks noChangeArrowheads="1"/>
          </p:cNvSpPr>
          <p:nvPr/>
        </p:nvSpPr>
        <p:spPr bwMode="auto">
          <a:xfrm>
            <a:off x="3358183" y="4297812"/>
            <a:ext cx="865609" cy="46125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400" b="1" dirty="0" smtClean="0">
                <a:cs typeface="+mn-ea"/>
                <a:sym typeface="+mn-lt"/>
              </a:rPr>
              <a:t>项目经理</a:t>
            </a:r>
            <a:r>
              <a:rPr kumimoji="1" lang="en-US" altLang="zh-CN" sz="1400" b="1" dirty="0" smtClean="0">
                <a:cs typeface="+mn-ea"/>
                <a:sym typeface="+mn-lt"/>
              </a:rPr>
              <a:t>2</a:t>
            </a:r>
            <a:endParaRPr kumimoji="1" lang="en-US" altLang="zh-CN" sz="1400" b="1" dirty="0">
              <a:cs typeface="+mn-ea"/>
              <a:sym typeface="+mn-lt"/>
            </a:endParaRPr>
          </a:p>
        </p:txBody>
      </p:sp>
      <p:sp>
        <p:nvSpPr>
          <p:cNvPr id="8" name="Rectangle 18"/>
          <p:cNvSpPr>
            <a:spLocks noChangeArrowheads="1"/>
          </p:cNvSpPr>
          <p:nvPr/>
        </p:nvSpPr>
        <p:spPr bwMode="auto">
          <a:xfrm>
            <a:off x="1000826" y="5235999"/>
            <a:ext cx="865609" cy="46125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400" b="1" dirty="0" smtClean="0">
                <a:cs typeface="+mn-ea"/>
                <a:sym typeface="+mn-lt"/>
              </a:rPr>
              <a:t>员工</a:t>
            </a:r>
            <a:r>
              <a:rPr kumimoji="1" lang="en-US" altLang="zh-CN" sz="1400" b="1" dirty="0" smtClean="0">
                <a:cs typeface="+mn-ea"/>
                <a:sym typeface="+mn-lt"/>
              </a:rPr>
              <a:t>1</a:t>
            </a:r>
            <a:endParaRPr kumimoji="1" lang="en-US" altLang="zh-CN" sz="1400" b="1" dirty="0">
              <a:cs typeface="+mn-ea"/>
              <a:sym typeface="+mn-lt"/>
            </a:endParaRPr>
          </a:p>
        </p:txBody>
      </p:sp>
      <p:sp>
        <p:nvSpPr>
          <p:cNvPr id="9" name="Rectangle 18 - 1"/>
          <p:cNvSpPr>
            <a:spLocks noChangeArrowheads="1"/>
          </p:cNvSpPr>
          <p:nvPr/>
        </p:nvSpPr>
        <p:spPr bwMode="auto">
          <a:xfrm>
            <a:off x="2347412" y="5235999"/>
            <a:ext cx="865609" cy="461253"/>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zh-CN" altLang="en-US" sz="1400" b="1" dirty="0" smtClean="0">
                <a:cs typeface="+mn-ea"/>
                <a:sym typeface="+mn-lt"/>
              </a:rPr>
              <a:t>员工</a:t>
            </a:r>
            <a:r>
              <a:rPr kumimoji="1" lang="en-US" altLang="zh-CN" sz="1400" b="1" dirty="0" smtClean="0">
                <a:cs typeface="+mn-ea"/>
                <a:sym typeface="+mn-lt"/>
              </a:rPr>
              <a:t>2</a:t>
            </a:r>
            <a:endParaRPr kumimoji="1" lang="en-US" altLang="zh-CN" sz="1400" b="1" dirty="0">
              <a:cs typeface="+mn-ea"/>
              <a:sym typeface="+mn-lt"/>
            </a:endParaRPr>
          </a:p>
        </p:txBody>
      </p:sp>
      <p:cxnSp>
        <p:nvCxnSpPr>
          <p:cNvPr id="10" name="肘形连接符 9"/>
          <p:cNvCxnSpPr>
            <a:stCxn id="5" idx="2"/>
            <a:endCxn id="6" idx="0"/>
          </p:cNvCxnSpPr>
          <p:nvPr/>
        </p:nvCxnSpPr>
        <p:spPr bwMode="auto">
          <a:xfrm rot="5400000">
            <a:off x="2276965" y="3677154"/>
            <a:ext cx="456418" cy="784899"/>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cxnSp>
        <p:nvCxnSpPr>
          <p:cNvPr id="12" name="肘形连接符 11"/>
          <p:cNvCxnSpPr>
            <a:stCxn id="5" idx="2"/>
            <a:endCxn id="7" idx="0"/>
          </p:cNvCxnSpPr>
          <p:nvPr/>
        </p:nvCxnSpPr>
        <p:spPr bwMode="auto">
          <a:xfrm rot="16200000" flipH="1">
            <a:off x="3116096" y="3622920"/>
            <a:ext cx="456418" cy="893365"/>
          </a:xfrm>
          <a:prstGeom prst="bentConnector3">
            <a:avLst>
              <a:gd name="adj1" fmla="val 50001"/>
            </a:avLst>
          </a:prstGeom>
          <a:solidFill>
            <a:schemeClr val="accent1"/>
          </a:solidFill>
          <a:ln w="9525" cap="flat" cmpd="sng" algn="ctr">
            <a:solidFill>
              <a:schemeClr val="tx1"/>
            </a:solidFill>
            <a:prstDash val="solid"/>
            <a:round/>
            <a:headEnd type="none" w="med" len="med"/>
            <a:tailEnd type="triangle"/>
          </a:ln>
          <a:effectLst/>
        </p:spPr>
      </p:cxnSp>
      <p:cxnSp>
        <p:nvCxnSpPr>
          <p:cNvPr id="14" name="肘形连接符 13"/>
          <p:cNvCxnSpPr>
            <a:stCxn id="6" idx="2"/>
            <a:endCxn id="8" idx="0"/>
          </p:cNvCxnSpPr>
          <p:nvPr/>
        </p:nvCxnSpPr>
        <p:spPr bwMode="auto">
          <a:xfrm rot="5400000">
            <a:off x="1534712" y="4657986"/>
            <a:ext cx="476933" cy="679093"/>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sp>
        <p:nvSpPr>
          <p:cNvPr id="26" name="文本占位符 2"/>
          <p:cNvSpPr txBox="1"/>
          <p:nvPr/>
        </p:nvSpPr>
        <p:spPr bwMode="auto">
          <a:xfrm>
            <a:off x="4187091" y="1455314"/>
            <a:ext cx="3444212" cy="1691456"/>
          </a:xfrm>
          <a:prstGeom prst="rect">
            <a:avLst/>
          </a:prstGeom>
          <a:noFill/>
          <a:ln w="9525">
            <a:noFill/>
            <a:miter lim="800000"/>
          </a:ln>
        </p:spPr>
        <p:txBody>
          <a:bodyPr vert="horz" wrap="square" lIns="80141" tIns="40071" rIns="80141" bIns="40071" numCol="1" anchor="t" anchorCtr="0" compatLnSpc="1">
            <a:normAutofit/>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302260" indent="-302260" algn="l" defTabSz="913765" fontAlgn="ctr">
              <a:lnSpc>
                <a:spcPct val="120000"/>
              </a:lnSpc>
              <a:spcBef>
                <a:spcPts val="790"/>
              </a:spcBef>
              <a:buSzPct val="50000"/>
            </a:pPr>
            <a:r>
              <a:rPr lang="zh-CN" altLang="en-US" sz="1700" dirty="0">
                <a:latin typeface="+mn-lt"/>
                <a:cs typeface="+mn-ea"/>
                <a:sym typeface="+mn-lt"/>
              </a:rPr>
              <a:t>网状模型</a:t>
            </a:r>
            <a:endParaRPr lang="en-US" altLang="zh-CN" sz="1700" dirty="0">
              <a:latin typeface="+mn-lt"/>
              <a:cs typeface="+mn-ea"/>
              <a:sym typeface="+mn-lt"/>
            </a:endParaRPr>
          </a:p>
          <a:p>
            <a:pPr lvl="1"/>
            <a:r>
              <a:rPr lang="zh-CN" altLang="en-US" sz="1400" dirty="0">
                <a:cs typeface="+mn-ea"/>
                <a:sym typeface="+mn-lt"/>
              </a:rPr>
              <a:t>允许一个以上的节点无双亲。</a:t>
            </a:r>
            <a:endParaRPr lang="en-US" altLang="zh-CN" sz="1400" dirty="0">
              <a:cs typeface="+mn-ea"/>
              <a:sym typeface="+mn-lt"/>
            </a:endParaRPr>
          </a:p>
          <a:p>
            <a:pPr lvl="1"/>
            <a:r>
              <a:rPr lang="zh-CN" altLang="en-US" sz="1400" dirty="0">
                <a:cs typeface="+mn-ea"/>
                <a:sym typeface="+mn-lt"/>
              </a:rPr>
              <a:t>一个节点可以有多于一个的</a:t>
            </a:r>
            <a:r>
              <a:rPr lang="zh-CN" altLang="en-US" sz="1400" dirty="0" smtClean="0">
                <a:cs typeface="+mn-ea"/>
                <a:sym typeface="+mn-lt"/>
              </a:rPr>
              <a:t>双亲。</a:t>
            </a:r>
            <a:endParaRPr lang="en-US" altLang="zh-CN" sz="1600" kern="0" dirty="0" smtClean="0">
              <a:cs typeface="+mn-ea"/>
              <a:sym typeface="+mn-lt"/>
            </a:endParaRPr>
          </a:p>
          <a:p>
            <a:pPr lvl="1"/>
            <a:endParaRPr lang="en-US" altLang="zh-CN" sz="1400" kern="0" dirty="0" smtClean="0">
              <a:cs typeface="+mn-ea"/>
              <a:sym typeface="+mn-lt"/>
            </a:endParaRPr>
          </a:p>
        </p:txBody>
      </p:sp>
      <p:sp>
        <p:nvSpPr>
          <p:cNvPr id="27" name="文本占位符 2"/>
          <p:cNvSpPr txBox="1"/>
          <p:nvPr/>
        </p:nvSpPr>
        <p:spPr bwMode="auto">
          <a:xfrm>
            <a:off x="7885010" y="1399790"/>
            <a:ext cx="3444212" cy="1691456"/>
          </a:xfrm>
          <a:prstGeom prst="rect">
            <a:avLst/>
          </a:prstGeom>
          <a:noFill/>
          <a:ln w="9525">
            <a:noFill/>
            <a:miter lim="800000"/>
          </a:ln>
        </p:spPr>
        <p:txBody>
          <a:bodyPr vert="horz" wrap="square" lIns="80141" tIns="40071" rIns="80141" bIns="40071" numCol="1" anchor="t" anchorCtr="0" compatLnSpc="1">
            <a:normAutofit fontScale="77500" lnSpcReduction="20000"/>
          </a:bodyPr>
          <a:lstStyle>
            <a:lvl1pPr marL="301625" indent="-301625" algn="just" defTabSz="802005" rtl="0" eaLnBrk="1" fontAlgn="base" hangingPunct="1">
              <a:lnSpc>
                <a:spcPct val="140000"/>
              </a:lnSpc>
              <a:spcBef>
                <a:spcPct val="30000"/>
              </a:spcBef>
              <a:spcAft>
                <a:spcPct val="0"/>
              </a:spcAft>
              <a:buClr>
                <a:schemeClr val="bg1">
                  <a:lumMod val="50000"/>
                </a:schemeClr>
              </a:buClr>
              <a:buSzPct val="60000"/>
              <a:buFont typeface="Wingdings" panose="05000000000000000000" pitchFamily="2" charset="2"/>
              <a:buChar char="l"/>
              <a:defRPr sz="2200">
                <a:solidFill>
                  <a:schemeClr val="tx1"/>
                </a:solidFill>
                <a:latin typeface="+mn-ea"/>
                <a:ea typeface="+mn-ea"/>
                <a:cs typeface="Arial" panose="020B0604020202020204" pitchFamily="34" charset="0"/>
              </a:defRPr>
            </a:lvl1pPr>
            <a:lvl2pPr marL="654050" indent="-252730" algn="l" defTabSz="802005" rtl="0" eaLnBrk="1" fontAlgn="base" hangingPunct="1">
              <a:lnSpc>
                <a:spcPct val="140000"/>
              </a:lnSpc>
              <a:spcBef>
                <a:spcPct val="30000"/>
              </a:spcBef>
              <a:spcAft>
                <a:spcPct val="0"/>
              </a:spcAft>
              <a:buClr>
                <a:schemeClr val="tx1"/>
              </a:buClr>
              <a:buSzPct val="50000"/>
              <a:buFont typeface="Wingdings" panose="05000000000000000000" pitchFamily="2" charset="2"/>
              <a:buChar char="p"/>
              <a:defRPr sz="2000">
                <a:solidFill>
                  <a:schemeClr val="tx1"/>
                </a:solidFill>
                <a:latin typeface="+mn-lt"/>
                <a:ea typeface="+mn-ea"/>
              </a:defRPr>
            </a:lvl2pPr>
            <a:lvl3pPr marL="1003300" indent="-201930" algn="l" defTabSz="802005" rtl="0" eaLnBrk="1" fontAlgn="base" hangingPunct="1">
              <a:lnSpc>
                <a:spcPct val="140000"/>
              </a:lnSpc>
              <a:spcBef>
                <a:spcPct val="30000"/>
              </a:spcBef>
              <a:spcAft>
                <a:spcPct val="0"/>
              </a:spcAft>
              <a:buSzPct val="50000"/>
              <a:buFont typeface="Wingdings" panose="05000000000000000000" pitchFamily="2" charset="2"/>
              <a:buChar char="n"/>
              <a:defRPr>
                <a:solidFill>
                  <a:schemeClr val="tx1"/>
                </a:solidFill>
                <a:latin typeface="FrutigerNext LT Light" pitchFamily="34" charset="0"/>
                <a:ea typeface="+mn-ea"/>
              </a:defRPr>
            </a:lvl3pPr>
            <a:lvl4pPr marL="1400175" indent="-198755" algn="l" defTabSz="802005" rtl="0" eaLnBrk="1" fontAlgn="base" hangingPunct="1">
              <a:lnSpc>
                <a:spcPct val="140000"/>
              </a:lnSpc>
              <a:spcBef>
                <a:spcPct val="30000"/>
              </a:spcBef>
              <a:spcAft>
                <a:spcPct val="0"/>
              </a:spcAft>
              <a:buChar char="–"/>
              <a:defRPr sz="1600">
                <a:solidFill>
                  <a:schemeClr val="tx1"/>
                </a:solidFill>
                <a:latin typeface="+mj-lt"/>
                <a:ea typeface="+mn-ea"/>
              </a:defRPr>
            </a:lvl4pPr>
            <a:lvl5pPr marL="1802130" indent="-201930" algn="l" defTabSz="802005"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3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5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7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930" indent="-201930" algn="l" defTabSz="802005"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pPr marL="302260" indent="-302260" algn="l" defTabSz="913765" fontAlgn="ctr">
              <a:spcBef>
                <a:spcPts val="790"/>
              </a:spcBef>
              <a:buSzPct val="50000"/>
            </a:pPr>
            <a:r>
              <a:rPr lang="zh-CN" altLang="en-US" dirty="0">
                <a:latin typeface="+mn-lt"/>
                <a:cs typeface="+mn-ea"/>
                <a:sym typeface="+mn-lt"/>
              </a:rPr>
              <a:t>关系模型</a:t>
            </a:r>
            <a:endParaRPr lang="en-US" altLang="zh-CN" dirty="0">
              <a:latin typeface="+mn-lt"/>
              <a:cs typeface="+mn-ea"/>
              <a:sym typeface="+mn-lt"/>
            </a:endParaRPr>
          </a:p>
          <a:p>
            <a:pPr lvl="1"/>
            <a:r>
              <a:rPr lang="zh-CN" altLang="en-US" sz="1800" kern="0" dirty="0" smtClean="0">
                <a:cs typeface="+mn-ea"/>
                <a:sym typeface="+mn-lt"/>
              </a:rPr>
              <a:t>建立在严格的数据概念基础上。</a:t>
            </a:r>
            <a:endParaRPr lang="en-US" altLang="zh-CN" sz="1800" kern="0" dirty="0" smtClean="0">
              <a:cs typeface="+mn-ea"/>
              <a:sym typeface="+mn-lt"/>
            </a:endParaRPr>
          </a:p>
          <a:p>
            <a:pPr lvl="1"/>
            <a:r>
              <a:rPr lang="zh-CN" altLang="en-US" sz="1800" kern="0" dirty="0" smtClean="0">
                <a:cs typeface="+mn-ea"/>
                <a:sym typeface="+mn-lt"/>
              </a:rPr>
              <a:t>关系必须是规范化的。</a:t>
            </a:r>
            <a:endParaRPr lang="en-US" altLang="zh-CN" sz="1800" kern="0" dirty="0" smtClean="0">
              <a:cs typeface="+mn-ea"/>
              <a:sym typeface="+mn-lt"/>
            </a:endParaRPr>
          </a:p>
          <a:p>
            <a:pPr lvl="1"/>
            <a:r>
              <a:rPr lang="zh-CN" altLang="en-US" sz="1800" kern="0" dirty="0" smtClean="0">
                <a:cs typeface="+mn-ea"/>
                <a:sym typeface="+mn-lt"/>
              </a:rPr>
              <a:t>关系的分量必须是一个不可分的数据项。</a:t>
            </a:r>
            <a:endParaRPr lang="en-US" altLang="zh-CN" sz="1800" kern="0" dirty="0" smtClean="0">
              <a:cs typeface="+mn-ea"/>
              <a:sym typeface="+mn-lt"/>
            </a:endParaRPr>
          </a:p>
          <a:p>
            <a:pPr lvl="1"/>
            <a:endParaRPr lang="en-US" altLang="zh-CN" kern="0" dirty="0" smtClean="0">
              <a:cs typeface="+mn-ea"/>
              <a:sym typeface="+mn-lt"/>
            </a:endParaRPr>
          </a:p>
          <a:p>
            <a:pPr lvl="1"/>
            <a:endParaRPr lang="en-US" altLang="zh-CN" sz="1800" kern="0" dirty="0" smtClean="0">
              <a:cs typeface="+mn-ea"/>
              <a:sym typeface="+mn-lt"/>
            </a:endParaRPr>
          </a:p>
        </p:txBody>
      </p:sp>
      <p:grpSp>
        <p:nvGrpSpPr>
          <p:cNvPr id="55" name="组合 54"/>
          <p:cNvGrpSpPr/>
          <p:nvPr/>
        </p:nvGrpSpPr>
        <p:grpSpPr>
          <a:xfrm>
            <a:off x="4593255" y="3465808"/>
            <a:ext cx="2631545" cy="2181136"/>
            <a:chOff x="7566530" y="2168860"/>
            <a:chExt cx="3416440" cy="2698426"/>
          </a:xfrm>
        </p:grpSpPr>
        <p:sp>
          <p:nvSpPr>
            <p:cNvPr id="56" name="Rectangle 18"/>
            <p:cNvSpPr>
              <a:spLocks noChangeArrowheads="1"/>
            </p:cNvSpPr>
            <p:nvPr/>
          </p:nvSpPr>
          <p:spPr bwMode="auto">
            <a:xfrm>
              <a:off x="7608168" y="2168860"/>
              <a:ext cx="1084049" cy="521282"/>
            </a:xfrm>
            <a:prstGeom prst="rect">
              <a:avLst/>
            </a:prstGeom>
            <a:solidFill>
              <a:schemeClr val="bg1">
                <a:lumMod val="85000"/>
              </a:schemeClr>
            </a:solidFill>
            <a:ln w="28575" algn="ctr">
              <a:solidFill>
                <a:srgbClr val="99CCFF"/>
              </a:solidFill>
              <a:miter lim="800000"/>
            </a:ln>
            <a:effectLst/>
          </p:spPr>
          <p:txBody>
            <a:bodyPr wrap="none" lIns="91422" tIns="45711" rIns="91422" bIns="45711" anchor="ctr"/>
            <a:lstStyle/>
            <a:p>
              <a:pPr algn="ctr" defTabSz="914400"/>
              <a:r>
                <a:rPr kumimoji="1" lang="en-US" altLang="zh-CN" sz="1400" b="1" dirty="0">
                  <a:cs typeface="+mn-ea"/>
                  <a:sym typeface="+mn-lt"/>
                </a:rPr>
                <a:t>E</a:t>
              </a:r>
              <a:r>
                <a:rPr kumimoji="1" lang="en-US" altLang="zh-CN" sz="1400" b="1" dirty="0" smtClean="0">
                  <a:cs typeface="+mn-ea"/>
                  <a:sym typeface="+mn-lt"/>
                </a:rPr>
                <a:t>1</a:t>
              </a:r>
              <a:endParaRPr kumimoji="1" lang="en-US" altLang="zh-CN" sz="1400" b="1" dirty="0">
                <a:cs typeface="+mn-ea"/>
                <a:sym typeface="+mn-lt"/>
              </a:endParaRPr>
            </a:p>
          </p:txBody>
        </p:sp>
        <p:sp>
          <p:nvSpPr>
            <p:cNvPr id="57" name="Rectangle 18"/>
            <p:cNvSpPr>
              <a:spLocks noChangeArrowheads="1"/>
            </p:cNvSpPr>
            <p:nvPr/>
          </p:nvSpPr>
          <p:spPr bwMode="auto">
            <a:xfrm>
              <a:off x="9898921" y="2168860"/>
              <a:ext cx="1084049" cy="521282"/>
            </a:xfrm>
            <a:prstGeom prst="rect">
              <a:avLst/>
            </a:prstGeom>
            <a:solidFill>
              <a:schemeClr val="bg1">
                <a:lumMod val="85000"/>
              </a:schemeClr>
            </a:solidFill>
            <a:ln w="28575" algn="ctr">
              <a:solidFill>
                <a:srgbClr val="99CCFF"/>
              </a:solidFill>
              <a:miter lim="800000"/>
            </a:ln>
            <a:effectLst/>
          </p:spPr>
          <p:txBody>
            <a:bodyPr wrap="none" lIns="91422" tIns="45711" rIns="91422" bIns="45711" anchor="ctr"/>
            <a:lstStyle/>
            <a:p>
              <a:pPr algn="ctr" defTabSz="914400"/>
              <a:r>
                <a:rPr kumimoji="1" lang="en-US" altLang="zh-CN" sz="1400" b="1" dirty="0">
                  <a:cs typeface="+mn-ea"/>
                  <a:sym typeface="+mn-lt"/>
                </a:rPr>
                <a:t>E</a:t>
              </a:r>
              <a:r>
                <a:rPr kumimoji="1" lang="en-US" altLang="zh-CN" sz="1400" b="1" dirty="0" smtClean="0">
                  <a:cs typeface="+mn-ea"/>
                  <a:sym typeface="+mn-lt"/>
                </a:rPr>
                <a:t>2</a:t>
              </a:r>
              <a:endParaRPr kumimoji="1" lang="en-US" altLang="zh-CN" sz="1400" b="1" dirty="0">
                <a:cs typeface="+mn-ea"/>
                <a:sym typeface="+mn-lt"/>
              </a:endParaRPr>
            </a:p>
          </p:txBody>
        </p:sp>
        <p:sp>
          <p:nvSpPr>
            <p:cNvPr id="58" name="Rectangle 18"/>
            <p:cNvSpPr>
              <a:spLocks noChangeArrowheads="1"/>
            </p:cNvSpPr>
            <p:nvPr/>
          </p:nvSpPr>
          <p:spPr bwMode="auto">
            <a:xfrm>
              <a:off x="9898921" y="3248248"/>
              <a:ext cx="1084049" cy="521282"/>
            </a:xfrm>
            <a:prstGeom prst="rect">
              <a:avLst/>
            </a:prstGeom>
            <a:solidFill>
              <a:schemeClr val="bg1">
                <a:lumMod val="85000"/>
              </a:schemeClr>
            </a:solidFill>
            <a:ln w="28575" algn="ctr">
              <a:solidFill>
                <a:srgbClr val="99CCFF"/>
              </a:solidFill>
              <a:miter lim="800000"/>
            </a:ln>
            <a:effectLst/>
          </p:spPr>
          <p:txBody>
            <a:bodyPr wrap="none" lIns="91422" tIns="45711" rIns="91422" bIns="45711" anchor="ctr"/>
            <a:lstStyle/>
            <a:p>
              <a:pPr algn="ctr" defTabSz="914400"/>
              <a:r>
                <a:rPr kumimoji="1" lang="en-US" altLang="zh-CN" sz="1400" b="1" dirty="0">
                  <a:cs typeface="+mn-ea"/>
                  <a:sym typeface="+mn-lt"/>
                </a:rPr>
                <a:t>E</a:t>
              </a:r>
              <a:r>
                <a:rPr kumimoji="1" lang="en-US" altLang="zh-CN" sz="1400" b="1" dirty="0" smtClean="0">
                  <a:cs typeface="+mn-ea"/>
                  <a:sym typeface="+mn-lt"/>
                </a:rPr>
                <a:t>3</a:t>
              </a:r>
              <a:endParaRPr kumimoji="1" lang="en-US" altLang="zh-CN" sz="1400" b="1" dirty="0">
                <a:cs typeface="+mn-ea"/>
                <a:sym typeface="+mn-lt"/>
              </a:endParaRPr>
            </a:p>
          </p:txBody>
        </p:sp>
        <p:sp>
          <p:nvSpPr>
            <p:cNvPr id="59" name="Rectangle 18"/>
            <p:cNvSpPr>
              <a:spLocks noChangeArrowheads="1"/>
            </p:cNvSpPr>
            <p:nvPr/>
          </p:nvSpPr>
          <p:spPr bwMode="auto">
            <a:xfrm>
              <a:off x="7608168" y="4346004"/>
              <a:ext cx="1084049" cy="521282"/>
            </a:xfrm>
            <a:prstGeom prst="rect">
              <a:avLst/>
            </a:prstGeom>
            <a:solidFill>
              <a:schemeClr val="bg1">
                <a:lumMod val="85000"/>
              </a:schemeClr>
            </a:solidFill>
            <a:ln w="28575" algn="ctr">
              <a:solidFill>
                <a:srgbClr val="99CCFF"/>
              </a:solidFill>
              <a:miter lim="800000"/>
            </a:ln>
            <a:effectLst/>
          </p:spPr>
          <p:txBody>
            <a:bodyPr wrap="none" lIns="91422" tIns="45711" rIns="91422" bIns="45711" anchor="ctr"/>
            <a:lstStyle/>
            <a:p>
              <a:pPr algn="ctr" defTabSz="914400"/>
              <a:r>
                <a:rPr kumimoji="1" lang="en-US" altLang="zh-CN" sz="1400" b="1" dirty="0">
                  <a:cs typeface="+mn-ea"/>
                  <a:sym typeface="+mn-lt"/>
                </a:rPr>
                <a:t>E</a:t>
              </a:r>
              <a:r>
                <a:rPr kumimoji="1" lang="en-US" altLang="zh-CN" sz="1400" b="1" dirty="0" smtClean="0">
                  <a:cs typeface="+mn-ea"/>
                  <a:sym typeface="+mn-lt"/>
                </a:rPr>
                <a:t>4</a:t>
              </a:r>
              <a:endParaRPr kumimoji="1" lang="en-US" altLang="zh-CN" sz="1400" b="1" dirty="0">
                <a:cs typeface="+mn-ea"/>
                <a:sym typeface="+mn-lt"/>
              </a:endParaRPr>
            </a:p>
          </p:txBody>
        </p:sp>
        <p:sp>
          <p:nvSpPr>
            <p:cNvPr id="60" name="Rectangle 18 - 1"/>
            <p:cNvSpPr>
              <a:spLocks noChangeArrowheads="1"/>
            </p:cNvSpPr>
            <p:nvPr/>
          </p:nvSpPr>
          <p:spPr bwMode="auto">
            <a:xfrm>
              <a:off x="9898921" y="4346004"/>
              <a:ext cx="1084049" cy="521282"/>
            </a:xfrm>
            <a:prstGeom prst="rect">
              <a:avLst/>
            </a:prstGeom>
            <a:solidFill>
              <a:schemeClr val="bg1">
                <a:lumMod val="85000"/>
              </a:schemeClr>
            </a:solidFill>
            <a:ln w="28575" algn="ctr">
              <a:solidFill>
                <a:srgbClr val="99CCFF"/>
              </a:solidFill>
              <a:miter lim="800000"/>
            </a:ln>
            <a:effectLst/>
          </p:spPr>
          <p:txBody>
            <a:bodyPr wrap="none" lIns="91422" tIns="45711" rIns="91422" bIns="45711" anchor="ctr"/>
            <a:lstStyle/>
            <a:p>
              <a:pPr algn="ctr" defTabSz="914400"/>
              <a:r>
                <a:rPr kumimoji="1" lang="en-US" altLang="zh-CN" sz="1400" b="1" dirty="0">
                  <a:cs typeface="+mn-ea"/>
                  <a:sym typeface="+mn-lt"/>
                </a:rPr>
                <a:t>E</a:t>
              </a:r>
              <a:r>
                <a:rPr kumimoji="1" lang="en-US" altLang="zh-CN" sz="1400" b="1" dirty="0" smtClean="0">
                  <a:cs typeface="+mn-ea"/>
                  <a:sym typeface="+mn-lt"/>
                </a:rPr>
                <a:t>5</a:t>
              </a:r>
              <a:endParaRPr kumimoji="1" lang="en-US" altLang="zh-CN" sz="1400" b="1" dirty="0">
                <a:cs typeface="+mn-ea"/>
                <a:sym typeface="+mn-lt"/>
              </a:endParaRPr>
            </a:p>
          </p:txBody>
        </p:sp>
        <p:cxnSp>
          <p:nvCxnSpPr>
            <p:cNvPr id="61" name="直接箭头连接符 60"/>
            <p:cNvCxnSpPr/>
            <p:nvPr/>
          </p:nvCxnSpPr>
          <p:spPr bwMode="auto">
            <a:xfrm>
              <a:off x="7854563" y="2690142"/>
              <a:ext cx="0" cy="1655862"/>
            </a:xfrm>
            <a:prstGeom prst="straightConnector1">
              <a:avLst/>
            </a:prstGeom>
            <a:solidFill>
              <a:schemeClr val="accent1"/>
            </a:solidFill>
            <a:ln w="9525" cap="flat" cmpd="sng" algn="ctr">
              <a:solidFill>
                <a:srgbClr val="99CCFF"/>
              </a:solidFill>
              <a:prstDash val="solid"/>
              <a:round/>
              <a:headEnd type="none" w="med" len="med"/>
              <a:tailEnd type="triangle"/>
            </a:ln>
            <a:effectLst/>
          </p:spPr>
        </p:cxnSp>
        <p:cxnSp>
          <p:nvCxnSpPr>
            <p:cNvPr id="62" name="肘形连接符 61"/>
            <p:cNvCxnSpPr>
              <a:endCxn id="58" idx="1"/>
            </p:cNvCxnSpPr>
            <p:nvPr/>
          </p:nvCxnSpPr>
          <p:spPr bwMode="auto">
            <a:xfrm>
              <a:off x="8322615" y="2690142"/>
              <a:ext cx="1576306" cy="818747"/>
            </a:xfrm>
            <a:prstGeom prst="bentConnector3">
              <a:avLst>
                <a:gd name="adj1" fmla="val 1761"/>
              </a:avLst>
            </a:prstGeom>
            <a:solidFill>
              <a:schemeClr val="accent1"/>
            </a:solidFill>
            <a:ln w="9525" cap="flat" cmpd="sng" algn="ctr">
              <a:solidFill>
                <a:srgbClr val="99CCFF"/>
              </a:solidFill>
              <a:prstDash val="solid"/>
              <a:round/>
              <a:headEnd type="none" w="med" len="med"/>
              <a:tailEnd type="triangle"/>
            </a:ln>
            <a:effectLst/>
          </p:spPr>
        </p:cxnSp>
        <p:cxnSp>
          <p:nvCxnSpPr>
            <p:cNvPr id="63" name="直接箭头连接符 62"/>
            <p:cNvCxnSpPr>
              <a:stCxn id="59" idx="3"/>
              <a:endCxn id="60" idx="1"/>
            </p:cNvCxnSpPr>
            <p:nvPr/>
          </p:nvCxnSpPr>
          <p:spPr bwMode="auto">
            <a:xfrm>
              <a:off x="8692217" y="4606645"/>
              <a:ext cx="1206704" cy="0"/>
            </a:xfrm>
            <a:prstGeom prst="straightConnector1">
              <a:avLst/>
            </a:prstGeom>
            <a:solidFill>
              <a:schemeClr val="accent1"/>
            </a:solidFill>
            <a:ln w="9525" cap="flat" cmpd="sng" algn="ctr">
              <a:solidFill>
                <a:srgbClr val="99CCFF"/>
              </a:solidFill>
              <a:prstDash val="solid"/>
              <a:round/>
              <a:headEnd type="none" w="med" len="med"/>
              <a:tailEnd type="triangle"/>
            </a:ln>
            <a:effectLst/>
          </p:spPr>
        </p:cxnSp>
        <p:cxnSp>
          <p:nvCxnSpPr>
            <p:cNvPr id="64" name="直接箭头连接符 63"/>
            <p:cNvCxnSpPr>
              <a:stCxn id="57" idx="2"/>
              <a:endCxn id="58" idx="0"/>
            </p:cNvCxnSpPr>
            <p:nvPr/>
          </p:nvCxnSpPr>
          <p:spPr bwMode="auto">
            <a:xfrm>
              <a:off x="10440946" y="2690142"/>
              <a:ext cx="0" cy="558106"/>
            </a:xfrm>
            <a:prstGeom prst="straightConnector1">
              <a:avLst/>
            </a:prstGeom>
            <a:solidFill>
              <a:schemeClr val="accent1"/>
            </a:solidFill>
            <a:ln w="9525" cap="flat" cmpd="sng" algn="ctr">
              <a:solidFill>
                <a:srgbClr val="99CCFF"/>
              </a:solidFill>
              <a:prstDash val="solid"/>
              <a:round/>
              <a:headEnd type="none" w="med" len="med"/>
              <a:tailEnd type="triangle"/>
            </a:ln>
            <a:effectLst/>
          </p:spPr>
        </p:cxnSp>
        <p:cxnSp>
          <p:nvCxnSpPr>
            <p:cNvPr id="65" name="直接箭头连接符 64"/>
            <p:cNvCxnSpPr>
              <a:stCxn id="58" idx="2"/>
              <a:endCxn id="60" idx="0"/>
            </p:cNvCxnSpPr>
            <p:nvPr/>
          </p:nvCxnSpPr>
          <p:spPr bwMode="auto">
            <a:xfrm>
              <a:off x="10440946" y="3769530"/>
              <a:ext cx="0" cy="576474"/>
            </a:xfrm>
            <a:prstGeom prst="straightConnector1">
              <a:avLst/>
            </a:prstGeom>
            <a:solidFill>
              <a:schemeClr val="accent1"/>
            </a:solidFill>
            <a:ln w="9525" cap="flat" cmpd="sng" algn="ctr">
              <a:solidFill>
                <a:srgbClr val="99CCFF"/>
              </a:solidFill>
              <a:prstDash val="solid"/>
              <a:round/>
              <a:headEnd type="none" w="med" len="med"/>
              <a:tailEnd type="triangle"/>
            </a:ln>
            <a:effectLst/>
          </p:spPr>
        </p:cxnSp>
        <p:sp>
          <p:nvSpPr>
            <p:cNvPr id="66" name="文本框 65"/>
            <p:cNvSpPr txBox="1"/>
            <p:nvPr/>
          </p:nvSpPr>
          <p:spPr bwMode="auto">
            <a:xfrm>
              <a:off x="7566530" y="3393988"/>
              <a:ext cx="322071" cy="266540"/>
            </a:xfrm>
            <a:prstGeom prst="rect">
              <a:avLst/>
            </a:prstGeom>
            <a:noFill/>
            <a:ln w="9525" algn="ctr">
              <a:solidFill>
                <a:srgbClr val="99CCFF"/>
              </a:solidFill>
              <a:miter lim="800000"/>
            </a:ln>
          </p:spPr>
          <p:txBody>
            <a:bodyPr vert="horz" wrap="square" lIns="0" tIns="0" rIns="0" bIns="0" numCol="1" rtlCol="0" anchor="ctr" anchorCtr="0" compatLnSpc="1">
              <a:spAutoFit/>
            </a:bodyPr>
            <a:lstStyle/>
            <a:p>
              <a:pPr algn="ctr"/>
              <a:r>
                <a:rPr kumimoji="1" lang="en-US" altLang="zh-CN" sz="1400" b="1" dirty="0" smtClean="0">
                  <a:cs typeface="+mn-ea"/>
                  <a:sym typeface="+mn-lt"/>
                </a:rPr>
                <a:t>R1</a:t>
              </a:r>
              <a:endParaRPr kumimoji="1" lang="zh-CN" altLang="en-US" sz="1400" b="1" dirty="0">
                <a:cs typeface="+mn-ea"/>
                <a:sym typeface="+mn-lt"/>
              </a:endParaRPr>
            </a:p>
          </p:txBody>
        </p:sp>
        <p:sp>
          <p:nvSpPr>
            <p:cNvPr id="67" name="文本框 66"/>
            <p:cNvSpPr txBox="1"/>
            <p:nvPr/>
          </p:nvSpPr>
          <p:spPr bwMode="auto">
            <a:xfrm>
              <a:off x="8420749" y="3165785"/>
              <a:ext cx="322071" cy="266540"/>
            </a:xfrm>
            <a:prstGeom prst="rect">
              <a:avLst/>
            </a:prstGeom>
            <a:noFill/>
            <a:ln w="9525" algn="ctr">
              <a:solidFill>
                <a:srgbClr val="99CCFF"/>
              </a:solidFill>
              <a:miter lim="800000"/>
            </a:ln>
          </p:spPr>
          <p:txBody>
            <a:bodyPr vert="horz" wrap="square" lIns="0" tIns="0" rIns="0" bIns="0" numCol="1" rtlCol="0" anchor="ctr" anchorCtr="0" compatLnSpc="1">
              <a:spAutoFit/>
            </a:bodyPr>
            <a:lstStyle/>
            <a:p>
              <a:pPr algn="ctr"/>
              <a:r>
                <a:rPr kumimoji="1" lang="en-US" altLang="zh-CN" sz="1400" b="1" dirty="0">
                  <a:cs typeface="+mn-ea"/>
                  <a:sym typeface="+mn-lt"/>
                </a:rPr>
                <a:t>R</a:t>
              </a:r>
              <a:r>
                <a:rPr kumimoji="1" lang="en-US" altLang="zh-CN" sz="1400" b="1" dirty="0" smtClean="0">
                  <a:cs typeface="+mn-ea"/>
                  <a:sym typeface="+mn-lt"/>
                </a:rPr>
                <a:t>2</a:t>
              </a:r>
              <a:endParaRPr kumimoji="1" lang="zh-CN" altLang="en-US" sz="1400" b="1" dirty="0">
                <a:cs typeface="+mn-ea"/>
                <a:sym typeface="+mn-lt"/>
              </a:endParaRPr>
            </a:p>
          </p:txBody>
        </p:sp>
        <p:sp>
          <p:nvSpPr>
            <p:cNvPr id="68" name="文本框 67"/>
            <p:cNvSpPr txBox="1"/>
            <p:nvPr/>
          </p:nvSpPr>
          <p:spPr bwMode="auto">
            <a:xfrm>
              <a:off x="10558118" y="2808572"/>
              <a:ext cx="322071" cy="266540"/>
            </a:xfrm>
            <a:prstGeom prst="rect">
              <a:avLst/>
            </a:prstGeom>
            <a:noFill/>
            <a:ln w="9525" algn="ctr">
              <a:solidFill>
                <a:srgbClr val="99CCFF"/>
              </a:solidFill>
              <a:miter lim="800000"/>
            </a:ln>
          </p:spPr>
          <p:txBody>
            <a:bodyPr vert="horz" wrap="square" lIns="0" tIns="0" rIns="0" bIns="0" numCol="1" rtlCol="0" anchor="ctr" anchorCtr="0" compatLnSpc="1">
              <a:spAutoFit/>
            </a:bodyPr>
            <a:lstStyle/>
            <a:p>
              <a:pPr algn="ctr"/>
              <a:r>
                <a:rPr kumimoji="1" lang="en-US" altLang="zh-CN" sz="1400" b="1" dirty="0">
                  <a:cs typeface="+mn-ea"/>
                  <a:sym typeface="+mn-lt"/>
                </a:rPr>
                <a:t>R</a:t>
              </a:r>
              <a:r>
                <a:rPr kumimoji="1" lang="en-US" altLang="zh-CN" sz="1400" b="1" dirty="0" smtClean="0">
                  <a:cs typeface="+mn-ea"/>
                  <a:sym typeface="+mn-lt"/>
                </a:rPr>
                <a:t>3</a:t>
              </a:r>
              <a:endParaRPr kumimoji="1" lang="zh-CN" altLang="en-US" sz="1400" b="1" dirty="0">
                <a:cs typeface="+mn-ea"/>
                <a:sym typeface="+mn-lt"/>
              </a:endParaRPr>
            </a:p>
          </p:txBody>
        </p:sp>
        <p:sp>
          <p:nvSpPr>
            <p:cNvPr id="69" name="文本框 68"/>
            <p:cNvSpPr txBox="1"/>
            <p:nvPr/>
          </p:nvSpPr>
          <p:spPr bwMode="auto">
            <a:xfrm>
              <a:off x="10440945" y="3908271"/>
              <a:ext cx="322071" cy="266540"/>
            </a:xfrm>
            <a:prstGeom prst="rect">
              <a:avLst/>
            </a:prstGeom>
            <a:noFill/>
            <a:ln w="9525" algn="ctr">
              <a:solidFill>
                <a:srgbClr val="99CCFF"/>
              </a:solidFill>
              <a:miter lim="800000"/>
            </a:ln>
          </p:spPr>
          <p:txBody>
            <a:bodyPr vert="horz" wrap="square" lIns="0" tIns="0" rIns="0" bIns="0" numCol="1" rtlCol="0" anchor="ctr" anchorCtr="0" compatLnSpc="1">
              <a:spAutoFit/>
            </a:bodyPr>
            <a:lstStyle/>
            <a:p>
              <a:pPr algn="ctr"/>
              <a:r>
                <a:rPr kumimoji="1" lang="en-US" altLang="zh-CN" sz="1400" b="1" dirty="0">
                  <a:cs typeface="+mn-ea"/>
                  <a:sym typeface="+mn-lt"/>
                </a:rPr>
                <a:t>R</a:t>
              </a:r>
              <a:r>
                <a:rPr kumimoji="1" lang="en-US" altLang="zh-CN" sz="1400" b="1" dirty="0" smtClean="0">
                  <a:cs typeface="+mn-ea"/>
                  <a:sym typeface="+mn-lt"/>
                </a:rPr>
                <a:t>4</a:t>
              </a:r>
              <a:endParaRPr kumimoji="1" lang="zh-CN" altLang="en-US" sz="1400" b="1" dirty="0">
                <a:cs typeface="+mn-ea"/>
                <a:sym typeface="+mn-lt"/>
              </a:endParaRPr>
            </a:p>
          </p:txBody>
        </p:sp>
        <p:sp>
          <p:nvSpPr>
            <p:cNvPr id="70" name="文本框 69"/>
            <p:cNvSpPr txBox="1"/>
            <p:nvPr/>
          </p:nvSpPr>
          <p:spPr bwMode="auto">
            <a:xfrm>
              <a:off x="9034828" y="4346660"/>
              <a:ext cx="322071" cy="266540"/>
            </a:xfrm>
            <a:prstGeom prst="rect">
              <a:avLst/>
            </a:prstGeom>
            <a:noFill/>
            <a:ln w="9525" algn="ctr">
              <a:solidFill>
                <a:srgbClr val="99CCFF"/>
              </a:solidFill>
              <a:miter lim="800000"/>
            </a:ln>
          </p:spPr>
          <p:txBody>
            <a:bodyPr vert="horz" wrap="square" lIns="0" tIns="0" rIns="0" bIns="0" numCol="1" rtlCol="0" anchor="ctr" anchorCtr="0" compatLnSpc="1">
              <a:spAutoFit/>
            </a:bodyPr>
            <a:lstStyle/>
            <a:p>
              <a:pPr algn="ctr"/>
              <a:r>
                <a:rPr kumimoji="1" lang="en-US" altLang="zh-CN" sz="1400" b="1" dirty="0">
                  <a:cs typeface="+mn-ea"/>
                  <a:sym typeface="+mn-lt"/>
                </a:rPr>
                <a:t>R</a:t>
              </a:r>
              <a:r>
                <a:rPr kumimoji="1" lang="en-US" altLang="zh-CN" sz="1400" b="1" dirty="0" smtClean="0">
                  <a:cs typeface="+mn-ea"/>
                  <a:sym typeface="+mn-lt"/>
                </a:rPr>
                <a:t>5</a:t>
              </a:r>
              <a:endParaRPr kumimoji="1" lang="zh-CN" altLang="en-US" sz="1400" b="1" dirty="0">
                <a:cs typeface="+mn-ea"/>
                <a:sym typeface="+mn-lt"/>
              </a:endParaRPr>
            </a:p>
          </p:txBody>
        </p:sp>
      </p:grpSp>
      <p:graphicFrame>
        <p:nvGraphicFramePr>
          <p:cNvPr id="72" name="表格 71"/>
          <p:cNvGraphicFramePr>
            <a:graphicFrameLocks noGrp="1"/>
          </p:cNvGraphicFramePr>
          <p:nvPr/>
        </p:nvGraphicFramePr>
        <p:xfrm>
          <a:off x="7998228" y="3486353"/>
          <a:ext cx="3390360" cy="2008668"/>
        </p:xfrm>
        <a:graphic>
          <a:graphicData uri="http://schemas.openxmlformats.org/drawingml/2006/table">
            <a:tbl>
              <a:tblPr firstRow="1" bandRow="1"/>
              <a:tblGrid>
                <a:gridCol w="847590"/>
                <a:gridCol w="847590"/>
                <a:gridCol w="847590"/>
                <a:gridCol w="847590"/>
              </a:tblGrid>
              <a:tr h="228849">
                <a:tc>
                  <a:txBody>
                    <a:bodyPr/>
                    <a:lstStyle/>
                    <a:p>
                      <a:pPr algn="ctr"/>
                      <a:r>
                        <a:rPr lang="zh-CN" altLang="en-US" sz="1200" b="1" dirty="0" smtClean="0">
                          <a:latin typeface="+mn-lt"/>
                          <a:ea typeface="+mn-ea"/>
                          <a:cs typeface="+mn-ea"/>
                          <a:sym typeface="+mn-lt"/>
                        </a:rPr>
                        <a:t>学号</a:t>
                      </a:r>
                      <a:endParaRPr lang="zh-CN" altLang="en-US" sz="12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200" b="1" dirty="0" smtClean="0">
                          <a:latin typeface="+mn-lt"/>
                          <a:ea typeface="+mn-ea"/>
                          <a:cs typeface="+mn-ea"/>
                          <a:sym typeface="+mn-lt"/>
                        </a:rPr>
                        <a:t>姓名</a:t>
                      </a:r>
                      <a:endParaRPr lang="zh-CN" altLang="en-US" sz="12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200" b="1" dirty="0" smtClean="0">
                          <a:latin typeface="+mn-lt"/>
                          <a:ea typeface="+mn-ea"/>
                          <a:cs typeface="+mn-ea"/>
                          <a:sym typeface="+mn-lt"/>
                        </a:rPr>
                        <a:t>年龄</a:t>
                      </a:r>
                      <a:endParaRPr lang="zh-CN" altLang="en-US" sz="12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200" b="1" dirty="0" smtClean="0">
                          <a:latin typeface="+mn-lt"/>
                          <a:ea typeface="+mn-ea"/>
                          <a:cs typeface="+mn-ea"/>
                          <a:sym typeface="+mn-lt"/>
                        </a:rPr>
                        <a:t>性别</a:t>
                      </a:r>
                      <a:endParaRPr lang="zh-CN" altLang="en-US" sz="12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r>
              <a:tr h="289058">
                <a:tc>
                  <a:txBody>
                    <a:bodyPr/>
                    <a:lstStyle/>
                    <a:p>
                      <a:pPr algn="ctr"/>
                      <a:r>
                        <a:rPr lang="en-US" altLang="zh-CN" sz="1200" dirty="0" smtClean="0">
                          <a:latin typeface="+mn-lt"/>
                          <a:ea typeface="+mn-ea"/>
                          <a:cs typeface="+mn-ea"/>
                          <a:sym typeface="+mn-lt"/>
                        </a:rPr>
                        <a:t>2019004</a:t>
                      </a:r>
                      <a:endParaRPr lang="zh-CN" altLang="en-US" sz="12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200" kern="1200" dirty="0" smtClean="0">
                          <a:solidFill>
                            <a:schemeClr val="tx1"/>
                          </a:solidFill>
                          <a:latin typeface="+mn-lt"/>
                          <a:ea typeface="+mn-ea"/>
                          <a:cs typeface="+mn-ea"/>
                          <a:sym typeface="+mn-lt"/>
                        </a:rPr>
                        <a:t>王四</a:t>
                      </a:r>
                      <a:endParaRPr lang="zh-CN" altLang="en-US" sz="1200" kern="1200" dirty="0">
                        <a:solidFill>
                          <a:schemeClr val="tx1"/>
                        </a:solidFill>
                        <a:latin typeface="+mn-lt"/>
                        <a:ea typeface="+mn-ea"/>
                        <a:cs typeface="+mn-ea"/>
                        <a:sym typeface="+mn-lt"/>
                      </a:endParaRPr>
                    </a:p>
                  </a:txBody>
                  <a:tcPr anchor="ctr"/>
                </a:tc>
                <a:tc>
                  <a:txBody>
                    <a:bodyPr/>
                    <a:lstStyle/>
                    <a:p>
                      <a:pPr algn="ctr"/>
                      <a:r>
                        <a:rPr lang="en-US" altLang="zh-CN" sz="1200" kern="1200" dirty="0" smtClean="0">
                          <a:solidFill>
                            <a:schemeClr val="tx1"/>
                          </a:solidFill>
                          <a:latin typeface="+mn-lt"/>
                          <a:ea typeface="+mn-ea"/>
                          <a:cs typeface="+mn-ea"/>
                          <a:sym typeface="+mn-lt"/>
                        </a:rPr>
                        <a:t>19</a:t>
                      </a:r>
                      <a:endParaRPr lang="zh-CN" altLang="en-US" sz="1200" kern="1200" dirty="0">
                        <a:solidFill>
                          <a:schemeClr val="tx1"/>
                        </a:solidFill>
                        <a:latin typeface="+mn-lt"/>
                        <a:ea typeface="+mn-ea"/>
                        <a:cs typeface="+mn-ea"/>
                        <a:sym typeface="+mn-lt"/>
                      </a:endParaRPr>
                    </a:p>
                  </a:txBody>
                  <a:tcPr anchor="ctr"/>
                </a:tc>
                <a:tc>
                  <a:txBody>
                    <a:bodyPr/>
                    <a:lstStyle/>
                    <a:p>
                      <a:pPr algn="ctr"/>
                      <a:r>
                        <a:rPr lang="zh-CN" altLang="en-US" sz="1200" kern="1200" dirty="0" smtClean="0">
                          <a:solidFill>
                            <a:schemeClr val="tx1"/>
                          </a:solidFill>
                          <a:latin typeface="+mn-lt"/>
                          <a:ea typeface="+mn-ea"/>
                          <a:cs typeface="+mn-ea"/>
                          <a:sym typeface="+mn-lt"/>
                        </a:rPr>
                        <a:t>男</a:t>
                      </a:r>
                      <a:endParaRPr lang="zh-CN" altLang="en-US" sz="1200" kern="1200" dirty="0">
                        <a:solidFill>
                          <a:schemeClr val="tx1"/>
                        </a:solidFill>
                        <a:latin typeface="+mn-lt"/>
                        <a:ea typeface="+mn-ea"/>
                        <a:cs typeface="+mn-ea"/>
                        <a:sym typeface="+mn-lt"/>
                      </a:endParaRPr>
                    </a:p>
                  </a:txBody>
                  <a:tcPr anchor="ctr"/>
                </a:tc>
              </a:tr>
              <a:tr h="289058">
                <a:tc>
                  <a:txBody>
                    <a:bodyPr/>
                    <a:lstStyle/>
                    <a:p>
                      <a:pPr algn="ctr"/>
                      <a:r>
                        <a:rPr lang="en-US" altLang="zh-CN" sz="1200" dirty="0" smtClean="0">
                          <a:latin typeface="+mn-lt"/>
                          <a:ea typeface="+mn-ea"/>
                          <a:cs typeface="+mn-ea"/>
                          <a:sym typeface="+mn-lt"/>
                        </a:rPr>
                        <a:t>2019005</a:t>
                      </a:r>
                      <a:endParaRPr lang="zh-CN" altLang="en-US" sz="12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200" kern="1200" dirty="0" smtClean="0">
                          <a:solidFill>
                            <a:schemeClr val="tx1"/>
                          </a:solidFill>
                          <a:latin typeface="+mn-lt"/>
                          <a:ea typeface="+mn-ea"/>
                          <a:cs typeface="+mn-ea"/>
                          <a:sym typeface="+mn-lt"/>
                        </a:rPr>
                        <a:t>李五</a:t>
                      </a:r>
                      <a:endParaRPr lang="zh-CN" altLang="en-US" sz="1200" kern="1200" dirty="0">
                        <a:solidFill>
                          <a:schemeClr val="tx1"/>
                        </a:solidFill>
                        <a:latin typeface="+mn-lt"/>
                        <a:ea typeface="+mn-ea"/>
                        <a:cs typeface="+mn-ea"/>
                        <a:sym typeface="+mn-lt"/>
                      </a:endParaRPr>
                    </a:p>
                  </a:txBody>
                  <a:tcPr anchor="ctr"/>
                </a:tc>
                <a:tc>
                  <a:txBody>
                    <a:bodyPr/>
                    <a:lstStyle/>
                    <a:p>
                      <a:pPr algn="ctr"/>
                      <a:r>
                        <a:rPr lang="en-US" altLang="zh-CN" sz="1200" kern="1200" dirty="0" smtClean="0">
                          <a:solidFill>
                            <a:schemeClr val="tx1"/>
                          </a:solidFill>
                          <a:latin typeface="+mn-lt"/>
                          <a:ea typeface="+mn-ea"/>
                          <a:cs typeface="+mn-ea"/>
                          <a:sym typeface="+mn-lt"/>
                        </a:rPr>
                        <a:t>20</a:t>
                      </a:r>
                      <a:endParaRPr lang="zh-CN" altLang="en-US" sz="1200" kern="1200" dirty="0">
                        <a:solidFill>
                          <a:schemeClr val="tx1"/>
                        </a:solidFill>
                        <a:latin typeface="+mn-lt"/>
                        <a:ea typeface="+mn-ea"/>
                        <a:cs typeface="+mn-ea"/>
                        <a:sym typeface="+mn-lt"/>
                      </a:endParaRPr>
                    </a:p>
                  </a:txBody>
                  <a:tcPr anchor="ctr"/>
                </a:tc>
                <a:tc>
                  <a:txBody>
                    <a:bodyPr/>
                    <a:lstStyle/>
                    <a:p>
                      <a:pPr algn="ctr"/>
                      <a:r>
                        <a:rPr lang="zh-CN" altLang="en-US" sz="1200" kern="1200" dirty="0" smtClean="0">
                          <a:solidFill>
                            <a:schemeClr val="tx1"/>
                          </a:solidFill>
                          <a:latin typeface="+mn-lt"/>
                          <a:ea typeface="+mn-ea"/>
                          <a:cs typeface="+mn-ea"/>
                          <a:sym typeface="+mn-lt"/>
                        </a:rPr>
                        <a:t>女</a:t>
                      </a:r>
                      <a:endParaRPr lang="zh-CN" altLang="en-US" sz="1200" kern="1200" dirty="0">
                        <a:solidFill>
                          <a:schemeClr val="tx1"/>
                        </a:solidFill>
                        <a:latin typeface="+mn-lt"/>
                        <a:ea typeface="+mn-ea"/>
                        <a:cs typeface="+mn-ea"/>
                        <a:sym typeface="+mn-lt"/>
                      </a:endParaRPr>
                    </a:p>
                  </a:txBody>
                  <a:tcPr anchor="ctr"/>
                </a:tc>
              </a:tr>
              <a:tr h="289058">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2019006</a:t>
                      </a:r>
                      <a:endParaRPr lang="zh-CN" altLang="en-US" sz="1200" dirty="0" smtClean="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200" kern="1200" dirty="0" smtClean="0">
                          <a:solidFill>
                            <a:schemeClr val="tx1"/>
                          </a:solidFill>
                          <a:latin typeface="+mn-lt"/>
                          <a:ea typeface="+mn-ea"/>
                          <a:cs typeface="+mn-ea"/>
                          <a:sym typeface="+mn-lt"/>
                        </a:rPr>
                        <a:t>陈六</a:t>
                      </a:r>
                      <a:endParaRPr lang="zh-CN" altLang="en-US" sz="1200" kern="1200" dirty="0">
                        <a:solidFill>
                          <a:schemeClr val="tx1"/>
                        </a:solidFill>
                        <a:latin typeface="+mn-lt"/>
                        <a:ea typeface="+mn-ea"/>
                        <a:cs typeface="+mn-ea"/>
                        <a:sym typeface="+mn-lt"/>
                      </a:endParaRPr>
                    </a:p>
                  </a:txBody>
                  <a:tcPr anchor="ctr"/>
                </a:tc>
                <a:tc>
                  <a:txBody>
                    <a:bodyPr/>
                    <a:lstStyle/>
                    <a:p>
                      <a:pPr algn="ctr"/>
                      <a:r>
                        <a:rPr lang="en-US" altLang="zh-CN" sz="1200" kern="1200" dirty="0" smtClean="0">
                          <a:solidFill>
                            <a:schemeClr val="tx1"/>
                          </a:solidFill>
                          <a:latin typeface="+mn-lt"/>
                          <a:ea typeface="+mn-ea"/>
                          <a:cs typeface="+mn-ea"/>
                          <a:sym typeface="+mn-lt"/>
                        </a:rPr>
                        <a:t>18</a:t>
                      </a:r>
                      <a:endParaRPr lang="zh-CN" altLang="en-US" sz="12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kern="1200" dirty="0" smtClean="0">
                          <a:solidFill>
                            <a:schemeClr val="tx1"/>
                          </a:solidFill>
                          <a:latin typeface="+mn-lt"/>
                          <a:ea typeface="+mn-ea"/>
                          <a:cs typeface="+mn-ea"/>
                          <a:sym typeface="+mn-lt"/>
                        </a:rPr>
                        <a:t>男</a:t>
                      </a:r>
                      <a:endParaRPr lang="zh-CN" altLang="en-US" sz="1200" kern="1200" dirty="0" smtClean="0">
                        <a:solidFill>
                          <a:schemeClr val="tx1"/>
                        </a:solidFill>
                        <a:latin typeface="+mn-lt"/>
                        <a:ea typeface="+mn-ea"/>
                        <a:cs typeface="+mn-ea"/>
                        <a:sym typeface="+mn-lt"/>
                      </a:endParaRPr>
                    </a:p>
                  </a:txBody>
                  <a:tcPr anchor="ctr"/>
                </a:tc>
              </a:tr>
              <a:tr h="289058">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2019007</a:t>
                      </a:r>
                      <a:endParaRPr lang="zh-CN" altLang="en-US" sz="1200" dirty="0" smtClean="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200" kern="1200" dirty="0" smtClean="0">
                          <a:solidFill>
                            <a:schemeClr val="tx1"/>
                          </a:solidFill>
                          <a:latin typeface="+mn-lt"/>
                          <a:ea typeface="+mn-ea"/>
                          <a:cs typeface="+mn-ea"/>
                          <a:sym typeface="+mn-lt"/>
                        </a:rPr>
                        <a:t>赵七</a:t>
                      </a:r>
                      <a:endParaRPr lang="zh-CN" altLang="en-US" sz="1200" kern="1200" dirty="0">
                        <a:solidFill>
                          <a:schemeClr val="tx1"/>
                        </a:solidFill>
                        <a:latin typeface="+mn-lt"/>
                        <a:ea typeface="+mn-ea"/>
                        <a:cs typeface="+mn-ea"/>
                        <a:sym typeface="+mn-lt"/>
                      </a:endParaRPr>
                    </a:p>
                  </a:txBody>
                  <a:tcPr anchor="ctr"/>
                </a:tc>
                <a:tc>
                  <a:txBody>
                    <a:bodyPr/>
                    <a:lstStyle/>
                    <a:p>
                      <a:pPr algn="ctr"/>
                      <a:r>
                        <a:rPr lang="en-US" altLang="zh-CN" sz="1200" kern="1200" dirty="0" smtClean="0">
                          <a:solidFill>
                            <a:schemeClr val="tx1"/>
                          </a:solidFill>
                          <a:latin typeface="+mn-lt"/>
                          <a:ea typeface="+mn-ea"/>
                          <a:cs typeface="+mn-ea"/>
                          <a:sym typeface="+mn-lt"/>
                        </a:rPr>
                        <a:t>19</a:t>
                      </a:r>
                      <a:endParaRPr lang="zh-CN" altLang="en-US" sz="1200" kern="1200" dirty="0">
                        <a:solidFill>
                          <a:schemeClr val="tx1"/>
                        </a:solidFill>
                        <a:latin typeface="+mn-lt"/>
                        <a:ea typeface="+mn-ea"/>
                        <a:cs typeface="+mn-ea"/>
                        <a:sym typeface="+mn-lt"/>
                      </a:endParaRPr>
                    </a:p>
                  </a:txBody>
                  <a:tcPr anchor="ctr"/>
                </a:tc>
                <a:tc>
                  <a:txBody>
                    <a:bodyPr/>
                    <a:lstStyle/>
                    <a:p>
                      <a:pPr algn="ctr"/>
                      <a:r>
                        <a:rPr lang="zh-CN" altLang="en-US" sz="1200" kern="1200" dirty="0" smtClean="0">
                          <a:solidFill>
                            <a:schemeClr val="tx1"/>
                          </a:solidFill>
                          <a:latin typeface="+mn-lt"/>
                          <a:ea typeface="+mn-ea"/>
                          <a:cs typeface="+mn-ea"/>
                          <a:sym typeface="+mn-lt"/>
                        </a:rPr>
                        <a:t>女</a:t>
                      </a:r>
                      <a:endParaRPr lang="zh-CN" altLang="en-US" sz="1200" kern="1200" dirty="0">
                        <a:solidFill>
                          <a:schemeClr val="tx1"/>
                        </a:solidFill>
                        <a:latin typeface="+mn-lt"/>
                        <a:ea typeface="+mn-ea"/>
                        <a:cs typeface="+mn-ea"/>
                        <a:sym typeface="+mn-lt"/>
                      </a:endParaRPr>
                    </a:p>
                  </a:txBody>
                  <a:tcPr anchor="ctr"/>
                </a:tc>
              </a:tr>
              <a:tr h="289058">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2019010</a:t>
                      </a:r>
                      <a:endParaRPr lang="zh-CN" altLang="en-US" sz="1200" dirty="0" smtClean="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200" kern="1200" dirty="0" smtClean="0">
                          <a:solidFill>
                            <a:schemeClr val="tx1"/>
                          </a:solidFill>
                          <a:latin typeface="+mn-lt"/>
                          <a:ea typeface="+mn-ea"/>
                          <a:cs typeface="+mn-ea"/>
                          <a:sym typeface="+mn-lt"/>
                        </a:rPr>
                        <a:t>宋十</a:t>
                      </a:r>
                      <a:endParaRPr lang="zh-CN" altLang="en-US" sz="1200" kern="1200" dirty="0">
                        <a:solidFill>
                          <a:schemeClr val="tx1"/>
                        </a:solidFill>
                        <a:latin typeface="+mn-lt"/>
                        <a:ea typeface="+mn-ea"/>
                        <a:cs typeface="+mn-ea"/>
                        <a:sym typeface="+mn-lt"/>
                      </a:endParaRPr>
                    </a:p>
                  </a:txBody>
                  <a:tcPr anchor="ctr"/>
                </a:tc>
                <a:tc>
                  <a:txBody>
                    <a:bodyPr/>
                    <a:lstStyle/>
                    <a:p>
                      <a:pPr algn="ctr"/>
                      <a:r>
                        <a:rPr lang="en-US" altLang="zh-CN" sz="1200" kern="1200" dirty="0" smtClean="0">
                          <a:solidFill>
                            <a:schemeClr val="tx1"/>
                          </a:solidFill>
                          <a:latin typeface="+mn-lt"/>
                          <a:ea typeface="+mn-ea"/>
                          <a:cs typeface="+mn-ea"/>
                          <a:sym typeface="+mn-lt"/>
                        </a:rPr>
                        <a:t>17</a:t>
                      </a:r>
                      <a:endParaRPr lang="zh-CN" altLang="en-US" sz="1200" kern="1200" dirty="0">
                        <a:solidFill>
                          <a:schemeClr val="tx1"/>
                        </a:solidFill>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kern="1200" dirty="0" smtClean="0">
                          <a:solidFill>
                            <a:schemeClr val="tx1"/>
                          </a:solidFill>
                          <a:latin typeface="+mn-lt"/>
                          <a:ea typeface="+mn-ea"/>
                          <a:cs typeface="+mn-ea"/>
                          <a:sym typeface="+mn-lt"/>
                        </a:rPr>
                        <a:t>男</a:t>
                      </a:r>
                      <a:endParaRPr lang="zh-CN" altLang="en-US" sz="1200" kern="1200" dirty="0" smtClean="0">
                        <a:solidFill>
                          <a:schemeClr val="tx1"/>
                        </a:solidFill>
                        <a:latin typeface="+mn-lt"/>
                        <a:ea typeface="+mn-ea"/>
                        <a:cs typeface="+mn-ea"/>
                        <a:sym typeface="+mn-lt"/>
                      </a:endParaRPr>
                    </a:p>
                  </a:txBody>
                  <a:tcPr anchor="ctr"/>
                </a:tc>
              </a:tr>
              <a:tr h="289058">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a:t>
                      </a:r>
                      <a:endParaRPr lang="zh-CN" altLang="en-US" sz="1200" dirty="0" smtClean="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a:t>
                      </a:r>
                      <a:endParaRPr lang="zh-CN" altLang="en-US" sz="1200" dirty="0" smtClean="0">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a:t>
                      </a:r>
                      <a:endParaRPr lang="zh-CN" altLang="en-US" sz="1200" dirty="0" smtClean="0">
                        <a:latin typeface="+mn-lt"/>
                        <a:ea typeface="+mn-ea"/>
                        <a:cs typeface="+mn-ea"/>
                        <a:sym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mn-lt"/>
                          <a:ea typeface="+mn-ea"/>
                          <a:cs typeface="+mn-ea"/>
                          <a:sym typeface="+mn-lt"/>
                        </a:rPr>
                        <a:t>…</a:t>
                      </a:r>
                      <a:endParaRPr lang="zh-CN" altLang="en-US" sz="1200" dirty="0" smtClean="0">
                        <a:latin typeface="+mn-lt"/>
                        <a:ea typeface="+mn-ea"/>
                        <a:cs typeface="+mn-ea"/>
                        <a:sym typeface="+mn-lt"/>
                      </a:endParaRPr>
                    </a:p>
                  </a:txBody>
                  <a:tcPr anchor="ctr"/>
                </a:tc>
              </a:tr>
            </a:tbl>
          </a:graphicData>
        </a:graphic>
      </p:graphicFrame>
      <p:sp>
        <p:nvSpPr>
          <p:cNvPr id="73" name="Text Box 10"/>
          <p:cNvSpPr txBox="1">
            <a:spLocks noChangeArrowheads="1"/>
          </p:cNvSpPr>
          <p:nvPr/>
        </p:nvSpPr>
        <p:spPr bwMode="auto">
          <a:xfrm>
            <a:off x="8106238" y="5751636"/>
            <a:ext cx="492406" cy="276981"/>
          </a:xfrm>
          <a:prstGeom prst="rect">
            <a:avLst/>
          </a:prstGeom>
          <a:noFill/>
          <a:ln w="9525">
            <a:noFill/>
            <a:miter lim="800000"/>
          </a:ln>
          <a:effectLst>
            <a:outerShdw blurRad="50800" dist="38100" dir="2700000" algn="tl" rotWithShape="0">
              <a:prstClr val="black">
                <a:alpha val="40000"/>
              </a:prstClr>
            </a:outerShdw>
          </a:effectLst>
        </p:spPr>
        <p:txBody>
          <a:bodyPr wrap="none" lIns="91422" tIns="45711" rIns="91422" bIns="45711">
            <a:spAutoFit/>
          </a:bodyPr>
          <a:lstStyle/>
          <a:p>
            <a:pPr defTabSz="914400"/>
            <a:r>
              <a:rPr kumimoji="1" lang="zh-CN" altLang="en-US" sz="1200" b="1" dirty="0">
                <a:solidFill>
                  <a:srgbClr val="C00000"/>
                </a:solidFill>
                <a:cs typeface="+mn-ea"/>
                <a:sym typeface="+mn-lt"/>
              </a:rPr>
              <a:t>元组</a:t>
            </a:r>
            <a:endParaRPr kumimoji="1" lang="en-US" altLang="zh-CN" sz="1200" b="1" dirty="0">
              <a:solidFill>
                <a:srgbClr val="C00000"/>
              </a:solidFill>
              <a:cs typeface="+mn-ea"/>
              <a:sym typeface="+mn-lt"/>
            </a:endParaRPr>
          </a:p>
        </p:txBody>
      </p:sp>
      <p:sp>
        <p:nvSpPr>
          <p:cNvPr id="74" name="矩形 73"/>
          <p:cNvSpPr/>
          <p:nvPr/>
        </p:nvSpPr>
        <p:spPr bwMode="auto">
          <a:xfrm>
            <a:off x="7998228" y="4939324"/>
            <a:ext cx="3390360" cy="282846"/>
          </a:xfrm>
          <a:prstGeom prst="rect">
            <a:avLst/>
          </a:pr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algn="ctr"/>
            <a:endParaRPr lang="zh-CN" altLang="en-US" sz="1800">
              <a:cs typeface="+mn-ea"/>
              <a:sym typeface="+mn-lt"/>
            </a:endParaRPr>
          </a:p>
        </p:txBody>
      </p:sp>
      <p:cxnSp>
        <p:nvCxnSpPr>
          <p:cNvPr id="76" name="直接箭头连接符 75"/>
          <p:cNvCxnSpPr>
            <a:stCxn id="80" idx="2"/>
          </p:cNvCxnSpPr>
          <p:nvPr/>
        </p:nvCxnSpPr>
        <p:spPr bwMode="auto">
          <a:xfrm>
            <a:off x="8052044" y="3277151"/>
            <a:ext cx="176210" cy="295865"/>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78" name="肘形连接符 77"/>
          <p:cNvCxnSpPr>
            <a:stCxn id="73" idx="1"/>
            <a:endCxn id="74" idx="1"/>
          </p:cNvCxnSpPr>
          <p:nvPr/>
        </p:nvCxnSpPr>
        <p:spPr bwMode="auto">
          <a:xfrm rot="10800000">
            <a:off x="7998228" y="5080747"/>
            <a:ext cx="108010" cy="809380"/>
          </a:xfrm>
          <a:prstGeom prst="bentConnector3">
            <a:avLst>
              <a:gd name="adj1" fmla="val 311647"/>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sp>
        <p:nvSpPr>
          <p:cNvPr id="80" name="Text Box 10"/>
          <p:cNvSpPr txBox="1">
            <a:spLocks noChangeArrowheads="1"/>
          </p:cNvSpPr>
          <p:nvPr/>
        </p:nvSpPr>
        <p:spPr bwMode="auto">
          <a:xfrm>
            <a:off x="7651952" y="3000170"/>
            <a:ext cx="800183" cy="276981"/>
          </a:xfrm>
          <a:prstGeom prst="rect">
            <a:avLst/>
          </a:prstGeom>
          <a:noFill/>
          <a:ln w="9525">
            <a:noFill/>
            <a:miter lim="800000"/>
          </a:ln>
          <a:effectLst>
            <a:outerShdw blurRad="50800" dist="38100" dir="2700000" algn="tl" rotWithShape="0">
              <a:prstClr val="black">
                <a:alpha val="40000"/>
              </a:prstClr>
            </a:outerShdw>
          </a:effectLst>
        </p:spPr>
        <p:txBody>
          <a:bodyPr wrap="none" lIns="91422" tIns="45711" rIns="91422" bIns="45711">
            <a:spAutoFit/>
          </a:bodyPr>
          <a:lstStyle/>
          <a:p>
            <a:pPr defTabSz="914400"/>
            <a:r>
              <a:rPr kumimoji="1" lang="zh-CN" altLang="en-US" sz="1200" b="1" dirty="0" smtClean="0">
                <a:solidFill>
                  <a:srgbClr val="C00000"/>
                </a:solidFill>
                <a:cs typeface="+mn-ea"/>
                <a:sym typeface="+mn-lt"/>
              </a:rPr>
              <a:t>码（键）</a:t>
            </a:r>
            <a:endParaRPr kumimoji="1" lang="en-US" altLang="zh-CN" sz="1200" b="1" dirty="0">
              <a:solidFill>
                <a:srgbClr val="C00000"/>
              </a:solidFill>
              <a:cs typeface="+mn-ea"/>
              <a:sym typeface="+mn-lt"/>
            </a:endParaRPr>
          </a:p>
        </p:txBody>
      </p:sp>
      <p:sp>
        <p:nvSpPr>
          <p:cNvPr id="83" name="Text Box 10"/>
          <p:cNvSpPr txBox="1">
            <a:spLocks noChangeArrowheads="1"/>
          </p:cNvSpPr>
          <p:nvPr/>
        </p:nvSpPr>
        <p:spPr bwMode="auto">
          <a:xfrm>
            <a:off x="9693408" y="2979851"/>
            <a:ext cx="492406" cy="276981"/>
          </a:xfrm>
          <a:prstGeom prst="rect">
            <a:avLst/>
          </a:prstGeom>
          <a:noFill/>
          <a:ln w="9525">
            <a:noFill/>
            <a:miter lim="800000"/>
          </a:ln>
          <a:effectLst>
            <a:outerShdw blurRad="50800" dist="38100" dir="2700000" algn="tl" rotWithShape="0">
              <a:prstClr val="black">
                <a:alpha val="40000"/>
              </a:prstClr>
            </a:outerShdw>
          </a:effectLst>
        </p:spPr>
        <p:txBody>
          <a:bodyPr wrap="none" lIns="91422" tIns="45711" rIns="91422" bIns="45711">
            <a:spAutoFit/>
          </a:bodyPr>
          <a:lstStyle/>
          <a:p>
            <a:pPr defTabSz="914400"/>
            <a:r>
              <a:rPr kumimoji="1" lang="zh-CN" altLang="en-US" sz="1200" b="1" dirty="0" smtClean="0">
                <a:solidFill>
                  <a:srgbClr val="C00000"/>
                </a:solidFill>
                <a:cs typeface="+mn-ea"/>
                <a:sym typeface="+mn-lt"/>
              </a:rPr>
              <a:t>属性</a:t>
            </a:r>
            <a:endParaRPr kumimoji="1" lang="en-US" altLang="zh-CN" sz="1200" b="1" dirty="0">
              <a:solidFill>
                <a:srgbClr val="C00000"/>
              </a:solidFill>
              <a:cs typeface="+mn-ea"/>
              <a:sym typeface="+mn-lt"/>
            </a:endParaRPr>
          </a:p>
        </p:txBody>
      </p:sp>
      <p:cxnSp>
        <p:nvCxnSpPr>
          <p:cNvPr id="84" name="直接箭头连接符 83"/>
          <p:cNvCxnSpPr>
            <a:stCxn id="83" idx="2"/>
          </p:cNvCxnSpPr>
          <p:nvPr/>
        </p:nvCxnSpPr>
        <p:spPr bwMode="auto">
          <a:xfrm flipH="1">
            <a:off x="8558026" y="3256832"/>
            <a:ext cx="1381585" cy="316184"/>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87" name="直接箭头连接符 86"/>
          <p:cNvCxnSpPr>
            <a:stCxn id="83" idx="2"/>
          </p:cNvCxnSpPr>
          <p:nvPr/>
        </p:nvCxnSpPr>
        <p:spPr bwMode="auto">
          <a:xfrm flipH="1">
            <a:off x="9372364" y="3256832"/>
            <a:ext cx="567247" cy="265804"/>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90" name="直接箭头连接符 89"/>
          <p:cNvCxnSpPr>
            <a:stCxn id="83" idx="2"/>
          </p:cNvCxnSpPr>
          <p:nvPr/>
        </p:nvCxnSpPr>
        <p:spPr bwMode="auto">
          <a:xfrm>
            <a:off x="9939611" y="3256832"/>
            <a:ext cx="141651" cy="265804"/>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93" name="直接箭头连接符 92"/>
          <p:cNvCxnSpPr>
            <a:stCxn id="83" idx="2"/>
          </p:cNvCxnSpPr>
          <p:nvPr/>
        </p:nvCxnSpPr>
        <p:spPr bwMode="auto">
          <a:xfrm>
            <a:off x="9939611" y="3256832"/>
            <a:ext cx="836909" cy="316184"/>
          </a:xfrm>
          <a:prstGeom prst="straightConnector1">
            <a:avLst/>
          </a:prstGeom>
          <a:noFill/>
          <a:ln w="28575" cap="flat" cmpd="sng" algn="ctr">
            <a:solidFill>
              <a:srgbClr val="990000"/>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41" name="肘形连接符 40"/>
          <p:cNvCxnSpPr>
            <a:endCxn id="9" idx="0"/>
          </p:cNvCxnSpPr>
          <p:nvPr/>
        </p:nvCxnSpPr>
        <p:spPr bwMode="auto">
          <a:xfrm>
            <a:off x="2098846" y="5007790"/>
            <a:ext cx="681371" cy="228209"/>
          </a:xfrm>
          <a:prstGeom prst="bentConnector2">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层次</a:t>
            </a:r>
            <a:r>
              <a:rPr lang="zh-CN" altLang="en-US" dirty="0">
                <a:latin typeface="+mn-lt"/>
                <a:ea typeface="+mn-ea"/>
                <a:cs typeface="+mn-ea"/>
                <a:sym typeface="+mn-lt"/>
              </a:rPr>
              <a:t>，</a:t>
            </a:r>
            <a:r>
              <a:rPr lang="zh-CN" altLang="en-US" dirty="0" smtClean="0">
                <a:latin typeface="+mn-lt"/>
                <a:ea typeface="+mn-ea"/>
                <a:cs typeface="+mn-ea"/>
                <a:sym typeface="+mn-lt"/>
              </a:rPr>
              <a:t>网状，关系模型对比</a:t>
            </a:r>
            <a:endParaRPr lang="zh-CN" altLang="en-US" dirty="0">
              <a:latin typeface="+mn-lt"/>
              <a:ea typeface="+mn-ea"/>
              <a:cs typeface="+mn-ea"/>
              <a:sym typeface="+mn-lt"/>
            </a:endParaRPr>
          </a:p>
        </p:txBody>
      </p:sp>
      <p:graphicFrame>
        <p:nvGraphicFramePr>
          <p:cNvPr id="21" name="表格 20"/>
          <p:cNvGraphicFramePr>
            <a:graphicFrameLocks noGrp="1"/>
          </p:cNvGraphicFramePr>
          <p:nvPr/>
        </p:nvGraphicFramePr>
        <p:xfrm>
          <a:off x="1199456" y="1520788"/>
          <a:ext cx="9514922" cy="4312920"/>
        </p:xfrm>
        <a:graphic>
          <a:graphicData uri="http://schemas.openxmlformats.org/drawingml/2006/table">
            <a:tbl>
              <a:tblPr firstRow="1" bandRow="1"/>
              <a:tblGrid>
                <a:gridCol w="1306010"/>
                <a:gridCol w="2736304"/>
                <a:gridCol w="2736304"/>
                <a:gridCol w="2736304"/>
              </a:tblGrid>
              <a:tr h="370840">
                <a:tc>
                  <a:txBody>
                    <a:bodyPr/>
                    <a:lstStyle/>
                    <a:p>
                      <a:pPr algn="ctr"/>
                      <a:r>
                        <a:rPr lang="zh-CN" altLang="en-US" sz="1400" b="1" dirty="0" smtClean="0">
                          <a:latin typeface="+mn-lt"/>
                          <a:ea typeface="+mn-ea"/>
                          <a:cs typeface="+mn-ea"/>
                          <a:sym typeface="+mn-lt"/>
                        </a:rPr>
                        <a:t>特点</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mn-lt"/>
                          <a:ea typeface="+mn-ea"/>
                          <a:cs typeface="+mn-ea"/>
                          <a:sym typeface="+mn-lt"/>
                        </a:rPr>
                        <a:t>层次模型</a:t>
                      </a:r>
                      <a:endParaRPr lang="zh-CN" altLang="en-US" sz="14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mn-lt"/>
                          <a:ea typeface="+mn-ea"/>
                          <a:cs typeface="+mn-ea"/>
                          <a:sym typeface="+mn-lt"/>
                        </a:rPr>
                        <a:t>网状模型</a:t>
                      </a:r>
                      <a:endParaRPr lang="zh-CN" altLang="en-US" sz="14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400" b="1" dirty="0" smtClean="0">
                          <a:latin typeface="+mn-lt"/>
                          <a:ea typeface="+mn-ea"/>
                          <a:cs typeface="+mn-ea"/>
                          <a:sym typeface="+mn-lt"/>
                        </a:rPr>
                        <a:t>关系模型</a:t>
                      </a:r>
                      <a:endParaRPr lang="zh-CN" altLang="en-US" sz="14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70840">
                <a:tc>
                  <a:txBody>
                    <a:bodyPr/>
                    <a:lstStyle/>
                    <a:p>
                      <a:pPr algn="ctr"/>
                      <a:r>
                        <a:rPr lang="zh-CN" altLang="en-US" sz="1400" b="1" dirty="0" smtClean="0">
                          <a:latin typeface="+mn-lt"/>
                          <a:ea typeface="+mn-ea"/>
                          <a:cs typeface="+mn-ea"/>
                          <a:sym typeface="+mn-lt"/>
                        </a:rPr>
                        <a:t>数据结构</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200" dirty="0" smtClean="0">
                          <a:latin typeface="+mn-lt"/>
                          <a:ea typeface="+mn-ea"/>
                          <a:cs typeface="+mn-ea"/>
                          <a:sym typeface="+mn-lt"/>
                        </a:rPr>
                        <a:t>格式化模型，树形结构简单清晰</a:t>
                      </a:r>
                      <a:endParaRPr lang="zh-CN" altLang="en-US" sz="1200" dirty="0">
                        <a:latin typeface="+mn-lt"/>
                        <a:ea typeface="+mn-ea"/>
                        <a:cs typeface="+mn-ea"/>
                        <a:sym typeface="+mn-lt"/>
                      </a:endParaRPr>
                    </a:p>
                  </a:txBody>
                  <a:tcPr anchor="ctr"/>
                </a:tc>
                <a:tc>
                  <a:txBody>
                    <a:bodyPr/>
                    <a:lstStyle/>
                    <a:p>
                      <a:pPr algn="l"/>
                      <a:r>
                        <a:rPr lang="zh-CN" altLang="en-US" sz="1200" dirty="0" smtClean="0">
                          <a:latin typeface="+mn-lt"/>
                          <a:ea typeface="+mn-ea"/>
                          <a:cs typeface="+mn-ea"/>
                          <a:sym typeface="+mn-lt"/>
                        </a:rPr>
                        <a:t>格式化模型</a:t>
                      </a:r>
                      <a:endParaRPr lang="zh-CN" altLang="en-US" sz="1200" dirty="0">
                        <a:latin typeface="+mn-lt"/>
                        <a:ea typeface="+mn-ea"/>
                        <a:cs typeface="+mn-ea"/>
                        <a:sym typeface="+mn-lt"/>
                      </a:endParaRPr>
                    </a:p>
                  </a:txBody>
                  <a:tcPr anchor="ctr"/>
                </a:tc>
                <a:tc>
                  <a:txBody>
                    <a:bodyPr/>
                    <a:lstStyle/>
                    <a:p>
                      <a:pPr algn="l"/>
                      <a:r>
                        <a:rPr lang="zh-CN" altLang="en-US" sz="1200" dirty="0" smtClean="0">
                          <a:latin typeface="+mn-lt"/>
                          <a:ea typeface="+mn-ea"/>
                          <a:cs typeface="+mn-ea"/>
                          <a:sym typeface="+mn-lt"/>
                        </a:rPr>
                        <a:t>符合规范化的模型要求</a:t>
                      </a:r>
                      <a:endParaRPr lang="zh-CN" altLang="en-US" sz="12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zh-CN" altLang="en-US" sz="1400" b="1" kern="1200" dirty="0" smtClean="0">
                          <a:solidFill>
                            <a:schemeClr val="tx1"/>
                          </a:solidFill>
                          <a:latin typeface="+mn-lt"/>
                          <a:ea typeface="+mn-ea"/>
                          <a:cs typeface="+mn-ea"/>
                          <a:sym typeface="+mn-lt"/>
                        </a:rPr>
                        <a:t>数据操作</a:t>
                      </a:r>
                      <a:endParaRPr lang="zh-CN" altLang="en-US" sz="14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200" kern="1200" dirty="0" smtClean="0">
                          <a:solidFill>
                            <a:schemeClr val="tx1"/>
                          </a:solidFill>
                          <a:latin typeface="+mn-lt"/>
                          <a:ea typeface="+mn-ea"/>
                          <a:cs typeface="+mn-ea"/>
                          <a:sym typeface="+mn-lt"/>
                        </a:rPr>
                        <a:t>没有双亲节点，不能插入子女节点；删除双亲节点时，子女节点同时被删除。</a:t>
                      </a:r>
                      <a:endParaRPr lang="zh-CN" altLang="en-US" sz="1200" kern="1200" dirty="0">
                        <a:solidFill>
                          <a:schemeClr val="tx1"/>
                        </a:solidFill>
                        <a:latin typeface="+mn-lt"/>
                        <a:ea typeface="+mn-ea"/>
                        <a:cs typeface="+mn-ea"/>
                        <a:sym typeface="+mn-lt"/>
                      </a:endParaRPr>
                    </a:p>
                  </a:txBody>
                  <a:tcPr anchor="ctr"/>
                </a:tc>
                <a:tc>
                  <a:txBody>
                    <a:bodyPr/>
                    <a:lstStyle/>
                    <a:p>
                      <a:pPr algn="l"/>
                      <a:r>
                        <a:rPr lang="zh-CN" altLang="en-US" sz="1200" kern="1200" dirty="0" smtClean="0">
                          <a:solidFill>
                            <a:schemeClr val="tx1"/>
                          </a:solidFill>
                          <a:latin typeface="+mn-lt"/>
                          <a:ea typeface="+mn-ea"/>
                          <a:cs typeface="+mn-ea"/>
                          <a:sym typeface="+mn-lt"/>
                        </a:rPr>
                        <a:t>增加和删除节点时，也要在双亲节点中增加或删除相应的信息（如指针）。</a:t>
                      </a:r>
                      <a:endParaRPr lang="zh-CN" altLang="en-US" sz="1200" kern="1200" dirty="0">
                        <a:solidFill>
                          <a:schemeClr val="tx1"/>
                        </a:solidFill>
                        <a:latin typeface="+mn-lt"/>
                        <a:ea typeface="+mn-ea"/>
                        <a:cs typeface="+mn-ea"/>
                        <a:sym typeface="+mn-lt"/>
                      </a:endParaRPr>
                    </a:p>
                  </a:txBody>
                  <a:tcPr anchor="ctr"/>
                </a:tc>
                <a:tc>
                  <a:txBody>
                    <a:bodyPr/>
                    <a:lstStyle/>
                    <a:p>
                      <a:pPr algn="l"/>
                      <a:r>
                        <a:rPr lang="zh-CN" altLang="en-US" sz="1200" kern="1200" dirty="0" smtClean="0">
                          <a:solidFill>
                            <a:schemeClr val="tx1"/>
                          </a:solidFill>
                          <a:latin typeface="+mn-lt"/>
                          <a:ea typeface="+mn-ea"/>
                          <a:cs typeface="+mn-ea"/>
                          <a:sym typeface="+mn-lt"/>
                        </a:rPr>
                        <a:t>数据的操作都是集合操作，操作对象和结果都是关系。数据操作必须满足关系的完整性约束。</a:t>
                      </a:r>
                      <a:endParaRPr lang="zh-CN" altLang="en-US" sz="12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zh-CN" altLang="en-US" sz="1400" b="1" kern="1200" dirty="0" smtClean="0">
                          <a:solidFill>
                            <a:schemeClr val="tx1"/>
                          </a:solidFill>
                          <a:latin typeface="+mn-lt"/>
                          <a:ea typeface="+mn-ea"/>
                          <a:cs typeface="+mn-ea"/>
                          <a:sym typeface="+mn-lt"/>
                        </a:rPr>
                        <a:t>数据联系</a:t>
                      </a:r>
                      <a:endParaRPr lang="zh-CN" altLang="en-US" sz="14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200" kern="1200" dirty="0" smtClean="0">
                          <a:solidFill>
                            <a:schemeClr val="tx1"/>
                          </a:solidFill>
                          <a:latin typeface="+mn-lt"/>
                          <a:ea typeface="+mn-ea"/>
                          <a:cs typeface="+mn-ea"/>
                          <a:sym typeface="+mn-lt"/>
                        </a:rPr>
                        <a:t>存取路径反映了数据之间的联系。</a:t>
                      </a:r>
                      <a:endParaRPr lang="zh-CN" altLang="en-US" sz="1200" kern="1200" dirty="0">
                        <a:solidFill>
                          <a:schemeClr val="tx1"/>
                        </a:solidFill>
                        <a:latin typeface="+mn-lt"/>
                        <a:ea typeface="+mn-ea"/>
                        <a:cs typeface="+mn-ea"/>
                        <a:sym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kern="1200" dirty="0" smtClean="0">
                          <a:solidFill>
                            <a:schemeClr val="tx1"/>
                          </a:solidFill>
                          <a:latin typeface="+mn-lt"/>
                          <a:ea typeface="+mn-ea"/>
                          <a:cs typeface="+mn-ea"/>
                          <a:sym typeface="+mn-lt"/>
                        </a:rPr>
                        <a:t>存取路径反映了数据之间的联系。</a:t>
                      </a:r>
                      <a:endParaRPr lang="zh-CN" altLang="en-US" sz="1200" kern="1200" dirty="0" smtClean="0">
                        <a:solidFill>
                          <a:schemeClr val="tx1"/>
                        </a:solidFill>
                        <a:latin typeface="+mn-lt"/>
                        <a:ea typeface="+mn-ea"/>
                        <a:cs typeface="+mn-ea"/>
                        <a:sym typeface="+mn-lt"/>
                      </a:endParaRPr>
                    </a:p>
                  </a:txBody>
                  <a:tcPr anchor="ctr"/>
                </a:tc>
                <a:tc>
                  <a:txBody>
                    <a:bodyPr/>
                    <a:lstStyle/>
                    <a:p>
                      <a:pPr algn="l"/>
                      <a:r>
                        <a:rPr lang="zh-CN" altLang="en-US" sz="1200" kern="1200" dirty="0" smtClean="0">
                          <a:solidFill>
                            <a:schemeClr val="tx1"/>
                          </a:solidFill>
                          <a:latin typeface="+mn-lt"/>
                          <a:ea typeface="+mn-ea"/>
                          <a:cs typeface="+mn-ea"/>
                          <a:sym typeface="+mn-lt"/>
                        </a:rPr>
                        <a:t>通过关系反映数据之间的联系。</a:t>
                      </a:r>
                      <a:endParaRPr lang="zh-CN" altLang="en-US" sz="12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zh-CN" altLang="en-US" sz="1400" b="1" kern="1200" dirty="0" smtClean="0">
                          <a:solidFill>
                            <a:schemeClr val="tx1"/>
                          </a:solidFill>
                          <a:latin typeface="+mn-lt"/>
                          <a:ea typeface="+mn-ea"/>
                          <a:cs typeface="+mn-ea"/>
                          <a:sym typeface="+mn-lt"/>
                        </a:rPr>
                        <a:t>优点</a:t>
                      </a:r>
                      <a:endParaRPr lang="zh-CN" altLang="en-US" sz="14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en-US" altLang="zh-CN" sz="1200" kern="1200" dirty="0" smtClean="0">
                          <a:solidFill>
                            <a:schemeClr val="tx1"/>
                          </a:solidFill>
                          <a:latin typeface="+mn-lt"/>
                          <a:ea typeface="+mn-ea"/>
                          <a:cs typeface="+mn-ea"/>
                          <a:sym typeface="+mn-lt"/>
                        </a:rPr>
                        <a:t>1.</a:t>
                      </a:r>
                      <a:r>
                        <a:rPr lang="zh-CN" altLang="en-US" sz="1200" kern="1200" dirty="0" smtClean="0">
                          <a:solidFill>
                            <a:schemeClr val="tx1"/>
                          </a:solidFill>
                          <a:latin typeface="+mn-lt"/>
                          <a:ea typeface="+mn-ea"/>
                          <a:cs typeface="+mn-ea"/>
                          <a:sym typeface="+mn-lt"/>
                        </a:rPr>
                        <a:t>数据结构简单清晰；</a:t>
                      </a:r>
                      <a:endParaRPr lang="en-US" altLang="zh-CN" sz="1200" kern="1200" dirty="0" smtClean="0">
                        <a:solidFill>
                          <a:schemeClr val="tx1"/>
                        </a:solidFill>
                        <a:latin typeface="+mn-lt"/>
                        <a:ea typeface="+mn-ea"/>
                        <a:cs typeface="+mn-ea"/>
                        <a:sym typeface="+mn-lt"/>
                      </a:endParaRPr>
                    </a:p>
                    <a:p>
                      <a:pPr algn="l"/>
                      <a:r>
                        <a:rPr lang="en-US" altLang="zh-CN" sz="1200" kern="1200" dirty="0" smtClean="0">
                          <a:solidFill>
                            <a:schemeClr val="tx1"/>
                          </a:solidFill>
                          <a:latin typeface="+mn-lt"/>
                          <a:ea typeface="+mn-ea"/>
                          <a:cs typeface="+mn-ea"/>
                          <a:sym typeface="+mn-lt"/>
                        </a:rPr>
                        <a:t>2.</a:t>
                      </a:r>
                      <a:r>
                        <a:rPr lang="zh-CN" altLang="en-US" sz="1200" kern="1200" dirty="0" smtClean="0">
                          <a:solidFill>
                            <a:schemeClr val="tx1"/>
                          </a:solidFill>
                          <a:latin typeface="+mn-lt"/>
                          <a:ea typeface="+mn-ea"/>
                          <a:cs typeface="+mn-ea"/>
                          <a:sym typeface="+mn-lt"/>
                        </a:rPr>
                        <a:t>查询效率高；</a:t>
                      </a:r>
                      <a:endParaRPr lang="en-US" altLang="zh-CN" sz="1200" kern="1200" dirty="0" smtClean="0">
                        <a:solidFill>
                          <a:schemeClr val="tx1"/>
                        </a:solidFill>
                        <a:latin typeface="+mn-lt"/>
                        <a:ea typeface="+mn-ea"/>
                        <a:cs typeface="+mn-ea"/>
                        <a:sym typeface="+mn-lt"/>
                      </a:endParaRPr>
                    </a:p>
                    <a:p>
                      <a:pPr algn="l"/>
                      <a:r>
                        <a:rPr lang="en-US" altLang="zh-CN" sz="1200" kern="1200" dirty="0" smtClean="0">
                          <a:solidFill>
                            <a:schemeClr val="tx1"/>
                          </a:solidFill>
                          <a:latin typeface="+mn-lt"/>
                          <a:ea typeface="+mn-ea"/>
                          <a:cs typeface="+mn-ea"/>
                          <a:sym typeface="+mn-lt"/>
                        </a:rPr>
                        <a:t>3.</a:t>
                      </a:r>
                      <a:r>
                        <a:rPr lang="zh-CN" altLang="en-US" sz="1200" kern="1200" dirty="0" smtClean="0">
                          <a:solidFill>
                            <a:schemeClr val="tx1"/>
                          </a:solidFill>
                          <a:latin typeface="+mn-lt"/>
                          <a:ea typeface="+mn-ea"/>
                          <a:cs typeface="+mn-ea"/>
                          <a:sym typeface="+mn-lt"/>
                        </a:rPr>
                        <a:t>提供良好的完整性支持。</a:t>
                      </a:r>
                      <a:endParaRPr lang="zh-CN" altLang="en-US" sz="1200" kern="1200" dirty="0">
                        <a:solidFill>
                          <a:schemeClr val="tx1"/>
                        </a:solidFill>
                        <a:latin typeface="+mn-lt"/>
                        <a:ea typeface="+mn-ea"/>
                        <a:cs typeface="+mn-ea"/>
                        <a:sym typeface="+mn-lt"/>
                      </a:endParaRPr>
                    </a:p>
                  </a:txBody>
                  <a:tcPr anchor="ctr"/>
                </a:tc>
                <a:tc>
                  <a:txBody>
                    <a:bodyPr/>
                    <a:lstStyle/>
                    <a:p>
                      <a:pPr algn="l"/>
                      <a:r>
                        <a:rPr lang="en-US" altLang="zh-CN" sz="1200" dirty="0" smtClean="0">
                          <a:latin typeface="+mn-lt"/>
                          <a:ea typeface="+mn-ea"/>
                          <a:cs typeface="+mn-ea"/>
                          <a:sym typeface="+mn-lt"/>
                        </a:rPr>
                        <a:t>1.</a:t>
                      </a:r>
                      <a:r>
                        <a:rPr lang="zh-CN" altLang="en-US" sz="1200" dirty="0" smtClean="0">
                          <a:latin typeface="+mn-lt"/>
                          <a:ea typeface="+mn-ea"/>
                          <a:cs typeface="+mn-ea"/>
                          <a:sym typeface="+mn-lt"/>
                        </a:rPr>
                        <a:t>能够更为直接地描述现实世界，可以反映多对多关系；</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2.</a:t>
                      </a:r>
                      <a:r>
                        <a:rPr lang="zh-CN" altLang="en-US" sz="1200" dirty="0" smtClean="0">
                          <a:latin typeface="+mn-lt"/>
                          <a:ea typeface="+mn-ea"/>
                          <a:cs typeface="+mn-ea"/>
                          <a:sym typeface="+mn-lt"/>
                        </a:rPr>
                        <a:t>具有良好的性能，存取效率较高。</a:t>
                      </a:r>
                      <a:endParaRPr lang="zh-CN" altLang="en-US" sz="1200" dirty="0">
                        <a:latin typeface="+mn-lt"/>
                        <a:ea typeface="+mn-ea"/>
                        <a:cs typeface="+mn-ea"/>
                        <a:sym typeface="+mn-lt"/>
                      </a:endParaRPr>
                    </a:p>
                  </a:txBody>
                  <a:tcPr anchor="ctr"/>
                </a:tc>
                <a:tc>
                  <a:txBody>
                    <a:bodyPr/>
                    <a:lstStyle/>
                    <a:p>
                      <a:pPr algn="l"/>
                      <a:r>
                        <a:rPr lang="en-US" altLang="zh-CN" sz="1200" dirty="0" smtClean="0">
                          <a:latin typeface="+mn-lt"/>
                          <a:ea typeface="+mn-ea"/>
                          <a:cs typeface="+mn-ea"/>
                          <a:sym typeface="+mn-lt"/>
                        </a:rPr>
                        <a:t>1.</a:t>
                      </a:r>
                      <a:r>
                        <a:rPr lang="zh-CN" altLang="en-US" sz="1200" dirty="0" smtClean="0">
                          <a:latin typeface="+mn-lt"/>
                          <a:ea typeface="+mn-ea"/>
                          <a:cs typeface="+mn-ea"/>
                          <a:sym typeface="+mn-lt"/>
                        </a:rPr>
                        <a:t>建立在严格的数学理论基础上；</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2.</a:t>
                      </a:r>
                      <a:r>
                        <a:rPr lang="zh-CN" altLang="en-US" sz="1200" dirty="0" smtClean="0">
                          <a:latin typeface="+mn-lt"/>
                          <a:ea typeface="+mn-ea"/>
                          <a:cs typeface="+mn-ea"/>
                          <a:sym typeface="+mn-lt"/>
                        </a:rPr>
                        <a:t>概念单一，用关系来表示实体和实体之间的联系；</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3.</a:t>
                      </a:r>
                      <a:r>
                        <a:rPr lang="zh-CN" altLang="en-US" sz="1200" dirty="0" smtClean="0">
                          <a:latin typeface="+mn-lt"/>
                          <a:ea typeface="+mn-ea"/>
                          <a:cs typeface="+mn-ea"/>
                          <a:sym typeface="+mn-lt"/>
                        </a:rPr>
                        <a:t>存取路径对用户透明，具有更高的独立型和保密性；</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4.</a:t>
                      </a:r>
                      <a:r>
                        <a:rPr lang="zh-CN" altLang="en-US" sz="1200" baseline="0" dirty="0" smtClean="0">
                          <a:latin typeface="+mn-lt"/>
                          <a:ea typeface="+mn-ea"/>
                          <a:cs typeface="+mn-ea"/>
                          <a:sym typeface="+mn-lt"/>
                        </a:rPr>
                        <a:t>简化程序员的开发工作。</a:t>
                      </a:r>
                      <a:endParaRPr lang="zh-CN" altLang="en-US" sz="12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70840">
                <a:tc>
                  <a:txBody>
                    <a:bodyPr/>
                    <a:lstStyle/>
                    <a:p>
                      <a:pPr algn="ctr"/>
                      <a:r>
                        <a:rPr lang="zh-CN" altLang="en-US" sz="1400" b="1" dirty="0" smtClean="0">
                          <a:latin typeface="+mn-lt"/>
                          <a:ea typeface="+mn-ea"/>
                          <a:cs typeface="+mn-ea"/>
                          <a:sym typeface="+mn-lt"/>
                        </a:rPr>
                        <a:t>不足</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l"/>
                      <a:r>
                        <a:rPr lang="en-US" altLang="zh-CN" sz="1200" dirty="0" smtClean="0">
                          <a:latin typeface="+mn-lt"/>
                          <a:ea typeface="+mn-ea"/>
                          <a:cs typeface="+mn-ea"/>
                          <a:sym typeface="+mn-lt"/>
                        </a:rPr>
                        <a:t>1.</a:t>
                      </a:r>
                      <a:r>
                        <a:rPr lang="zh-CN" altLang="en-US" sz="1200" dirty="0" smtClean="0">
                          <a:latin typeface="+mn-lt"/>
                          <a:ea typeface="+mn-ea"/>
                          <a:cs typeface="+mn-ea"/>
                          <a:sym typeface="+mn-lt"/>
                        </a:rPr>
                        <a:t>现实世界很多非层次性联系，不适合用层次模型表示；</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2.</a:t>
                      </a:r>
                      <a:r>
                        <a:rPr lang="zh-CN" altLang="en-US" sz="1200" dirty="0" smtClean="0">
                          <a:latin typeface="+mn-lt"/>
                          <a:ea typeface="+mn-ea"/>
                          <a:cs typeface="+mn-ea"/>
                          <a:sym typeface="+mn-lt"/>
                        </a:rPr>
                        <a:t>表达多对多的时候产生很多数据冗余；</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3.</a:t>
                      </a:r>
                      <a:r>
                        <a:rPr lang="zh-CN" altLang="en-US" sz="1200" dirty="0" smtClean="0">
                          <a:latin typeface="+mn-lt"/>
                          <a:ea typeface="+mn-ea"/>
                          <a:cs typeface="+mn-ea"/>
                          <a:sym typeface="+mn-lt"/>
                        </a:rPr>
                        <a:t>结构严密，层次命令程序化。</a:t>
                      </a:r>
                      <a:endParaRPr lang="zh-CN" altLang="en-US" sz="1200" dirty="0">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l"/>
                      <a:r>
                        <a:rPr lang="en-US" altLang="zh-CN" sz="1200" dirty="0" smtClean="0">
                          <a:latin typeface="+mn-lt"/>
                          <a:ea typeface="+mn-ea"/>
                          <a:cs typeface="+mn-ea"/>
                          <a:sym typeface="+mn-lt"/>
                        </a:rPr>
                        <a:t>1.</a:t>
                      </a:r>
                      <a:r>
                        <a:rPr lang="zh-CN" altLang="en-US" sz="1200" dirty="0" smtClean="0">
                          <a:latin typeface="+mn-lt"/>
                          <a:ea typeface="+mn-ea"/>
                          <a:cs typeface="+mn-ea"/>
                          <a:sym typeface="+mn-lt"/>
                        </a:rPr>
                        <a:t>结构复杂，随着应用扩大，结构会变得极为复杂；</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2.</a:t>
                      </a:r>
                      <a:r>
                        <a:rPr lang="zh-CN" altLang="en-US" sz="1200" dirty="0" smtClean="0">
                          <a:latin typeface="+mn-lt"/>
                          <a:ea typeface="+mn-ea"/>
                          <a:cs typeface="+mn-ea"/>
                          <a:sym typeface="+mn-lt"/>
                        </a:rPr>
                        <a:t>对象定义和操作语言复杂，需要嵌入高级语言</a:t>
                      </a:r>
                      <a:r>
                        <a:rPr lang="en-US" altLang="zh-CN" sz="1200" dirty="0" smtClean="0">
                          <a:latin typeface="+mn-lt"/>
                          <a:ea typeface="+mn-ea"/>
                          <a:cs typeface="+mn-ea"/>
                          <a:sym typeface="+mn-lt"/>
                        </a:rPr>
                        <a:t>(COBOL,C)</a:t>
                      </a:r>
                      <a:r>
                        <a:rPr lang="zh-CN" altLang="en-US" sz="1200" dirty="0" smtClean="0">
                          <a:latin typeface="+mn-lt"/>
                          <a:ea typeface="+mn-ea"/>
                          <a:cs typeface="+mn-ea"/>
                          <a:sym typeface="+mn-lt"/>
                        </a:rPr>
                        <a:t>，用户不易掌握，不易使用；</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3.</a:t>
                      </a:r>
                      <a:r>
                        <a:rPr lang="zh-CN" altLang="en-US" sz="1200" dirty="0" smtClean="0">
                          <a:latin typeface="+mn-lt"/>
                          <a:ea typeface="+mn-ea"/>
                          <a:cs typeface="+mn-ea"/>
                          <a:sym typeface="+mn-lt"/>
                        </a:rPr>
                        <a:t>存在多种路径，用户必须了解系统结构细节，增加编写代码负担。</a:t>
                      </a:r>
                      <a:endParaRPr lang="zh-CN" altLang="en-US" sz="1200" dirty="0">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l"/>
                      <a:r>
                        <a:rPr lang="en-US" altLang="zh-CN" sz="1200" dirty="0" smtClean="0">
                          <a:latin typeface="+mn-lt"/>
                          <a:ea typeface="+mn-ea"/>
                          <a:cs typeface="+mn-ea"/>
                          <a:sym typeface="+mn-lt"/>
                        </a:rPr>
                        <a:t>1.</a:t>
                      </a:r>
                      <a:r>
                        <a:rPr lang="zh-CN" altLang="en-US" sz="1200" dirty="0" smtClean="0">
                          <a:latin typeface="+mn-lt"/>
                          <a:ea typeface="+mn-ea"/>
                          <a:cs typeface="+mn-ea"/>
                          <a:sym typeface="+mn-lt"/>
                        </a:rPr>
                        <a:t>存取路径的隐蔽导致查询效率不如格式化数据模型；</a:t>
                      </a:r>
                      <a:endParaRPr lang="en-US" altLang="zh-CN" sz="1200" dirty="0" smtClean="0">
                        <a:latin typeface="+mn-lt"/>
                        <a:ea typeface="+mn-ea"/>
                        <a:cs typeface="+mn-ea"/>
                        <a:sym typeface="+mn-lt"/>
                      </a:endParaRPr>
                    </a:p>
                    <a:p>
                      <a:pPr algn="l"/>
                      <a:r>
                        <a:rPr lang="en-US" altLang="zh-CN" sz="1200" dirty="0" smtClean="0">
                          <a:latin typeface="+mn-lt"/>
                          <a:ea typeface="+mn-ea"/>
                          <a:cs typeface="+mn-ea"/>
                          <a:sym typeface="+mn-lt"/>
                        </a:rPr>
                        <a:t>2.</a:t>
                      </a:r>
                      <a:r>
                        <a:rPr lang="zh-CN" altLang="en-US" sz="1200" dirty="0" smtClean="0">
                          <a:latin typeface="+mn-lt"/>
                          <a:ea typeface="+mn-ea"/>
                          <a:cs typeface="+mn-ea"/>
                          <a:sym typeface="+mn-lt"/>
                        </a:rPr>
                        <a:t>需要对用户的查询进行优化。</a:t>
                      </a:r>
                      <a:endParaRPr lang="zh-CN" altLang="en-US" sz="12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关系型数据库产品历史回顾</a:t>
            </a:r>
            <a:endParaRPr lang="zh-CN" altLang="en-US" dirty="0">
              <a:latin typeface="+mn-lt"/>
              <a:ea typeface="+mn-ea"/>
              <a:cs typeface="+mn-ea"/>
              <a:sym typeface="+mn-lt"/>
            </a:endParaRPr>
          </a:p>
        </p:txBody>
      </p:sp>
      <p:sp>
        <p:nvSpPr>
          <p:cNvPr id="227" name="标题 1"/>
          <p:cNvSpPr txBox="1"/>
          <p:nvPr/>
        </p:nvSpPr>
        <p:spPr>
          <a:xfrm>
            <a:off x="15843052" y="7868461"/>
            <a:ext cx="672472" cy="25220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smtClean="0">
                <a:solidFill>
                  <a:prstClr val="black"/>
                </a:solidFill>
                <a:latin typeface="+mn-lt"/>
                <a:ea typeface="+mn-ea"/>
                <a:cs typeface="+mn-ea"/>
                <a:sym typeface="+mn-lt"/>
              </a:rPr>
              <a:t>2019</a:t>
            </a:r>
            <a:endParaRPr lang="zh-CN" altLang="en-US" sz="1200" dirty="0">
              <a:solidFill>
                <a:prstClr val="black"/>
              </a:solidFill>
              <a:latin typeface="+mn-lt"/>
              <a:ea typeface="+mn-ea"/>
              <a:cs typeface="+mn-ea"/>
              <a:sym typeface="+mn-lt"/>
            </a:endParaRPr>
          </a:p>
        </p:txBody>
      </p:sp>
      <p:grpSp>
        <p:nvGrpSpPr>
          <p:cNvPr id="5" name="组合 4"/>
          <p:cNvGrpSpPr/>
          <p:nvPr/>
        </p:nvGrpSpPr>
        <p:grpSpPr>
          <a:xfrm>
            <a:off x="828670" y="1487134"/>
            <a:ext cx="10208297" cy="4618565"/>
            <a:chOff x="828670" y="1487134"/>
            <a:chExt cx="10208297" cy="4618565"/>
          </a:xfrm>
        </p:grpSpPr>
        <p:grpSp>
          <p:nvGrpSpPr>
            <p:cNvPr id="12" name="组合 11"/>
            <p:cNvGrpSpPr/>
            <p:nvPr/>
          </p:nvGrpSpPr>
          <p:grpSpPr>
            <a:xfrm>
              <a:off x="828670" y="1487134"/>
              <a:ext cx="10208297" cy="4618565"/>
              <a:chOff x="828670" y="1487134"/>
              <a:chExt cx="10208297" cy="4618565"/>
            </a:xfrm>
          </p:grpSpPr>
          <p:grpSp>
            <p:nvGrpSpPr>
              <p:cNvPr id="11" name="组合 10"/>
              <p:cNvGrpSpPr/>
              <p:nvPr/>
            </p:nvGrpSpPr>
            <p:grpSpPr>
              <a:xfrm>
                <a:off x="828670" y="1487134"/>
                <a:ext cx="10208297" cy="4618565"/>
                <a:chOff x="828670" y="1487134"/>
                <a:chExt cx="10208297" cy="4618565"/>
              </a:xfrm>
            </p:grpSpPr>
            <p:grpSp>
              <p:nvGrpSpPr>
                <p:cNvPr id="53" name="组合 52"/>
                <p:cNvGrpSpPr/>
                <p:nvPr/>
              </p:nvGrpSpPr>
              <p:grpSpPr>
                <a:xfrm>
                  <a:off x="828670" y="1498464"/>
                  <a:ext cx="10208297" cy="4604338"/>
                  <a:chOff x="179512" y="762904"/>
                  <a:chExt cx="10931009" cy="5258384"/>
                </a:xfrm>
              </p:grpSpPr>
              <p:cxnSp>
                <p:nvCxnSpPr>
                  <p:cNvPr id="55" name="直接箭头连接符 54"/>
                  <p:cNvCxnSpPr/>
                  <p:nvPr/>
                </p:nvCxnSpPr>
                <p:spPr>
                  <a:xfrm>
                    <a:off x="179512" y="6021288"/>
                    <a:ext cx="10931009" cy="0"/>
                  </a:xfrm>
                  <a:prstGeom prst="straightConnector1">
                    <a:avLst/>
                  </a:prstGeom>
                  <a:noFill/>
                  <a:ln w="28575" cap="flat" cmpd="sng" algn="ctr">
                    <a:solidFill>
                      <a:sysClr val="windowText" lastClr="000000"/>
                    </a:solidFill>
                    <a:prstDash val="solid"/>
                    <a:headEnd type="none" w="med" len="med"/>
                    <a:tailEnd type="triangle" w="med" len="med"/>
                  </a:ln>
                  <a:effectLst/>
                </p:spPr>
              </p:cxnSp>
              <p:sp>
                <p:nvSpPr>
                  <p:cNvPr id="56" name="标题 1"/>
                  <p:cNvSpPr txBox="1"/>
                  <p:nvPr/>
                </p:nvSpPr>
                <p:spPr>
                  <a:xfrm>
                    <a:off x="179512" y="5733255"/>
                    <a:ext cx="720080" cy="28803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defRPr/>
                    </a:pPr>
                    <a:r>
                      <a:rPr lang="en-US" altLang="zh-CN" sz="1200" dirty="0">
                        <a:solidFill>
                          <a:sysClr val="windowText" lastClr="000000"/>
                        </a:solidFill>
                        <a:latin typeface="+mn-lt"/>
                        <a:ea typeface="+mn-ea"/>
                        <a:cs typeface="+mn-ea"/>
                        <a:sym typeface="+mn-lt"/>
                      </a:rPr>
                      <a:t>1970</a:t>
                    </a:r>
                    <a:endParaRPr lang="zh-CN" altLang="en-US" sz="1200" dirty="0">
                      <a:solidFill>
                        <a:sysClr val="windowText" lastClr="000000"/>
                      </a:solidFill>
                      <a:latin typeface="+mn-lt"/>
                      <a:ea typeface="+mn-ea"/>
                      <a:cs typeface="+mn-ea"/>
                      <a:sym typeface="+mn-lt"/>
                    </a:endParaRPr>
                  </a:p>
                </p:txBody>
              </p:sp>
              <p:sp>
                <p:nvSpPr>
                  <p:cNvPr id="57" name="标题 1"/>
                  <p:cNvSpPr txBox="1"/>
                  <p:nvPr/>
                </p:nvSpPr>
                <p:spPr>
                  <a:xfrm>
                    <a:off x="6300192" y="5733255"/>
                    <a:ext cx="720080" cy="28803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a:solidFill>
                          <a:prstClr val="black"/>
                        </a:solidFill>
                        <a:latin typeface="+mn-lt"/>
                        <a:ea typeface="+mn-ea"/>
                        <a:cs typeface="+mn-ea"/>
                        <a:sym typeface="+mn-lt"/>
                      </a:rPr>
                      <a:t>2010</a:t>
                    </a:r>
                    <a:endParaRPr lang="zh-CN" altLang="en-US" sz="1200" dirty="0">
                      <a:solidFill>
                        <a:prstClr val="black"/>
                      </a:solidFill>
                      <a:latin typeface="+mn-lt"/>
                      <a:ea typeface="+mn-ea"/>
                      <a:cs typeface="+mn-ea"/>
                      <a:sym typeface="+mn-lt"/>
                    </a:endParaRPr>
                  </a:p>
                </p:txBody>
              </p:sp>
              <p:sp>
                <p:nvSpPr>
                  <p:cNvPr id="58" name="标题 1"/>
                  <p:cNvSpPr txBox="1"/>
                  <p:nvPr/>
                </p:nvSpPr>
                <p:spPr>
                  <a:xfrm>
                    <a:off x="4644008" y="5733255"/>
                    <a:ext cx="720080" cy="28803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a:solidFill>
                          <a:prstClr val="black"/>
                        </a:solidFill>
                        <a:latin typeface="+mn-lt"/>
                        <a:ea typeface="+mn-ea"/>
                        <a:cs typeface="+mn-ea"/>
                        <a:sym typeface="+mn-lt"/>
                      </a:rPr>
                      <a:t>2000</a:t>
                    </a:r>
                    <a:endParaRPr lang="zh-CN" altLang="en-US" sz="1200" dirty="0">
                      <a:solidFill>
                        <a:prstClr val="black"/>
                      </a:solidFill>
                      <a:latin typeface="+mn-lt"/>
                      <a:ea typeface="+mn-ea"/>
                      <a:cs typeface="+mn-ea"/>
                      <a:sym typeface="+mn-lt"/>
                    </a:endParaRPr>
                  </a:p>
                </p:txBody>
              </p:sp>
              <p:sp>
                <p:nvSpPr>
                  <p:cNvPr id="59" name="标题 1"/>
                  <p:cNvSpPr txBox="1"/>
                  <p:nvPr/>
                </p:nvSpPr>
                <p:spPr>
                  <a:xfrm>
                    <a:off x="1691680" y="5733254"/>
                    <a:ext cx="720080" cy="28803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a:solidFill>
                          <a:prstClr val="black"/>
                        </a:solidFill>
                        <a:latin typeface="+mn-lt"/>
                        <a:ea typeface="+mn-ea"/>
                        <a:cs typeface="+mn-ea"/>
                        <a:sym typeface="+mn-lt"/>
                      </a:rPr>
                      <a:t>1980</a:t>
                    </a:r>
                    <a:endParaRPr lang="zh-CN" altLang="en-US" sz="1200" dirty="0">
                      <a:solidFill>
                        <a:prstClr val="black"/>
                      </a:solidFill>
                      <a:latin typeface="+mn-lt"/>
                      <a:ea typeface="+mn-ea"/>
                      <a:cs typeface="+mn-ea"/>
                      <a:sym typeface="+mn-lt"/>
                    </a:endParaRPr>
                  </a:p>
                </p:txBody>
              </p:sp>
              <p:sp>
                <p:nvSpPr>
                  <p:cNvPr id="61" name="TextBox 21"/>
                  <p:cNvSpPr txBox="1"/>
                  <p:nvPr/>
                </p:nvSpPr>
                <p:spPr>
                  <a:xfrm>
                    <a:off x="630250" y="2374172"/>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74</a:t>
                    </a:r>
                    <a:endParaRPr lang="zh-CN" altLang="en-US" sz="1400" b="1" dirty="0">
                      <a:solidFill>
                        <a:prstClr val="white"/>
                      </a:solidFill>
                      <a:cs typeface="+mn-ea"/>
                      <a:sym typeface="+mn-lt"/>
                    </a:endParaRPr>
                  </a:p>
                </p:txBody>
              </p:sp>
              <p:sp>
                <p:nvSpPr>
                  <p:cNvPr id="62" name="TextBox 23"/>
                  <p:cNvSpPr txBox="1"/>
                  <p:nvPr/>
                </p:nvSpPr>
                <p:spPr>
                  <a:xfrm>
                    <a:off x="1949909" y="1387746"/>
                    <a:ext cx="651446" cy="527244"/>
                  </a:xfrm>
                  <a:prstGeom prst="rect">
                    <a:avLst/>
                  </a:prstGeom>
                  <a:noFill/>
                </p:spPr>
                <p:txBody>
                  <a:bodyPr wrap="square" rtlCol="0">
                    <a:spAutoFit/>
                  </a:bodyPr>
                  <a:lstStyle>
                    <a:defPPr>
                      <a:defRPr lang="zh-CN"/>
                    </a:defPPr>
                    <a:lvl1pPr algn="ctr" fontAlgn="auto">
                      <a:spcBef>
                        <a:spcPts val="0"/>
                      </a:spcBef>
                      <a:spcAft>
                        <a:spcPts val="0"/>
                      </a:spcAft>
                      <a:defRPr sz="1200">
                        <a:solidFill>
                          <a:prstClr val="black"/>
                        </a:solidFill>
                        <a:latin typeface="微软雅黑" panose="020B0503020204020204" pitchFamily="34" charset="-122"/>
                        <a:ea typeface="微软雅黑" panose="020B0503020204020204" pitchFamily="34" charset="-122"/>
                        <a:cs typeface="Microsoft Sans Serif" panose="020B0604020202020204" pitchFamily="34" charset="0"/>
                      </a:defRPr>
                    </a:lvl1pPr>
                  </a:lstStyle>
                  <a:p>
                    <a:r>
                      <a:rPr lang="zh-CN" altLang="en-US" dirty="0">
                        <a:latin typeface="+mn-lt"/>
                        <a:ea typeface="+mn-ea"/>
                        <a:cs typeface="+mn-ea"/>
                        <a:sym typeface="+mn-lt"/>
                      </a:rPr>
                      <a:t>商用</a:t>
                    </a:r>
                    <a:r>
                      <a:rPr lang="en-US" altLang="zh-CN" dirty="0">
                        <a:latin typeface="+mn-lt"/>
                        <a:ea typeface="+mn-ea"/>
                        <a:cs typeface="+mn-ea"/>
                        <a:sym typeface="+mn-lt"/>
                      </a:rPr>
                      <a:t>Ingres</a:t>
                    </a:r>
                    <a:endParaRPr lang="zh-CN" altLang="en-US" dirty="0">
                      <a:latin typeface="+mn-lt"/>
                      <a:ea typeface="+mn-ea"/>
                      <a:cs typeface="+mn-ea"/>
                      <a:sym typeface="+mn-lt"/>
                    </a:endParaRPr>
                  </a:p>
                </p:txBody>
              </p:sp>
              <p:sp>
                <p:nvSpPr>
                  <p:cNvPr id="63" name="TextBox 24"/>
                  <p:cNvSpPr txBox="1"/>
                  <p:nvPr/>
                </p:nvSpPr>
                <p:spPr>
                  <a:xfrm>
                    <a:off x="1979713" y="1858405"/>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82</a:t>
                    </a:r>
                    <a:endParaRPr lang="zh-CN" altLang="en-US" sz="1400" b="1" dirty="0">
                      <a:solidFill>
                        <a:prstClr val="white"/>
                      </a:solidFill>
                      <a:cs typeface="+mn-ea"/>
                      <a:sym typeface="+mn-lt"/>
                    </a:endParaRPr>
                  </a:p>
                </p:txBody>
              </p:sp>
              <p:pic>
                <p:nvPicPr>
                  <p:cNvPr id="64" name="Picture 5" descr="C:\Users\Administrator\Desktop\102_120406123238_1.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131840" y="1191004"/>
                    <a:ext cx="814701" cy="80589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C:\Users\Administrator\Desktop\微信截图_2016103018551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16016" y="762904"/>
                    <a:ext cx="942576" cy="31189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 descr="C:\Users\Administrator\Desktop\2014101309503997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56404" y="3283823"/>
                    <a:ext cx="709566" cy="709566"/>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29"/>
                  <p:cNvSpPr txBox="1"/>
                  <p:nvPr/>
                </p:nvSpPr>
                <p:spPr>
                  <a:xfrm>
                    <a:off x="2386880" y="3739427"/>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smtClean="0">
                        <a:solidFill>
                          <a:prstClr val="white"/>
                        </a:solidFill>
                        <a:cs typeface="+mn-ea"/>
                        <a:sym typeface="+mn-lt"/>
                      </a:rPr>
                      <a:t>1984</a:t>
                    </a:r>
                    <a:endParaRPr lang="zh-CN" altLang="en-US" sz="1400" b="1" dirty="0">
                      <a:solidFill>
                        <a:prstClr val="white"/>
                      </a:solidFill>
                      <a:cs typeface="+mn-ea"/>
                      <a:sym typeface="+mn-lt"/>
                    </a:endParaRPr>
                  </a:p>
                </p:txBody>
              </p:sp>
              <p:pic>
                <p:nvPicPr>
                  <p:cNvPr id="68" name="Picture 4" descr="C:\Users\Administrator\Desktop\Oracle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1600" y="4186133"/>
                    <a:ext cx="1002060" cy="334020"/>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30"/>
                  <p:cNvSpPr txBox="1"/>
                  <p:nvPr/>
                </p:nvSpPr>
                <p:spPr>
                  <a:xfrm>
                    <a:off x="1132719" y="4509119"/>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79</a:t>
                    </a:r>
                    <a:endParaRPr lang="zh-CN" altLang="en-US" sz="1400" b="1" dirty="0">
                      <a:solidFill>
                        <a:prstClr val="white"/>
                      </a:solidFill>
                      <a:cs typeface="+mn-ea"/>
                      <a:sym typeface="+mn-lt"/>
                    </a:endParaRPr>
                  </a:p>
                </p:txBody>
              </p:sp>
              <p:sp>
                <p:nvSpPr>
                  <p:cNvPr id="70" name="TextBox 31"/>
                  <p:cNvSpPr txBox="1"/>
                  <p:nvPr/>
                </p:nvSpPr>
                <p:spPr>
                  <a:xfrm>
                    <a:off x="3162081" y="1996904"/>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89</a:t>
                    </a:r>
                    <a:endParaRPr lang="zh-CN" altLang="en-US" sz="1400" b="1" dirty="0">
                      <a:solidFill>
                        <a:prstClr val="white"/>
                      </a:solidFill>
                      <a:cs typeface="+mn-ea"/>
                      <a:sym typeface="+mn-lt"/>
                    </a:endParaRPr>
                  </a:p>
                </p:txBody>
              </p:sp>
              <p:sp>
                <p:nvSpPr>
                  <p:cNvPr id="71" name="TextBox 32"/>
                  <p:cNvSpPr txBox="1"/>
                  <p:nvPr/>
                </p:nvSpPr>
                <p:spPr>
                  <a:xfrm>
                    <a:off x="5004048" y="1063769"/>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03</a:t>
                    </a:r>
                    <a:endParaRPr lang="zh-CN" altLang="en-US" sz="1400" b="1" dirty="0">
                      <a:solidFill>
                        <a:prstClr val="white"/>
                      </a:solidFill>
                      <a:cs typeface="+mn-ea"/>
                      <a:sym typeface="+mn-lt"/>
                    </a:endParaRPr>
                  </a:p>
                </p:txBody>
              </p:sp>
              <p:sp>
                <p:nvSpPr>
                  <p:cNvPr id="73" name="TextBox 34"/>
                  <p:cNvSpPr txBox="1"/>
                  <p:nvPr/>
                </p:nvSpPr>
                <p:spPr>
                  <a:xfrm>
                    <a:off x="2195737" y="5096217"/>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83</a:t>
                    </a:r>
                    <a:endParaRPr lang="zh-CN" altLang="en-US" sz="1400" b="1" dirty="0">
                      <a:solidFill>
                        <a:prstClr val="white"/>
                      </a:solidFill>
                      <a:cs typeface="+mn-ea"/>
                      <a:sym typeface="+mn-lt"/>
                    </a:endParaRPr>
                  </a:p>
                </p:txBody>
              </p:sp>
              <p:sp>
                <p:nvSpPr>
                  <p:cNvPr id="75" name="TextBox 38"/>
                  <p:cNvSpPr txBox="1"/>
                  <p:nvPr/>
                </p:nvSpPr>
                <p:spPr>
                  <a:xfrm>
                    <a:off x="2347454" y="2586970"/>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84</a:t>
                    </a:r>
                    <a:endParaRPr lang="zh-CN" altLang="en-US" sz="1400" b="1" dirty="0">
                      <a:solidFill>
                        <a:prstClr val="white"/>
                      </a:solidFill>
                      <a:cs typeface="+mn-ea"/>
                      <a:sym typeface="+mn-lt"/>
                    </a:endParaRPr>
                  </a:p>
                </p:txBody>
              </p:sp>
              <p:sp>
                <p:nvSpPr>
                  <p:cNvPr id="77" name="TextBox 40"/>
                  <p:cNvSpPr txBox="1"/>
                  <p:nvPr/>
                </p:nvSpPr>
                <p:spPr>
                  <a:xfrm>
                    <a:off x="3520679" y="3125383"/>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90</a:t>
                    </a:r>
                    <a:endParaRPr lang="zh-CN" altLang="en-US" sz="1400" b="1" dirty="0">
                      <a:solidFill>
                        <a:prstClr val="white"/>
                      </a:solidFill>
                      <a:cs typeface="+mn-ea"/>
                      <a:sym typeface="+mn-lt"/>
                    </a:endParaRPr>
                  </a:p>
                </p:txBody>
              </p:sp>
              <p:sp>
                <p:nvSpPr>
                  <p:cNvPr id="79" name="TextBox 43"/>
                  <p:cNvSpPr txBox="1"/>
                  <p:nvPr/>
                </p:nvSpPr>
                <p:spPr>
                  <a:xfrm>
                    <a:off x="4355976" y="3656059"/>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1999</a:t>
                    </a:r>
                    <a:endParaRPr lang="zh-CN" altLang="en-US" sz="1400" b="1" dirty="0">
                      <a:solidFill>
                        <a:prstClr val="white"/>
                      </a:solidFill>
                      <a:cs typeface="+mn-ea"/>
                      <a:sym typeface="+mn-lt"/>
                    </a:endParaRPr>
                  </a:p>
                </p:txBody>
              </p:sp>
              <p:sp>
                <p:nvSpPr>
                  <p:cNvPr id="80" name="TextBox 45"/>
                  <p:cNvSpPr txBox="1"/>
                  <p:nvPr/>
                </p:nvSpPr>
                <p:spPr>
                  <a:xfrm>
                    <a:off x="5459251" y="5411362"/>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05</a:t>
                    </a:r>
                    <a:endParaRPr lang="zh-CN" altLang="en-US" sz="1400" b="1" dirty="0">
                      <a:solidFill>
                        <a:prstClr val="white"/>
                      </a:solidFill>
                      <a:cs typeface="+mn-ea"/>
                      <a:sym typeface="+mn-lt"/>
                    </a:endParaRPr>
                  </a:p>
                </p:txBody>
              </p:sp>
              <p:pic>
                <p:nvPicPr>
                  <p:cNvPr id="81" name="Picture 7" descr="C:\Users\Administrator\Desktop\微信截图_20161030211428.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68282" y="5128659"/>
                    <a:ext cx="787894" cy="316565"/>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47"/>
                  <p:cNvSpPr txBox="1"/>
                  <p:nvPr/>
                </p:nvSpPr>
                <p:spPr>
                  <a:xfrm>
                    <a:off x="4644008" y="1988839"/>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00</a:t>
                    </a:r>
                    <a:endParaRPr lang="zh-CN" altLang="en-US" sz="1400" b="1" dirty="0">
                      <a:solidFill>
                        <a:prstClr val="white"/>
                      </a:solidFill>
                      <a:cs typeface="+mn-ea"/>
                      <a:sym typeface="+mn-lt"/>
                    </a:endParaRPr>
                  </a:p>
                </p:txBody>
              </p:sp>
              <p:sp>
                <p:nvSpPr>
                  <p:cNvPr id="83" name="TextBox 51"/>
                  <p:cNvSpPr txBox="1"/>
                  <p:nvPr/>
                </p:nvSpPr>
                <p:spPr>
                  <a:xfrm>
                    <a:off x="7067778" y="2805172"/>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12</a:t>
                    </a:r>
                    <a:endParaRPr lang="zh-CN" altLang="en-US" sz="1400" b="1" dirty="0">
                      <a:solidFill>
                        <a:prstClr val="white"/>
                      </a:solidFill>
                      <a:cs typeface="+mn-ea"/>
                      <a:sym typeface="+mn-lt"/>
                    </a:endParaRPr>
                  </a:p>
                </p:txBody>
              </p:sp>
              <p:sp>
                <p:nvSpPr>
                  <p:cNvPr id="84" name="TextBox 52"/>
                  <p:cNvSpPr txBox="1"/>
                  <p:nvPr/>
                </p:nvSpPr>
                <p:spPr>
                  <a:xfrm>
                    <a:off x="5992261" y="4481805"/>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09</a:t>
                    </a:r>
                    <a:endParaRPr lang="zh-CN" altLang="en-US" sz="1400" b="1" dirty="0">
                      <a:solidFill>
                        <a:prstClr val="white"/>
                      </a:solidFill>
                      <a:cs typeface="+mn-ea"/>
                      <a:sym typeface="+mn-lt"/>
                    </a:endParaRPr>
                  </a:p>
                </p:txBody>
              </p:sp>
              <p:sp>
                <p:nvSpPr>
                  <p:cNvPr id="85" name="矩形 84"/>
                  <p:cNvSpPr/>
                  <p:nvPr/>
                </p:nvSpPr>
                <p:spPr>
                  <a:xfrm>
                    <a:off x="6661548" y="2488825"/>
                    <a:ext cx="1519393" cy="316347"/>
                  </a:xfrm>
                  <a:prstGeom prst="rect">
                    <a:avLst/>
                  </a:prstGeom>
                </p:spPr>
                <p:txBody>
                  <a:bodyPr wrap="square">
                    <a:spAutoFit/>
                  </a:bodyPr>
                  <a:lstStyle/>
                  <a:p>
                    <a:pPr fontAlgn="auto">
                      <a:spcBef>
                        <a:spcPts val="0"/>
                      </a:spcBef>
                      <a:spcAft>
                        <a:spcPts val="0"/>
                      </a:spcAft>
                    </a:pPr>
                    <a:r>
                      <a:rPr lang="en-US" altLang="zh-CN" sz="1200" b="1" dirty="0">
                        <a:solidFill>
                          <a:srgbClr val="EAB200"/>
                        </a:solidFill>
                        <a:cs typeface="+mn-ea"/>
                        <a:sym typeface="+mn-lt"/>
                      </a:rPr>
                      <a:t>Amazon Redshift</a:t>
                    </a:r>
                    <a:endParaRPr lang="zh-CN" altLang="en-US" sz="1200" b="1" dirty="0">
                      <a:solidFill>
                        <a:srgbClr val="EAB200"/>
                      </a:solidFill>
                      <a:cs typeface="+mn-ea"/>
                      <a:sym typeface="+mn-lt"/>
                    </a:endParaRPr>
                  </a:p>
                </p:txBody>
              </p:sp>
              <p:pic>
                <p:nvPicPr>
                  <p:cNvPr id="86" name="Picture 8" descr="C:\Users\Administrator\Desktop\88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08303" y="762904"/>
                    <a:ext cx="779553" cy="390541"/>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42550" y="3302010"/>
                    <a:ext cx="743662" cy="426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1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19677" y="4136306"/>
                    <a:ext cx="793240" cy="34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13" descr="C:\Users\Administrator\Desktop\1649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22318" y="4941168"/>
                    <a:ext cx="576063" cy="576063"/>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99992" y="1772817"/>
                    <a:ext cx="924958" cy="175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 name="Picture 1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93300" y="2444911"/>
                    <a:ext cx="1034884" cy="392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3" name="TextBox 50"/>
                  <p:cNvSpPr txBox="1"/>
                  <p:nvPr/>
                </p:nvSpPr>
                <p:spPr>
                  <a:xfrm>
                    <a:off x="5398055" y="2848196"/>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05</a:t>
                    </a:r>
                    <a:endParaRPr lang="zh-CN" altLang="en-US" sz="1400" b="1" dirty="0">
                      <a:solidFill>
                        <a:prstClr val="white"/>
                      </a:solidFill>
                      <a:cs typeface="+mn-ea"/>
                      <a:sym typeface="+mn-lt"/>
                    </a:endParaRPr>
                  </a:p>
                </p:txBody>
              </p:sp>
              <p:sp>
                <p:nvSpPr>
                  <p:cNvPr id="94" name="标题 1"/>
                  <p:cNvSpPr txBox="1"/>
                  <p:nvPr/>
                </p:nvSpPr>
                <p:spPr>
                  <a:xfrm>
                    <a:off x="3203848" y="5733254"/>
                    <a:ext cx="720080" cy="28803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a:solidFill>
                          <a:prstClr val="black"/>
                        </a:solidFill>
                        <a:latin typeface="+mn-lt"/>
                        <a:ea typeface="+mn-ea"/>
                        <a:cs typeface="+mn-ea"/>
                        <a:sym typeface="+mn-lt"/>
                      </a:rPr>
                      <a:t>1990</a:t>
                    </a:r>
                    <a:endParaRPr lang="zh-CN" altLang="en-US" sz="1200" dirty="0">
                      <a:solidFill>
                        <a:prstClr val="black"/>
                      </a:solidFill>
                      <a:latin typeface="+mn-lt"/>
                      <a:ea typeface="+mn-ea"/>
                      <a:cs typeface="+mn-ea"/>
                      <a:sym typeface="+mn-lt"/>
                    </a:endParaRPr>
                  </a:p>
                </p:txBody>
              </p:sp>
              <p:sp>
                <p:nvSpPr>
                  <p:cNvPr id="95" name="TextBox 45"/>
                  <p:cNvSpPr txBox="1"/>
                  <p:nvPr/>
                </p:nvSpPr>
                <p:spPr>
                  <a:xfrm>
                    <a:off x="6804248" y="5419488"/>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11</a:t>
                    </a:r>
                    <a:endParaRPr lang="zh-CN" altLang="en-US" sz="1400" b="1" dirty="0">
                      <a:solidFill>
                        <a:prstClr val="white"/>
                      </a:solidFill>
                      <a:cs typeface="+mn-ea"/>
                      <a:sym typeface="+mn-lt"/>
                    </a:endParaRPr>
                  </a:p>
                </p:txBody>
              </p:sp>
              <p:sp>
                <p:nvSpPr>
                  <p:cNvPr id="96" name="TextBox 32"/>
                  <p:cNvSpPr txBox="1"/>
                  <p:nvPr/>
                </p:nvSpPr>
                <p:spPr>
                  <a:xfrm>
                    <a:off x="7374045" y="1061268"/>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13</a:t>
                    </a:r>
                    <a:endParaRPr lang="zh-CN" altLang="en-US" sz="1400" b="1" dirty="0">
                      <a:solidFill>
                        <a:prstClr val="white"/>
                      </a:solidFill>
                      <a:cs typeface="+mn-ea"/>
                      <a:sym typeface="+mn-lt"/>
                    </a:endParaRPr>
                  </a:p>
                </p:txBody>
              </p:sp>
              <p:sp>
                <p:nvSpPr>
                  <p:cNvPr id="97" name="TextBox 47"/>
                  <p:cNvSpPr txBox="1"/>
                  <p:nvPr/>
                </p:nvSpPr>
                <p:spPr>
                  <a:xfrm>
                    <a:off x="4069054" y="4490957"/>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smtClean="0">
                        <a:solidFill>
                          <a:prstClr val="white"/>
                        </a:solidFill>
                        <a:cs typeface="+mn-ea"/>
                        <a:sym typeface="+mn-lt"/>
                      </a:rPr>
                      <a:t>1996</a:t>
                    </a:r>
                    <a:endParaRPr lang="zh-CN" altLang="en-US" sz="1400" b="1" dirty="0">
                      <a:solidFill>
                        <a:prstClr val="white"/>
                      </a:solidFill>
                      <a:cs typeface="+mn-ea"/>
                      <a:sym typeface="+mn-lt"/>
                    </a:endParaRPr>
                  </a:p>
                </p:txBody>
              </p:sp>
              <p:sp>
                <p:nvSpPr>
                  <p:cNvPr id="98" name="TextBox 52"/>
                  <p:cNvSpPr txBox="1"/>
                  <p:nvPr/>
                </p:nvSpPr>
                <p:spPr>
                  <a:xfrm>
                    <a:off x="8087857" y="3656058"/>
                    <a:ext cx="648072" cy="35149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a:solidFill>
                          <a:prstClr val="white"/>
                        </a:solidFill>
                        <a:cs typeface="+mn-ea"/>
                        <a:sym typeface="+mn-lt"/>
                      </a:rPr>
                      <a:t>2015</a:t>
                    </a:r>
                    <a:endParaRPr lang="zh-CN" altLang="en-US" sz="1400" b="1" dirty="0">
                      <a:solidFill>
                        <a:prstClr val="white"/>
                      </a:solidFill>
                      <a:cs typeface="+mn-ea"/>
                      <a:sym typeface="+mn-lt"/>
                    </a:endParaRPr>
                  </a:p>
                </p:txBody>
              </p:sp>
            </p:grpSp>
            <p:sp>
              <p:nvSpPr>
                <p:cNvPr id="54" name="标题 1"/>
                <p:cNvSpPr txBox="1"/>
                <p:nvPr/>
              </p:nvSpPr>
              <p:spPr>
                <a:xfrm>
                  <a:off x="8180524" y="5848160"/>
                  <a:ext cx="672472" cy="25220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a:solidFill>
                        <a:prstClr val="black"/>
                      </a:solidFill>
                      <a:latin typeface="+mn-lt"/>
                      <a:ea typeface="+mn-ea"/>
                      <a:cs typeface="+mn-ea"/>
                      <a:sym typeface="+mn-lt"/>
                    </a:rPr>
                    <a:t>2015</a:t>
                  </a:r>
                  <a:endParaRPr lang="zh-CN" altLang="en-US" sz="1200" dirty="0">
                    <a:solidFill>
                      <a:prstClr val="black"/>
                    </a:solidFill>
                    <a:latin typeface="+mn-lt"/>
                    <a:ea typeface="+mn-ea"/>
                    <a:cs typeface="+mn-ea"/>
                    <a:sym typeface="+mn-lt"/>
                  </a:endParaRPr>
                </a:p>
              </p:txBody>
            </p:sp>
            <p:cxnSp>
              <p:nvCxnSpPr>
                <p:cNvPr id="99" name="直接连接符 98"/>
                <p:cNvCxnSpPr/>
                <p:nvPr/>
              </p:nvCxnSpPr>
              <p:spPr bwMode="auto">
                <a:xfrm>
                  <a:off x="1164905" y="1487134"/>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cxnSp>
              <p:nvCxnSpPr>
                <p:cNvPr id="100" name="直接连接符 99"/>
                <p:cNvCxnSpPr/>
                <p:nvPr/>
              </p:nvCxnSpPr>
              <p:spPr bwMode="auto">
                <a:xfrm>
                  <a:off x="2582090" y="1504051"/>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cxnSp>
              <p:nvCxnSpPr>
                <p:cNvPr id="101" name="直接连接符 100"/>
                <p:cNvCxnSpPr/>
                <p:nvPr/>
              </p:nvCxnSpPr>
              <p:spPr bwMode="auto">
                <a:xfrm>
                  <a:off x="3959776" y="1504051"/>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cxnSp>
              <p:nvCxnSpPr>
                <p:cNvPr id="102" name="直接连接符 101"/>
                <p:cNvCxnSpPr/>
                <p:nvPr/>
              </p:nvCxnSpPr>
              <p:spPr bwMode="auto">
                <a:xfrm>
                  <a:off x="5337463" y="1504051"/>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cxnSp>
              <p:nvCxnSpPr>
                <p:cNvPr id="103" name="直接连接符 102"/>
                <p:cNvCxnSpPr/>
                <p:nvPr/>
              </p:nvCxnSpPr>
              <p:spPr bwMode="auto">
                <a:xfrm>
                  <a:off x="6882142" y="1504051"/>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cxnSp>
              <p:nvCxnSpPr>
                <p:cNvPr id="104" name="直接连接符 103"/>
                <p:cNvCxnSpPr/>
                <p:nvPr/>
              </p:nvCxnSpPr>
              <p:spPr bwMode="auto">
                <a:xfrm>
                  <a:off x="8510318" y="1487134"/>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pic>
              <p:nvPicPr>
                <p:cNvPr id="3" name="图片 2"/>
                <p:cNvPicPr>
                  <a:picLocks noChangeAspect="1"/>
                </p:cNvPicPr>
                <p:nvPr/>
              </p:nvPicPr>
              <p:blipFill>
                <a:blip r:embed="rId12"/>
                <a:stretch>
                  <a:fillRect/>
                </a:stretch>
              </p:blipFill>
              <p:spPr>
                <a:xfrm>
                  <a:off x="4438321" y="4425448"/>
                  <a:ext cx="657263" cy="342920"/>
                </a:xfrm>
                <a:prstGeom prst="rect">
                  <a:avLst/>
                </a:prstGeom>
              </p:spPr>
            </p:pic>
            <p:pic>
              <p:nvPicPr>
                <p:cNvPr id="4" name="图片 3"/>
                <p:cNvPicPr>
                  <a:picLocks noChangeAspect="1"/>
                </p:cNvPicPr>
                <p:nvPr/>
              </p:nvPicPr>
              <p:blipFill>
                <a:blip r:embed="rId13"/>
                <a:stretch>
                  <a:fillRect/>
                </a:stretch>
              </p:blipFill>
              <p:spPr>
                <a:xfrm>
                  <a:off x="2921674" y="2893844"/>
                  <a:ext cx="518578" cy="179964"/>
                </a:xfrm>
                <a:prstGeom prst="rect">
                  <a:avLst/>
                </a:prstGeom>
              </p:spPr>
            </p:pic>
            <p:pic>
              <p:nvPicPr>
                <p:cNvPr id="6" name="图片 5"/>
                <p:cNvPicPr>
                  <a:picLocks noChangeAspect="1"/>
                </p:cNvPicPr>
                <p:nvPr/>
              </p:nvPicPr>
              <p:blipFill>
                <a:blip r:embed="rId14"/>
                <a:stretch>
                  <a:fillRect/>
                </a:stretch>
              </p:blipFill>
              <p:spPr>
                <a:xfrm>
                  <a:off x="2593647" y="4981763"/>
                  <a:ext cx="885272" cy="279566"/>
                </a:xfrm>
                <a:prstGeom prst="rect">
                  <a:avLst/>
                </a:prstGeom>
              </p:spPr>
            </p:pic>
            <p:pic>
              <p:nvPicPr>
                <p:cNvPr id="7" name="图片 6"/>
                <p:cNvPicPr>
                  <a:picLocks noChangeAspect="1"/>
                </p:cNvPicPr>
                <p:nvPr/>
              </p:nvPicPr>
              <p:blipFill>
                <a:blip r:embed="rId15"/>
                <a:stretch>
                  <a:fillRect/>
                </a:stretch>
              </p:blipFill>
              <p:spPr>
                <a:xfrm>
                  <a:off x="3951590" y="3111974"/>
                  <a:ext cx="571786" cy="411686"/>
                </a:xfrm>
                <a:prstGeom prst="rect">
                  <a:avLst/>
                </a:prstGeom>
              </p:spPr>
            </p:pic>
            <p:pic>
              <p:nvPicPr>
                <p:cNvPr id="8" name="图片 7"/>
                <p:cNvPicPr>
                  <a:picLocks noChangeAspect="1"/>
                </p:cNvPicPr>
                <p:nvPr/>
              </p:nvPicPr>
              <p:blipFill>
                <a:blip r:embed="rId16"/>
                <a:stretch>
                  <a:fillRect/>
                </a:stretch>
              </p:blipFill>
              <p:spPr>
                <a:xfrm>
                  <a:off x="4822015" y="3580739"/>
                  <a:ext cx="496831" cy="445435"/>
                </a:xfrm>
                <a:prstGeom prst="rect">
                  <a:avLst/>
                </a:prstGeom>
              </p:spPr>
            </p:pic>
            <p:pic>
              <p:nvPicPr>
                <p:cNvPr id="10" name="图片 9"/>
                <p:cNvPicPr>
                  <a:picLocks noChangeAspect="1"/>
                </p:cNvPicPr>
                <p:nvPr/>
              </p:nvPicPr>
              <p:blipFill>
                <a:blip r:embed="rId17"/>
                <a:stretch>
                  <a:fillRect/>
                </a:stretch>
              </p:blipFill>
              <p:spPr>
                <a:xfrm>
                  <a:off x="1235687" y="2670182"/>
                  <a:ext cx="801485" cy="186261"/>
                </a:xfrm>
                <a:prstGeom prst="rect">
                  <a:avLst/>
                </a:prstGeom>
              </p:spPr>
            </p:pic>
            <p:cxnSp>
              <p:nvCxnSpPr>
                <p:cNvPr id="226" name="直接连接符 225"/>
                <p:cNvCxnSpPr/>
                <p:nvPr/>
              </p:nvCxnSpPr>
              <p:spPr bwMode="auto">
                <a:xfrm>
                  <a:off x="9737539" y="1487134"/>
                  <a:ext cx="0" cy="4601648"/>
                </a:xfrm>
                <a:prstGeom prst="line">
                  <a:avLst/>
                </a:prstGeom>
                <a:solidFill>
                  <a:schemeClr val="accent1"/>
                </a:solidFill>
                <a:ln w="9525" cap="flat" cmpd="sng" algn="ctr">
                  <a:solidFill>
                    <a:schemeClr val="bg1">
                      <a:lumMod val="65000"/>
                    </a:schemeClr>
                  </a:solidFill>
                  <a:prstDash val="dash"/>
                  <a:round/>
                  <a:headEnd type="none" w="med" len="med"/>
                  <a:tailEnd type="none" w="med" len="med"/>
                </a:ln>
                <a:effectLst/>
              </p:spPr>
            </p:cxnSp>
            <p:pic>
              <p:nvPicPr>
                <p:cNvPr id="2050" name="Picture 2" descr="C:\Users\hwx559043\AppData\Roaming\eSpace_Desktop\UserData\hwx559043\imagefiles\C7591C25-AE50-4AA2-8E1E-6C17436B4745.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04026" y="1735242"/>
                  <a:ext cx="590550" cy="552451"/>
                </a:xfrm>
                <a:prstGeom prst="rect">
                  <a:avLst/>
                </a:prstGeom>
                <a:noFill/>
                <a:extLst>
                  <a:ext uri="{909E8E84-426E-40DD-AFC4-6F175D3DCCD1}">
                    <a14:hiddenFill xmlns:a14="http://schemas.microsoft.com/office/drawing/2010/main">
                      <a:solidFill>
                        <a:srgbClr val="FFFFFF"/>
                      </a:solidFill>
                    </a14:hiddenFill>
                  </a:ext>
                </a:extLst>
              </p:spPr>
            </p:pic>
            <p:sp>
              <p:nvSpPr>
                <p:cNvPr id="228" name="TextBox 32"/>
                <p:cNvSpPr txBox="1"/>
                <p:nvPr/>
              </p:nvSpPr>
              <p:spPr>
                <a:xfrm>
                  <a:off x="6641431" y="2347671"/>
                  <a:ext cx="605224" cy="30777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smtClean="0">
                      <a:solidFill>
                        <a:prstClr val="white"/>
                      </a:solidFill>
                      <a:cs typeface="+mn-ea"/>
                      <a:sym typeface="+mn-lt"/>
                    </a:rPr>
                    <a:t>2010</a:t>
                  </a:r>
                  <a:endParaRPr lang="zh-CN" altLang="en-US" sz="1400" b="1" dirty="0">
                    <a:solidFill>
                      <a:prstClr val="white"/>
                    </a:solidFill>
                    <a:cs typeface="+mn-ea"/>
                    <a:sym typeface="+mn-lt"/>
                  </a:endParaRPr>
                </a:p>
              </p:txBody>
            </p:sp>
            <p:pic>
              <p:nvPicPr>
                <p:cNvPr id="2052" name="Picture 4" descr="C:\Users\hwx559043\AppData\Roaming\eSpace_Desktop\UserData\hwx559043\imagefiles\B2CAC79A-C410-418E-92E3-A0D712B5BA8D.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505688" y="1545971"/>
                  <a:ext cx="832363" cy="178087"/>
                </a:xfrm>
                <a:prstGeom prst="rect">
                  <a:avLst/>
                </a:prstGeom>
                <a:noFill/>
                <a:extLst>
                  <a:ext uri="{909E8E84-426E-40DD-AFC4-6F175D3DCCD1}">
                    <a14:hiddenFill xmlns:a14="http://schemas.microsoft.com/office/drawing/2010/main">
                      <a:solidFill>
                        <a:srgbClr val="FFFFFF"/>
                      </a:solidFill>
                    </a14:hiddenFill>
                  </a:ext>
                </a:extLst>
              </p:spPr>
            </p:pic>
            <p:sp>
              <p:nvSpPr>
                <p:cNvPr id="229" name="标题 1"/>
                <p:cNvSpPr txBox="1"/>
                <p:nvPr/>
              </p:nvSpPr>
              <p:spPr>
                <a:xfrm>
                  <a:off x="9400006" y="5850382"/>
                  <a:ext cx="672472" cy="25220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altLang="zh-CN" sz="1200" dirty="0" smtClean="0">
                      <a:solidFill>
                        <a:prstClr val="black"/>
                      </a:solidFill>
                      <a:latin typeface="+mn-lt"/>
                      <a:ea typeface="+mn-ea"/>
                      <a:cs typeface="+mn-ea"/>
                      <a:sym typeface="+mn-lt"/>
                    </a:rPr>
                    <a:t>2019</a:t>
                  </a:r>
                  <a:endParaRPr lang="zh-CN" altLang="en-US" sz="1200" dirty="0">
                    <a:solidFill>
                      <a:prstClr val="black"/>
                    </a:solidFill>
                    <a:latin typeface="+mn-lt"/>
                    <a:ea typeface="+mn-ea"/>
                    <a:cs typeface="+mn-ea"/>
                    <a:sym typeface="+mn-lt"/>
                  </a:endParaRPr>
                </a:p>
              </p:txBody>
            </p:sp>
            <p:pic>
              <p:nvPicPr>
                <p:cNvPr id="2054" name="Picture 6" descr="C:\Users\hwx559043\AppData\Roaming\eSpace_Desktop\UserData\hwx559043\imagefiles\17EC2710-ABB4-49D8-9EB3-27D41354BB94.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321789" y="2669951"/>
                  <a:ext cx="904385" cy="138942"/>
                </a:xfrm>
                <a:prstGeom prst="rect">
                  <a:avLst/>
                </a:prstGeom>
                <a:noFill/>
                <a:extLst>
                  <a:ext uri="{909E8E84-426E-40DD-AFC4-6F175D3DCCD1}">
                    <a14:hiddenFill xmlns:a14="http://schemas.microsoft.com/office/drawing/2010/main">
                      <a:solidFill>
                        <a:srgbClr val="FFFFFF"/>
                      </a:solidFill>
                    </a14:hiddenFill>
                  </a:ext>
                </a:extLst>
              </p:spPr>
            </p:pic>
            <p:sp>
              <p:nvSpPr>
                <p:cNvPr id="230" name="TextBox 51"/>
                <p:cNvSpPr txBox="1"/>
                <p:nvPr/>
              </p:nvSpPr>
              <p:spPr>
                <a:xfrm>
                  <a:off x="9472382" y="2887158"/>
                  <a:ext cx="605224" cy="30777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smtClean="0">
                      <a:solidFill>
                        <a:prstClr val="white"/>
                      </a:solidFill>
                      <a:cs typeface="+mn-ea"/>
                      <a:sym typeface="+mn-lt"/>
                    </a:rPr>
                    <a:t>2019</a:t>
                  </a:r>
                  <a:endParaRPr lang="zh-CN" altLang="en-US" sz="1400" b="1" dirty="0">
                    <a:solidFill>
                      <a:prstClr val="white"/>
                    </a:solidFill>
                    <a:cs typeface="+mn-ea"/>
                    <a:sym typeface="+mn-lt"/>
                  </a:endParaRPr>
                </a:p>
              </p:txBody>
            </p:sp>
          </p:grpSp>
          <p:pic>
            <p:nvPicPr>
              <p:cNvPr id="231" name="Picture 8" descr="C:\Users\hwx559043\AppData\Roaming\eSpace_Desktop\UserData\hwx559043\imagefiles\A18C63FA-50ED-4A12-935C-E98F6E5076A9.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928688" y="3768820"/>
                <a:ext cx="942995" cy="246305"/>
              </a:xfrm>
              <a:prstGeom prst="rect">
                <a:avLst/>
              </a:prstGeom>
              <a:noFill/>
              <a:extLst>
                <a:ext uri="{909E8E84-426E-40DD-AFC4-6F175D3DCCD1}">
                  <a14:hiddenFill xmlns:a14="http://schemas.microsoft.com/office/drawing/2010/main">
                    <a:solidFill>
                      <a:srgbClr val="FFFFFF"/>
                    </a:solidFill>
                  </a14:hiddenFill>
                </a:ext>
              </a:extLst>
            </p:spPr>
          </p:pic>
          <p:sp>
            <p:nvSpPr>
              <p:cNvPr id="232" name="TextBox 51"/>
              <p:cNvSpPr txBox="1"/>
              <p:nvPr/>
            </p:nvSpPr>
            <p:spPr>
              <a:xfrm>
                <a:off x="6095522" y="4050210"/>
                <a:ext cx="605224" cy="30777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smtClean="0">
                    <a:solidFill>
                      <a:prstClr val="white"/>
                    </a:solidFill>
                    <a:cs typeface="+mn-ea"/>
                    <a:sym typeface="+mn-lt"/>
                  </a:rPr>
                  <a:t>2007</a:t>
                </a:r>
                <a:endParaRPr lang="zh-CN" altLang="en-US" sz="1400" b="1" dirty="0">
                  <a:solidFill>
                    <a:prstClr val="white"/>
                  </a:solidFill>
                  <a:cs typeface="+mn-ea"/>
                  <a:sym typeface="+mn-lt"/>
                </a:endParaRPr>
              </a:p>
            </p:txBody>
          </p:sp>
          <p:sp>
            <p:nvSpPr>
              <p:cNvPr id="233" name="TextBox 51"/>
              <p:cNvSpPr txBox="1"/>
              <p:nvPr/>
            </p:nvSpPr>
            <p:spPr>
              <a:xfrm>
                <a:off x="9828113" y="4754803"/>
                <a:ext cx="605224" cy="307777"/>
              </a:xfrm>
              <a:prstGeom prst="rect">
                <a:avLst/>
              </a:prstGeom>
              <a:solidFill>
                <a:srgbClr val="0070C0"/>
              </a:solidFill>
            </p:spPr>
            <p:txBody>
              <a:bodyPr wrap="square" rtlCol="0">
                <a:spAutoFit/>
              </a:bodyPr>
              <a:lstStyle/>
              <a:p>
                <a:pPr algn="ctr" fontAlgn="auto">
                  <a:spcBef>
                    <a:spcPts val="0"/>
                  </a:spcBef>
                  <a:spcAft>
                    <a:spcPts val="0"/>
                  </a:spcAft>
                </a:pPr>
                <a:r>
                  <a:rPr lang="en-US" altLang="zh-CN" sz="1400" b="1" dirty="0" smtClean="0">
                    <a:solidFill>
                      <a:prstClr val="white"/>
                    </a:solidFill>
                    <a:cs typeface="+mn-ea"/>
                    <a:sym typeface="+mn-lt"/>
                  </a:rPr>
                  <a:t>2020</a:t>
                </a:r>
                <a:endParaRPr lang="zh-CN" altLang="en-US" sz="1400" b="1" dirty="0">
                  <a:solidFill>
                    <a:prstClr val="white"/>
                  </a:solidFill>
                  <a:cs typeface="+mn-ea"/>
                  <a:sym typeface="+mn-lt"/>
                </a:endParaRPr>
              </a:p>
            </p:txBody>
          </p:sp>
        </p:grpSp>
        <p:sp>
          <p:nvSpPr>
            <p:cNvPr id="72" name="文本框 71"/>
            <p:cNvSpPr txBox="1"/>
            <p:nvPr/>
          </p:nvSpPr>
          <p:spPr>
            <a:xfrm>
              <a:off x="9494935" y="4434263"/>
              <a:ext cx="1337601" cy="338554"/>
            </a:xfrm>
            <a:prstGeom prst="rect">
              <a:avLst/>
            </a:prstGeom>
            <a:noFill/>
          </p:spPr>
          <p:txBody>
            <a:bodyPr wrap="square" rtlCol="0">
              <a:spAutoFit/>
            </a:bodyPr>
            <a:lstStyle/>
            <a:p>
              <a:r>
                <a:rPr lang="en-US" altLang="zh-CN" sz="1600" b="1" dirty="0" err="1" smtClean="0">
                  <a:solidFill>
                    <a:srgbClr val="C00000"/>
                  </a:solidFill>
                </a:rPr>
                <a:t>openGauss</a:t>
              </a:r>
              <a:endParaRPr lang="zh-CN" altLang="en-US" sz="1600" b="1" dirty="0">
                <a:solidFill>
                  <a:srgbClr val="C00000"/>
                </a:solidFill>
              </a:endParaRP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smtClean="0">
                <a:latin typeface="+mn-lt"/>
                <a:ea typeface="+mn-ea"/>
              </a:rPr>
              <a:t>结构化查询语言</a:t>
            </a:r>
            <a:r>
              <a:rPr lang="en-US" altLang="zh-CN" dirty="0" smtClean="0">
                <a:latin typeface="+mn-lt"/>
                <a:ea typeface="+mn-ea"/>
              </a:rPr>
              <a:t> -</a:t>
            </a:r>
            <a:r>
              <a:rPr lang="zh-CN" altLang="en-US" dirty="0" smtClean="0">
                <a:latin typeface="+mn-lt"/>
                <a:ea typeface="+mn-ea"/>
              </a:rPr>
              <a:t> </a:t>
            </a:r>
            <a:r>
              <a:rPr lang="en-US" altLang="zh-CN" dirty="0" smtClean="0">
                <a:solidFill>
                  <a:srgbClr val="C00000"/>
                </a:solidFill>
                <a:latin typeface="+mn-lt"/>
                <a:ea typeface="+mn-ea"/>
              </a:rPr>
              <a:t>S</a:t>
            </a:r>
            <a:r>
              <a:rPr lang="en-US" altLang="zh-CN" dirty="0" smtClean="0">
                <a:latin typeface="+mn-lt"/>
                <a:ea typeface="+mn-ea"/>
              </a:rPr>
              <a:t>tructured </a:t>
            </a:r>
            <a:r>
              <a:rPr lang="en-US" altLang="zh-CN" sz="3600" dirty="0">
                <a:solidFill>
                  <a:srgbClr val="C00000"/>
                </a:solidFill>
                <a:latin typeface="+mn-lt"/>
                <a:ea typeface="+mn-ea"/>
              </a:rPr>
              <a:t>Q</a:t>
            </a:r>
            <a:r>
              <a:rPr lang="en-US" altLang="zh-CN" dirty="0" smtClean="0">
                <a:latin typeface="+mn-lt"/>
                <a:ea typeface="+mn-ea"/>
              </a:rPr>
              <a:t>uery </a:t>
            </a:r>
            <a:r>
              <a:rPr lang="en-US" altLang="zh-CN" sz="3600" dirty="0">
                <a:solidFill>
                  <a:srgbClr val="C00000"/>
                </a:solidFill>
                <a:latin typeface="+mn-lt"/>
                <a:ea typeface="+mn-ea"/>
              </a:rPr>
              <a:t>L</a:t>
            </a:r>
            <a:r>
              <a:rPr lang="en-US" altLang="zh-CN" dirty="0" smtClean="0">
                <a:latin typeface="+mn-lt"/>
                <a:ea typeface="+mn-ea"/>
              </a:rPr>
              <a:t>anguage</a:t>
            </a:r>
            <a:endParaRPr lang="zh-CN" altLang="en-US" dirty="0">
              <a:latin typeface="+mn-lt"/>
              <a:ea typeface="+mn-ea"/>
            </a:endParaRPr>
          </a:p>
        </p:txBody>
      </p:sp>
      <p:sp>
        <p:nvSpPr>
          <p:cNvPr id="3" name="文本占位符 2"/>
          <p:cNvSpPr>
            <a:spLocks noGrp="1"/>
          </p:cNvSpPr>
          <p:nvPr>
            <p:ph type="body" sz="quarter" idx="10"/>
          </p:nvPr>
        </p:nvSpPr>
        <p:spPr/>
        <p:txBody>
          <a:bodyPr>
            <a:normAutofit/>
          </a:bodyPr>
          <a:lstStyle/>
          <a:p>
            <a:r>
              <a:rPr lang="en-US" altLang="zh-CN" sz="1800" dirty="0" smtClean="0">
                <a:latin typeface="+mn-lt"/>
                <a:ea typeface="+mn-ea"/>
              </a:rPr>
              <a:t>SQL</a:t>
            </a:r>
            <a:r>
              <a:rPr lang="zh-CN" altLang="en-US" sz="1800" dirty="0" smtClean="0">
                <a:latin typeface="+mn-lt"/>
                <a:ea typeface="+mn-ea"/>
              </a:rPr>
              <a:t>语言</a:t>
            </a:r>
            <a:endParaRPr lang="en-US" altLang="zh-CN" sz="1600" dirty="0" smtClean="0">
              <a:latin typeface="+mn-lt"/>
              <a:ea typeface="+mn-ea"/>
            </a:endParaRPr>
          </a:p>
          <a:p>
            <a:pPr lvl="1"/>
            <a:r>
              <a:rPr lang="zh-CN" altLang="en-US" sz="1600" dirty="0" smtClean="0">
                <a:latin typeface="+mn-lt"/>
                <a:ea typeface="+mn-ea"/>
              </a:rPr>
              <a:t>高级的非过程化编程语言，允许用户在高层数据结构上工作；</a:t>
            </a:r>
            <a:endParaRPr lang="en-US" altLang="zh-CN" sz="1600" dirty="0" smtClean="0">
              <a:latin typeface="+mn-lt"/>
              <a:ea typeface="+mn-ea"/>
            </a:endParaRPr>
          </a:p>
          <a:p>
            <a:pPr lvl="1"/>
            <a:r>
              <a:rPr lang="zh-CN" altLang="en-US" sz="1600" dirty="0">
                <a:latin typeface="+mn-lt"/>
                <a:ea typeface="+mn-ea"/>
              </a:rPr>
              <a:t>不</a:t>
            </a:r>
            <a:r>
              <a:rPr lang="zh-CN" altLang="en-US" sz="1600" dirty="0" smtClean="0">
                <a:latin typeface="+mn-lt"/>
                <a:ea typeface="+mn-ea"/>
              </a:rPr>
              <a:t>要求用户指定数据存放方法；</a:t>
            </a:r>
            <a:endParaRPr lang="en-US" altLang="zh-CN" sz="1600" dirty="0" smtClean="0">
              <a:latin typeface="+mn-lt"/>
              <a:ea typeface="+mn-ea"/>
            </a:endParaRPr>
          </a:p>
          <a:p>
            <a:pPr lvl="1"/>
            <a:r>
              <a:rPr lang="zh-CN" altLang="en-US" sz="1600" dirty="0" smtClean="0">
                <a:latin typeface="+mn-lt"/>
                <a:ea typeface="+mn-ea"/>
              </a:rPr>
              <a:t>不需要用户了解具体数据存放方式；</a:t>
            </a:r>
            <a:endParaRPr lang="en-US" altLang="zh-CN" sz="1600" dirty="0" smtClean="0">
              <a:latin typeface="+mn-lt"/>
              <a:ea typeface="+mn-ea"/>
            </a:endParaRPr>
          </a:p>
          <a:p>
            <a:pPr lvl="1"/>
            <a:r>
              <a:rPr lang="zh-CN" altLang="en-US" sz="1600" dirty="0" smtClean="0">
                <a:latin typeface="+mn-lt"/>
                <a:ea typeface="+mn-ea"/>
              </a:rPr>
              <a:t>底层结构完全不同的各种关系型数据库系统可以使用相同的</a:t>
            </a:r>
            <a:r>
              <a:rPr lang="en-US" altLang="zh-CN" sz="1600" dirty="0" smtClean="0">
                <a:latin typeface="+mn-lt"/>
                <a:ea typeface="+mn-ea"/>
              </a:rPr>
              <a:t>SQL</a:t>
            </a:r>
            <a:r>
              <a:rPr lang="zh-CN" altLang="en-US" sz="1600" dirty="0" smtClean="0">
                <a:latin typeface="+mn-lt"/>
                <a:ea typeface="+mn-ea"/>
              </a:rPr>
              <a:t>语言作为数据操作和管理的接口。</a:t>
            </a:r>
            <a:endParaRPr lang="en-US" altLang="zh-CN" sz="1600" dirty="0" smtClean="0">
              <a:latin typeface="+mn-lt"/>
              <a:ea typeface="+mn-ea"/>
            </a:endParaRPr>
          </a:p>
          <a:p>
            <a:pPr lvl="1"/>
            <a:endParaRPr lang="en-US" altLang="zh-CN" sz="1800" dirty="0">
              <a:latin typeface="+mn-lt"/>
              <a:ea typeface="+mn-ea"/>
            </a:endParaRPr>
          </a:p>
          <a:p>
            <a:pPr lvl="1"/>
            <a:endParaRPr lang="en-US" altLang="zh-CN" sz="1600" dirty="0" smtClean="0">
              <a:latin typeface="+mn-lt"/>
              <a:ea typeface="+mn-ea"/>
            </a:endParaRPr>
          </a:p>
        </p:txBody>
      </p:sp>
      <p:sp>
        <p:nvSpPr>
          <p:cNvPr id="4" name="Line 3"/>
          <p:cNvSpPr>
            <a:spLocks noChangeShapeType="1"/>
          </p:cNvSpPr>
          <p:nvPr/>
        </p:nvSpPr>
        <p:spPr bwMode="auto">
          <a:xfrm flipH="1">
            <a:off x="8398490" y="3980399"/>
            <a:ext cx="1765" cy="2100601"/>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p>
        </p:txBody>
      </p:sp>
      <p:sp>
        <p:nvSpPr>
          <p:cNvPr id="5" name="Rectangle 4"/>
          <p:cNvSpPr>
            <a:spLocks noChangeArrowheads="1"/>
          </p:cNvSpPr>
          <p:nvPr/>
        </p:nvSpPr>
        <p:spPr bwMode="auto">
          <a:xfrm>
            <a:off x="2033867" y="5208059"/>
            <a:ext cx="1099426"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defTabSz="914400"/>
            <a:r>
              <a:rPr kumimoji="1" lang="en-US" altLang="zh-CN" sz="1400" b="1" dirty="0" smtClean="0"/>
              <a:t>SEQUEL2</a:t>
            </a:r>
            <a:endParaRPr kumimoji="1" lang="en-US" altLang="zh-CN" sz="1400" b="1" dirty="0"/>
          </a:p>
        </p:txBody>
      </p:sp>
      <p:sp>
        <p:nvSpPr>
          <p:cNvPr id="6" name="Line 5"/>
          <p:cNvSpPr>
            <a:spLocks noChangeShapeType="1"/>
          </p:cNvSpPr>
          <p:nvPr/>
        </p:nvSpPr>
        <p:spPr bwMode="auto">
          <a:xfrm>
            <a:off x="2636116" y="5756921"/>
            <a:ext cx="0" cy="347522"/>
          </a:xfrm>
          <a:prstGeom prst="line">
            <a:avLst/>
          </a:prstGeom>
          <a:noFill/>
          <a:ln w="25400">
            <a:solidFill>
              <a:srgbClr val="000000"/>
            </a:solidFill>
            <a:prstDash val="dash"/>
            <a:round/>
          </a:ln>
          <a:effectLst/>
        </p:spPr>
        <p:txBody>
          <a:bodyPr lIns="83448" tIns="41724" rIns="83448" bIns="41724" anchor="ctr">
            <a:spAutoFit/>
          </a:bodyPr>
          <a:lstStyle/>
          <a:p>
            <a:endParaRPr lang="en-US" sz="800"/>
          </a:p>
        </p:txBody>
      </p:sp>
      <p:sp>
        <p:nvSpPr>
          <p:cNvPr id="7" name="Line 6"/>
          <p:cNvSpPr>
            <a:spLocks noChangeShapeType="1"/>
          </p:cNvSpPr>
          <p:nvPr/>
        </p:nvSpPr>
        <p:spPr bwMode="auto">
          <a:xfrm>
            <a:off x="3904626" y="5432247"/>
            <a:ext cx="0" cy="670817"/>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p>
        </p:txBody>
      </p:sp>
      <p:sp>
        <p:nvSpPr>
          <p:cNvPr id="8" name="Text Box 7"/>
          <p:cNvSpPr txBox="1">
            <a:spLocks noChangeArrowheads="1"/>
          </p:cNvSpPr>
          <p:nvPr/>
        </p:nvSpPr>
        <p:spPr bwMode="auto">
          <a:xfrm>
            <a:off x="8832304" y="6093296"/>
            <a:ext cx="1620180" cy="276981"/>
          </a:xfrm>
          <a:prstGeom prst="rect">
            <a:avLst/>
          </a:prstGeom>
          <a:noFill/>
          <a:ln w="9525">
            <a:noFill/>
            <a:miter lim="800000"/>
          </a:ln>
          <a:effectLst/>
        </p:spPr>
        <p:txBody>
          <a:bodyPr wrap="square" lIns="91422" tIns="45711" rIns="91422" bIns="45711">
            <a:spAutoFit/>
          </a:bodyPr>
          <a:lstStyle/>
          <a:p>
            <a:pPr defTabSz="914400"/>
            <a:r>
              <a:rPr kumimoji="1" lang="en-US" altLang="zh-CN" sz="1200" smtClean="0"/>
              <a:t>SQL</a:t>
            </a:r>
            <a:r>
              <a:rPr kumimoji="1" lang="zh-CN" altLang="en-US" sz="1200" smtClean="0"/>
              <a:t>标准</a:t>
            </a:r>
            <a:r>
              <a:rPr kumimoji="1" lang="zh-CN" altLang="en-US" sz="1200" dirty="0" smtClean="0"/>
              <a:t>发展时间线</a:t>
            </a:r>
            <a:endParaRPr kumimoji="1" lang="zh-CN" altLang="en-US" sz="1200" dirty="0"/>
          </a:p>
        </p:txBody>
      </p:sp>
      <p:sp>
        <p:nvSpPr>
          <p:cNvPr id="9" name="Text Box 8"/>
          <p:cNvSpPr txBox="1">
            <a:spLocks noChangeArrowheads="1"/>
          </p:cNvSpPr>
          <p:nvPr/>
        </p:nvSpPr>
        <p:spPr bwMode="auto">
          <a:xfrm>
            <a:off x="2311927" y="610306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1976</a:t>
            </a:r>
            <a:endParaRPr kumimoji="1" lang="en-US" altLang="zh-CN" sz="1400" dirty="0"/>
          </a:p>
        </p:txBody>
      </p:sp>
      <p:sp>
        <p:nvSpPr>
          <p:cNvPr id="10" name="Text Box 9"/>
          <p:cNvSpPr txBox="1">
            <a:spLocks noChangeArrowheads="1"/>
          </p:cNvSpPr>
          <p:nvPr/>
        </p:nvSpPr>
        <p:spPr bwMode="auto">
          <a:xfrm>
            <a:off x="3612529" y="610306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1986</a:t>
            </a:r>
            <a:endParaRPr kumimoji="1" lang="en-US" altLang="zh-CN" sz="1400" dirty="0"/>
          </a:p>
        </p:txBody>
      </p:sp>
      <p:sp>
        <p:nvSpPr>
          <p:cNvPr id="11" name="Text Box 10"/>
          <p:cNvSpPr txBox="1">
            <a:spLocks noChangeArrowheads="1"/>
          </p:cNvSpPr>
          <p:nvPr/>
        </p:nvSpPr>
        <p:spPr bwMode="auto">
          <a:xfrm>
            <a:off x="4289206" y="610306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1989</a:t>
            </a:r>
            <a:endParaRPr kumimoji="1" lang="en-US" altLang="zh-CN" sz="1400" dirty="0"/>
          </a:p>
        </p:txBody>
      </p:sp>
      <p:sp>
        <p:nvSpPr>
          <p:cNvPr id="12" name="Text Box 11"/>
          <p:cNvSpPr txBox="1">
            <a:spLocks noChangeArrowheads="1"/>
          </p:cNvSpPr>
          <p:nvPr/>
        </p:nvSpPr>
        <p:spPr bwMode="auto">
          <a:xfrm>
            <a:off x="1029694" y="4631226"/>
            <a:ext cx="2041970" cy="460116"/>
          </a:xfrm>
          <a:prstGeom prst="rect">
            <a:avLst/>
          </a:prstGeom>
          <a:noFill/>
          <a:ln w="9525">
            <a:noFill/>
            <a:miter lim="800000"/>
          </a:ln>
          <a:effectLst/>
        </p:spPr>
        <p:txBody>
          <a:bodyPr lIns="91422" tIns="45711" rIns="91422" bIns="45711"/>
          <a:lstStyle/>
          <a:p>
            <a:pPr defTabSz="914400">
              <a:buFontTx/>
              <a:buChar char="•"/>
            </a:pPr>
            <a:r>
              <a:rPr lang="en-US" altLang="zh-CN" sz="1200" dirty="0"/>
              <a:t>Don </a:t>
            </a:r>
            <a:r>
              <a:rPr lang="en-US" altLang="zh-CN" sz="1200" dirty="0" smtClean="0"/>
              <a:t>Chamberlin</a:t>
            </a:r>
            <a:r>
              <a:rPr lang="zh-CN" altLang="en-US" sz="1200" dirty="0" smtClean="0"/>
              <a:t>等人描述的</a:t>
            </a:r>
            <a:r>
              <a:rPr lang="en-US" altLang="zh-CN" sz="1200" dirty="0" smtClean="0"/>
              <a:t>SQL</a:t>
            </a:r>
            <a:r>
              <a:rPr lang="zh-CN" altLang="en-US" sz="1200" dirty="0" smtClean="0"/>
              <a:t>最早版本</a:t>
            </a:r>
            <a:endParaRPr kumimoji="1" lang="zh-CN" altLang="en-US" sz="1200" dirty="0"/>
          </a:p>
        </p:txBody>
      </p:sp>
      <p:sp>
        <p:nvSpPr>
          <p:cNvPr id="16" name="Text Box 15"/>
          <p:cNvSpPr txBox="1">
            <a:spLocks noChangeArrowheads="1"/>
          </p:cNvSpPr>
          <p:nvPr/>
        </p:nvSpPr>
        <p:spPr bwMode="auto">
          <a:xfrm>
            <a:off x="7167861" y="610306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2003</a:t>
            </a:r>
            <a:endParaRPr kumimoji="1" lang="en-US" altLang="zh-CN" sz="1400" dirty="0"/>
          </a:p>
        </p:txBody>
      </p:sp>
      <p:sp>
        <p:nvSpPr>
          <p:cNvPr id="18" name="Line 17"/>
          <p:cNvSpPr>
            <a:spLocks noChangeShapeType="1"/>
          </p:cNvSpPr>
          <p:nvPr/>
        </p:nvSpPr>
        <p:spPr bwMode="auto">
          <a:xfrm>
            <a:off x="4732015" y="4556255"/>
            <a:ext cx="15377" cy="1548677"/>
          </a:xfrm>
          <a:prstGeom prst="line">
            <a:avLst/>
          </a:prstGeom>
          <a:noFill/>
          <a:ln w="25400">
            <a:solidFill>
              <a:srgbClr val="000000"/>
            </a:solidFill>
            <a:prstDash val="dash"/>
            <a:round/>
          </a:ln>
          <a:effectLst/>
        </p:spPr>
        <p:txBody>
          <a:bodyPr lIns="83448" tIns="41724" rIns="83448" bIns="41724" anchor="ctr">
            <a:spAutoFit/>
          </a:bodyPr>
          <a:lstStyle/>
          <a:p>
            <a:endParaRPr lang="en-US" sz="800"/>
          </a:p>
        </p:txBody>
      </p:sp>
      <p:sp>
        <p:nvSpPr>
          <p:cNvPr id="19" name="Rectangle 18"/>
          <p:cNvSpPr>
            <a:spLocks noChangeArrowheads="1"/>
          </p:cNvSpPr>
          <p:nvPr/>
        </p:nvSpPr>
        <p:spPr bwMode="auto">
          <a:xfrm>
            <a:off x="3407510" y="4895014"/>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t>SQL-86</a:t>
            </a:r>
            <a:endParaRPr kumimoji="1" lang="en-US" altLang="zh-CN" sz="1400" b="1" dirty="0"/>
          </a:p>
        </p:txBody>
      </p:sp>
      <p:sp>
        <p:nvSpPr>
          <p:cNvPr id="21" name="Line 20"/>
          <p:cNvSpPr>
            <a:spLocks noChangeShapeType="1"/>
          </p:cNvSpPr>
          <p:nvPr/>
        </p:nvSpPr>
        <p:spPr bwMode="auto">
          <a:xfrm>
            <a:off x="2033867" y="6085109"/>
            <a:ext cx="6968154" cy="0"/>
          </a:xfrm>
          <a:prstGeom prst="line">
            <a:avLst/>
          </a:prstGeom>
          <a:noFill/>
          <a:ln w="38100">
            <a:solidFill>
              <a:schemeClr val="tx1"/>
            </a:solidFill>
            <a:round/>
            <a:tailEnd type="arrow" w="med" len="med"/>
          </a:ln>
          <a:effectLst/>
        </p:spPr>
        <p:txBody>
          <a:bodyPr lIns="83448" tIns="41724" rIns="83448" bIns="41724" anchor="ctr">
            <a:spAutoFit/>
          </a:bodyPr>
          <a:lstStyle/>
          <a:p>
            <a:endParaRPr lang="en-US" sz="800"/>
          </a:p>
        </p:txBody>
      </p:sp>
      <p:sp>
        <p:nvSpPr>
          <p:cNvPr id="23" name="Text Box 11"/>
          <p:cNvSpPr txBox="1">
            <a:spLocks noChangeArrowheads="1"/>
          </p:cNvSpPr>
          <p:nvPr/>
        </p:nvSpPr>
        <p:spPr bwMode="auto">
          <a:xfrm>
            <a:off x="2311927" y="3655414"/>
            <a:ext cx="1300602" cy="460116"/>
          </a:xfrm>
          <a:prstGeom prst="rect">
            <a:avLst/>
          </a:prstGeom>
          <a:noFill/>
          <a:ln w="9525">
            <a:noFill/>
            <a:miter lim="800000"/>
          </a:ln>
          <a:effectLst/>
        </p:spPr>
        <p:txBody>
          <a:bodyPr lIns="91422" tIns="45711" rIns="91422" bIns="45711"/>
          <a:lstStyle/>
          <a:p>
            <a:pPr defTabSz="914400">
              <a:buFontTx/>
              <a:buChar char="•"/>
            </a:pPr>
            <a:r>
              <a:rPr lang="en-US" altLang="zh-CN" sz="1200" dirty="0" smtClean="0"/>
              <a:t>ANSI</a:t>
            </a:r>
            <a:r>
              <a:rPr lang="zh-CN" altLang="en-US" sz="1200" dirty="0" smtClean="0"/>
              <a:t>制定标准称为</a:t>
            </a:r>
            <a:r>
              <a:rPr lang="en-US" altLang="zh-CN" sz="1200" dirty="0" smtClean="0"/>
              <a:t>ANSI-SQL</a:t>
            </a:r>
            <a:endParaRPr kumimoji="1" lang="zh-CN" altLang="en-US" sz="1200" dirty="0"/>
          </a:p>
        </p:txBody>
      </p:sp>
      <p:sp>
        <p:nvSpPr>
          <p:cNvPr id="24" name="Rectangle 18"/>
          <p:cNvSpPr>
            <a:spLocks noChangeArrowheads="1"/>
          </p:cNvSpPr>
          <p:nvPr/>
        </p:nvSpPr>
        <p:spPr bwMode="auto">
          <a:xfrm>
            <a:off x="4285373" y="4048873"/>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t>SQL-89</a:t>
            </a:r>
            <a:endParaRPr kumimoji="1" lang="en-US" altLang="zh-CN" sz="1400" b="1" dirty="0"/>
          </a:p>
        </p:txBody>
      </p:sp>
      <p:sp>
        <p:nvSpPr>
          <p:cNvPr id="25" name="Rectangle 18"/>
          <p:cNvSpPr>
            <a:spLocks noChangeArrowheads="1"/>
          </p:cNvSpPr>
          <p:nvPr/>
        </p:nvSpPr>
        <p:spPr bwMode="auto">
          <a:xfrm>
            <a:off x="5089560" y="4649087"/>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t>SQL-92</a:t>
            </a:r>
            <a:endParaRPr kumimoji="1" lang="en-US" altLang="zh-CN" sz="1400" b="1" dirty="0"/>
          </a:p>
        </p:txBody>
      </p:sp>
      <p:sp>
        <p:nvSpPr>
          <p:cNvPr id="26" name="Line 17"/>
          <p:cNvSpPr>
            <a:spLocks noChangeShapeType="1"/>
          </p:cNvSpPr>
          <p:nvPr/>
        </p:nvSpPr>
        <p:spPr bwMode="auto">
          <a:xfrm>
            <a:off x="5484486" y="5170370"/>
            <a:ext cx="1" cy="932694"/>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p>
        </p:txBody>
      </p:sp>
      <p:sp>
        <p:nvSpPr>
          <p:cNvPr id="27" name="Text Box 10"/>
          <p:cNvSpPr txBox="1">
            <a:spLocks noChangeArrowheads="1"/>
          </p:cNvSpPr>
          <p:nvPr/>
        </p:nvSpPr>
        <p:spPr bwMode="auto">
          <a:xfrm>
            <a:off x="5151483" y="610306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1992</a:t>
            </a:r>
            <a:endParaRPr kumimoji="1" lang="en-US" altLang="zh-CN" sz="1400" dirty="0"/>
          </a:p>
        </p:txBody>
      </p:sp>
      <p:sp>
        <p:nvSpPr>
          <p:cNvPr id="28" name="Text Box 10"/>
          <p:cNvSpPr txBox="1">
            <a:spLocks noChangeArrowheads="1"/>
          </p:cNvSpPr>
          <p:nvPr/>
        </p:nvSpPr>
        <p:spPr bwMode="auto">
          <a:xfrm>
            <a:off x="6305584" y="6103064"/>
            <a:ext cx="588586"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1999</a:t>
            </a:r>
            <a:endParaRPr kumimoji="1" lang="en-US" altLang="zh-CN" sz="1400" dirty="0"/>
          </a:p>
        </p:txBody>
      </p:sp>
      <p:sp>
        <p:nvSpPr>
          <p:cNvPr id="29" name="Text Box 15"/>
          <p:cNvSpPr txBox="1">
            <a:spLocks noChangeArrowheads="1"/>
          </p:cNvSpPr>
          <p:nvPr/>
        </p:nvSpPr>
        <p:spPr bwMode="auto">
          <a:xfrm>
            <a:off x="8084962" y="6103064"/>
            <a:ext cx="594998" cy="307758"/>
          </a:xfrm>
          <a:prstGeom prst="rect">
            <a:avLst/>
          </a:prstGeom>
          <a:noFill/>
          <a:ln w="9525">
            <a:noFill/>
            <a:miter lim="800000"/>
          </a:ln>
          <a:effectLst/>
        </p:spPr>
        <p:txBody>
          <a:bodyPr wrap="none" lIns="91422" tIns="45711" rIns="91422" bIns="45711">
            <a:spAutoFit/>
          </a:bodyPr>
          <a:lstStyle/>
          <a:p>
            <a:pPr defTabSz="914400"/>
            <a:r>
              <a:rPr kumimoji="1" lang="en-US" altLang="zh-CN" sz="1400" b="1" dirty="0" smtClean="0"/>
              <a:t>2011</a:t>
            </a:r>
            <a:endParaRPr kumimoji="1" lang="en-US" altLang="zh-CN" sz="1400" dirty="0"/>
          </a:p>
        </p:txBody>
      </p:sp>
      <p:sp>
        <p:nvSpPr>
          <p:cNvPr id="30" name="Rectangle 18"/>
          <p:cNvSpPr>
            <a:spLocks noChangeArrowheads="1"/>
          </p:cNvSpPr>
          <p:nvPr/>
        </p:nvSpPr>
        <p:spPr bwMode="auto">
          <a:xfrm>
            <a:off x="6045932" y="4048873"/>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t>SQL-99</a:t>
            </a:r>
            <a:endParaRPr kumimoji="1" lang="en-US" altLang="zh-CN" sz="1400" b="1" dirty="0"/>
          </a:p>
        </p:txBody>
      </p:sp>
      <p:sp>
        <p:nvSpPr>
          <p:cNvPr id="31" name="Rectangle 18"/>
          <p:cNvSpPr>
            <a:spLocks noChangeArrowheads="1"/>
          </p:cNvSpPr>
          <p:nvPr/>
        </p:nvSpPr>
        <p:spPr bwMode="auto">
          <a:xfrm>
            <a:off x="6940687" y="4649087"/>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t>SQL-2003</a:t>
            </a:r>
            <a:endParaRPr kumimoji="1" lang="en-US" altLang="zh-CN" sz="1400" b="1" dirty="0"/>
          </a:p>
        </p:txBody>
      </p:sp>
      <p:sp>
        <p:nvSpPr>
          <p:cNvPr id="32" name="Rectangle 18"/>
          <p:cNvSpPr>
            <a:spLocks noChangeArrowheads="1"/>
          </p:cNvSpPr>
          <p:nvPr/>
        </p:nvSpPr>
        <p:spPr bwMode="auto">
          <a:xfrm>
            <a:off x="7856466" y="3459117"/>
            <a:ext cx="1084049" cy="521282"/>
          </a:xfrm>
          <a:prstGeom prst="rect">
            <a:avLst/>
          </a:prstGeom>
          <a:solidFill>
            <a:schemeClr val="bg1">
              <a:lumMod val="85000"/>
            </a:schemeClr>
          </a:solidFill>
          <a:ln w="28575" algn="ctr">
            <a:solidFill>
              <a:srgbClr val="800000"/>
            </a:solidFill>
            <a:miter lim="800000"/>
          </a:ln>
          <a:effectLst/>
        </p:spPr>
        <p:txBody>
          <a:bodyPr wrap="none" lIns="91422" tIns="45711" rIns="91422" bIns="45711" anchor="ctr"/>
          <a:lstStyle/>
          <a:p>
            <a:pPr algn="ctr" defTabSz="914400"/>
            <a:r>
              <a:rPr kumimoji="1" lang="en-US" altLang="zh-CN" sz="1400" b="1" dirty="0" smtClean="0"/>
              <a:t>SQL-2011</a:t>
            </a:r>
            <a:endParaRPr kumimoji="1" lang="en-US" altLang="zh-CN" sz="1400" b="1" dirty="0"/>
          </a:p>
        </p:txBody>
      </p:sp>
      <p:sp>
        <p:nvSpPr>
          <p:cNvPr id="33" name="Line 3"/>
          <p:cNvSpPr>
            <a:spLocks noChangeShapeType="1"/>
          </p:cNvSpPr>
          <p:nvPr/>
        </p:nvSpPr>
        <p:spPr bwMode="auto">
          <a:xfrm>
            <a:off x="6506610" y="4586028"/>
            <a:ext cx="1" cy="1483130"/>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p>
        </p:txBody>
      </p:sp>
      <p:sp>
        <p:nvSpPr>
          <p:cNvPr id="34" name="Line 3"/>
          <p:cNvSpPr>
            <a:spLocks noChangeShapeType="1"/>
          </p:cNvSpPr>
          <p:nvPr/>
        </p:nvSpPr>
        <p:spPr bwMode="auto">
          <a:xfrm>
            <a:off x="7464152" y="5186241"/>
            <a:ext cx="0" cy="882917"/>
          </a:xfrm>
          <a:prstGeom prst="line">
            <a:avLst/>
          </a:prstGeom>
          <a:noFill/>
          <a:ln w="25400">
            <a:solidFill>
              <a:srgbClr val="000000"/>
            </a:solidFill>
            <a:prstDash val="dash"/>
            <a:round/>
          </a:ln>
          <a:effectLst/>
        </p:spPr>
        <p:txBody>
          <a:bodyPr wrap="square" lIns="83448" tIns="41724" rIns="83448" bIns="41724" anchor="ctr">
            <a:spAutoFit/>
          </a:bodyPr>
          <a:lstStyle/>
          <a:p>
            <a:endParaRPr lang="en-US" sz="800"/>
          </a:p>
        </p:txBody>
      </p:sp>
      <p:cxnSp>
        <p:nvCxnSpPr>
          <p:cNvPr id="36" name="直接箭头连接符 35"/>
          <p:cNvCxnSpPr>
            <a:stCxn id="23" idx="2"/>
          </p:cNvCxnSpPr>
          <p:nvPr/>
        </p:nvCxnSpPr>
        <p:spPr bwMode="auto">
          <a:xfrm>
            <a:off x="2962228" y="4115530"/>
            <a:ext cx="865520" cy="79419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7" name="直接箭头连接符 36"/>
          <p:cNvCxnSpPr>
            <a:stCxn id="23" idx="2"/>
            <a:endCxn id="24" idx="1"/>
          </p:cNvCxnSpPr>
          <p:nvPr/>
        </p:nvCxnSpPr>
        <p:spPr bwMode="auto">
          <a:xfrm>
            <a:off x="2962228" y="4115530"/>
            <a:ext cx="1323145" cy="19398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1" name="Text Box 11"/>
          <p:cNvSpPr txBox="1">
            <a:spLocks noChangeArrowheads="1"/>
          </p:cNvSpPr>
          <p:nvPr/>
        </p:nvSpPr>
        <p:spPr bwMode="auto">
          <a:xfrm>
            <a:off x="5407126" y="3453099"/>
            <a:ext cx="1216024" cy="460116"/>
          </a:xfrm>
          <a:prstGeom prst="rect">
            <a:avLst/>
          </a:prstGeom>
          <a:noFill/>
          <a:ln w="9525">
            <a:noFill/>
            <a:miter lim="800000"/>
          </a:ln>
          <a:effectLst/>
        </p:spPr>
        <p:txBody>
          <a:bodyPr lIns="91422" tIns="45711" rIns="91422" bIns="45711"/>
          <a:lstStyle/>
          <a:p>
            <a:pPr defTabSz="914400">
              <a:buFontTx/>
              <a:buChar char="•"/>
            </a:pPr>
            <a:r>
              <a:rPr lang="en-US" altLang="zh-CN" sz="1200" dirty="0" smtClean="0"/>
              <a:t>ISO</a:t>
            </a:r>
            <a:r>
              <a:rPr lang="zh-CN" altLang="en-US" sz="1200" dirty="0" smtClean="0"/>
              <a:t>组织开始制定</a:t>
            </a:r>
            <a:r>
              <a:rPr lang="en-US" altLang="zh-CN" sz="1200" dirty="0" smtClean="0"/>
              <a:t>SQL</a:t>
            </a:r>
            <a:r>
              <a:rPr lang="zh-CN" altLang="en-US" sz="1200" dirty="0" smtClean="0"/>
              <a:t>标准</a:t>
            </a:r>
            <a:endParaRPr kumimoji="1" lang="zh-CN" altLang="en-US" sz="1200" dirty="0"/>
          </a:p>
        </p:txBody>
      </p:sp>
      <p:cxnSp>
        <p:nvCxnSpPr>
          <p:cNvPr id="42" name="直接箭头连接符 41"/>
          <p:cNvCxnSpPr>
            <a:endCxn id="25" idx="0"/>
          </p:cNvCxnSpPr>
          <p:nvPr/>
        </p:nvCxnSpPr>
        <p:spPr bwMode="auto">
          <a:xfrm flipH="1">
            <a:off x="5631585" y="3850788"/>
            <a:ext cx="146956" cy="79829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r>
              <a:rPr lang="zh-CN" altLang="en-US" dirty="0" smtClean="0">
                <a:latin typeface="+mn-lt"/>
                <a:ea typeface="+mn-ea"/>
                <a:cs typeface="+mn-ea"/>
                <a:sym typeface="+mn-lt"/>
              </a:rPr>
              <a:t>数据库从诞生之日起至今已近</a:t>
            </a:r>
            <a:r>
              <a:rPr lang="en-US" altLang="zh-CN" dirty="0" smtClean="0">
                <a:latin typeface="+mn-lt"/>
                <a:ea typeface="+mn-ea"/>
                <a:cs typeface="+mn-ea"/>
                <a:sym typeface="+mn-lt"/>
              </a:rPr>
              <a:t>60</a:t>
            </a:r>
            <a:r>
              <a:rPr lang="zh-CN" altLang="en-US" dirty="0" smtClean="0">
                <a:latin typeface="+mn-lt"/>
                <a:ea typeface="+mn-ea"/>
                <a:cs typeface="+mn-ea"/>
                <a:sym typeface="+mn-lt"/>
              </a:rPr>
              <a:t>年，从早期单纯</a:t>
            </a:r>
            <a:r>
              <a:rPr lang="zh-CN" altLang="en-US" dirty="0">
                <a:latin typeface="+mn-lt"/>
                <a:ea typeface="+mn-ea"/>
                <a:cs typeface="+mn-ea"/>
                <a:sym typeface="+mn-lt"/>
              </a:rPr>
              <a:t>地</a:t>
            </a:r>
            <a:r>
              <a:rPr lang="zh-CN" altLang="en-US" dirty="0" smtClean="0">
                <a:latin typeface="+mn-lt"/>
                <a:ea typeface="+mn-ea"/>
                <a:cs typeface="+mn-ea"/>
                <a:sym typeface="+mn-lt"/>
              </a:rPr>
              <a:t>对数据文件的保存和处理，发展出以数据建模和数据库管理系统核心技术为主的一门内容丰富的学科，</a:t>
            </a:r>
            <a:r>
              <a:rPr lang="zh-CN" altLang="en-US" dirty="0">
                <a:latin typeface="+mn-lt"/>
                <a:ea typeface="+mn-ea"/>
                <a:cs typeface="+mn-ea"/>
                <a:sym typeface="+mn-lt"/>
              </a:rPr>
              <a:t>成为现代计算机应用系统的基础和</a:t>
            </a:r>
            <a:r>
              <a:rPr lang="zh-CN" altLang="en-US" dirty="0" smtClean="0">
                <a:latin typeface="+mn-lt"/>
                <a:ea typeface="+mn-ea"/>
                <a:cs typeface="+mn-ea"/>
                <a:sym typeface="+mn-lt"/>
              </a:rPr>
              <a:t>核心。伴随着互联网、大数据、人工智能等技术的蓬勃兴起，数据库技术和产品更是百花齐放，带动了一个巨大的软件产业的发展。</a:t>
            </a:r>
            <a:endParaRPr lang="en-US" altLang="zh-CN" dirty="0" smtClean="0">
              <a:latin typeface="+mn-lt"/>
              <a:ea typeface="+mn-ea"/>
              <a:cs typeface="+mn-ea"/>
              <a:sym typeface="+mn-lt"/>
            </a:endParaRPr>
          </a:p>
          <a:p>
            <a:r>
              <a:rPr lang="zh-CN" altLang="en-US" dirty="0" smtClean="0">
                <a:latin typeface="+mn-lt"/>
                <a:ea typeface="+mn-ea"/>
                <a:cs typeface="+mn-ea"/>
                <a:sym typeface="+mn-lt"/>
              </a:rPr>
              <a:t>本章</a:t>
            </a:r>
            <a:r>
              <a:rPr lang="zh-CN" altLang="en-US" dirty="0">
                <a:latin typeface="+mn-lt"/>
                <a:ea typeface="+mn-ea"/>
                <a:cs typeface="+mn-ea"/>
                <a:sym typeface="+mn-lt"/>
              </a:rPr>
              <a:t>主要</a:t>
            </a:r>
            <a:r>
              <a:rPr lang="zh-CN" altLang="en-US" dirty="0" smtClean="0">
                <a:latin typeface="+mn-lt"/>
                <a:ea typeface="+mn-ea"/>
                <a:cs typeface="+mn-ea"/>
                <a:sym typeface="+mn-lt"/>
              </a:rPr>
              <a:t>讲述数据库的基本概念，数据库技术的发展历史，关系型数据库的架构演进以及关系型数据库的主流应用场景。</a:t>
            </a:r>
            <a:endParaRPr lang="zh-CN" altLang="en-US" dirty="0">
              <a:latin typeface="+mn-lt"/>
              <a:ea typeface="+mn-ea"/>
              <a:cs typeface="+mn-ea"/>
              <a:sym typeface="+mn-lt"/>
            </a:endParaRPr>
          </a:p>
          <a:p>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其他数据模型</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normAutofit fontScale="85000" lnSpcReduction="10000"/>
          </a:bodyPr>
          <a:lstStyle/>
          <a:p>
            <a:r>
              <a:rPr lang="zh-CN" altLang="en-US" sz="2000" dirty="0" smtClean="0">
                <a:latin typeface="+mn-lt"/>
                <a:ea typeface="+mn-ea"/>
                <a:cs typeface="+mn-ea"/>
                <a:sym typeface="+mn-lt"/>
              </a:rPr>
              <a:t>面向对象数据模型（</a:t>
            </a:r>
            <a:r>
              <a:rPr lang="en-US" altLang="zh-CN" sz="2000" dirty="0" smtClean="0">
                <a:latin typeface="+mn-lt"/>
                <a:ea typeface="+mn-ea"/>
                <a:cs typeface="+mn-ea"/>
                <a:sym typeface="+mn-lt"/>
              </a:rPr>
              <a:t>Object Oriented Data Model</a:t>
            </a:r>
            <a:r>
              <a:rPr lang="zh-CN" altLang="en-US" sz="2000" dirty="0" smtClean="0">
                <a:latin typeface="+mn-lt"/>
                <a:ea typeface="+mn-ea"/>
                <a:cs typeface="+mn-ea"/>
                <a:sym typeface="+mn-lt"/>
              </a:rPr>
              <a:t>，</a:t>
            </a:r>
            <a:r>
              <a:rPr lang="en-US" altLang="zh-CN" sz="2000" dirty="0" smtClean="0">
                <a:latin typeface="+mn-lt"/>
                <a:ea typeface="+mn-ea"/>
                <a:cs typeface="+mn-ea"/>
                <a:sym typeface="+mn-lt"/>
              </a:rPr>
              <a:t>OO</a:t>
            </a:r>
            <a:r>
              <a:rPr lang="zh-CN" altLang="en-US" sz="2000" dirty="0" smtClean="0">
                <a:latin typeface="+mn-lt"/>
                <a:ea typeface="+mn-ea"/>
                <a:cs typeface="+mn-ea"/>
                <a:sym typeface="+mn-lt"/>
              </a:rPr>
              <a:t>模型）</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将语义数据模型和面向对象程序设计方法结合起来，用一系列面向对象核心概念构成模型基础。</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由于面向对象数据库操作语言过于</a:t>
            </a:r>
            <a:r>
              <a:rPr lang="zh-CN" altLang="en-US" sz="1800" dirty="0">
                <a:latin typeface="+mn-lt"/>
                <a:ea typeface="+mn-ea"/>
                <a:cs typeface="+mn-ea"/>
                <a:sym typeface="+mn-lt"/>
              </a:rPr>
              <a:t>复杂</a:t>
            </a:r>
            <a:r>
              <a:rPr lang="zh-CN" altLang="en-US" sz="1800" dirty="0" smtClean="0">
                <a:latin typeface="+mn-lt"/>
                <a:ea typeface="+mn-ea"/>
                <a:cs typeface="+mn-ea"/>
                <a:sym typeface="+mn-lt"/>
              </a:rPr>
              <a:t>，没有得到开发人员认可。</a:t>
            </a:r>
            <a:endParaRPr lang="en-US" altLang="zh-CN" sz="1800" dirty="0" smtClean="0">
              <a:latin typeface="+mn-lt"/>
              <a:ea typeface="+mn-ea"/>
              <a:cs typeface="+mn-ea"/>
              <a:sym typeface="+mn-lt"/>
            </a:endParaRPr>
          </a:p>
          <a:p>
            <a:r>
              <a:rPr lang="en-US" altLang="zh-CN" sz="2000" dirty="0" smtClean="0">
                <a:latin typeface="+mn-lt"/>
                <a:ea typeface="+mn-ea"/>
                <a:cs typeface="+mn-ea"/>
                <a:sym typeface="+mn-lt"/>
              </a:rPr>
              <a:t>XML</a:t>
            </a:r>
            <a:r>
              <a:rPr lang="zh-CN" altLang="en-US" sz="2000" dirty="0" smtClean="0">
                <a:latin typeface="+mn-lt"/>
                <a:ea typeface="+mn-ea"/>
                <a:cs typeface="+mn-ea"/>
                <a:sym typeface="+mn-lt"/>
              </a:rPr>
              <a:t>数据模型</a:t>
            </a:r>
            <a:endParaRPr lang="en-US" altLang="zh-CN" sz="2000" dirty="0" smtClean="0">
              <a:latin typeface="+mn-lt"/>
              <a:ea typeface="+mn-ea"/>
              <a:cs typeface="+mn-ea"/>
              <a:sym typeface="+mn-lt"/>
            </a:endParaRPr>
          </a:p>
          <a:p>
            <a:pPr lvl="1"/>
            <a:r>
              <a:rPr lang="zh-CN" altLang="en-US" sz="1800" kern="1200" dirty="0">
                <a:latin typeface="+mn-lt"/>
                <a:ea typeface="+mn-ea"/>
                <a:cs typeface="+mn-ea"/>
                <a:sym typeface="+mn-lt"/>
              </a:rPr>
              <a:t>可扩展标记语言</a:t>
            </a:r>
            <a:r>
              <a:rPr lang="en-US" altLang="zh-CN" sz="1800" kern="1200" dirty="0">
                <a:latin typeface="+mn-lt"/>
                <a:ea typeface="+mn-ea"/>
                <a:cs typeface="+mn-ea"/>
                <a:sym typeface="+mn-lt"/>
              </a:rPr>
              <a:t>(extensible markup language, </a:t>
            </a:r>
            <a:r>
              <a:rPr lang="zh-CN" altLang="en-US" sz="1800" kern="1200" dirty="0">
                <a:latin typeface="+mn-lt"/>
                <a:ea typeface="+mn-ea"/>
                <a:cs typeface="+mn-ea"/>
                <a:sym typeface="+mn-lt"/>
              </a:rPr>
              <a:t>简称</a:t>
            </a:r>
            <a:r>
              <a:rPr lang="en-US" altLang="zh-CN" sz="1800" kern="1200" dirty="0">
                <a:latin typeface="+mn-lt"/>
                <a:ea typeface="+mn-ea"/>
                <a:cs typeface="+mn-ea"/>
                <a:sym typeface="+mn-lt"/>
              </a:rPr>
              <a:t>XML</a:t>
            </a:r>
            <a:r>
              <a:rPr lang="en-US" altLang="zh-CN" sz="1800" kern="1200" dirty="0" smtClean="0">
                <a:latin typeface="+mn-lt"/>
                <a:ea typeface="+mn-ea"/>
                <a:cs typeface="+mn-ea"/>
                <a:sym typeface="+mn-lt"/>
              </a:rPr>
              <a:t>)</a:t>
            </a:r>
            <a:r>
              <a:rPr lang="zh-CN" altLang="en-US" sz="1800" kern="1200" dirty="0">
                <a:latin typeface="+mn-lt"/>
                <a:ea typeface="+mn-ea"/>
                <a:cs typeface="+mn-ea"/>
                <a:sym typeface="+mn-lt"/>
              </a:rPr>
              <a:t>，</a:t>
            </a:r>
            <a:r>
              <a:rPr lang="zh-CN" altLang="en-US" sz="1800" kern="1200" dirty="0" smtClean="0">
                <a:latin typeface="+mn-lt"/>
                <a:ea typeface="+mn-ea"/>
                <a:cs typeface="+mn-ea"/>
                <a:sym typeface="+mn-lt"/>
              </a:rPr>
              <a:t>是</a:t>
            </a:r>
            <a:r>
              <a:rPr lang="en-US" altLang="zh-CN" sz="1800" kern="1200" dirty="0" smtClean="0">
                <a:latin typeface="+mn-lt"/>
                <a:ea typeface="+mn-ea"/>
                <a:cs typeface="+mn-ea"/>
                <a:sym typeface="+mn-lt"/>
              </a:rPr>
              <a:t>W3C</a:t>
            </a:r>
            <a:r>
              <a:rPr lang="zh-CN" altLang="en-US" sz="1800" kern="1200" dirty="0" smtClean="0">
                <a:latin typeface="+mn-lt"/>
                <a:ea typeface="+mn-ea"/>
                <a:cs typeface="+mn-ea"/>
                <a:sym typeface="+mn-lt"/>
              </a:rPr>
              <a:t>在</a:t>
            </a:r>
            <a:r>
              <a:rPr lang="en-US" altLang="zh-CN" sz="1800" kern="1200" dirty="0" smtClean="0">
                <a:latin typeface="+mn-lt"/>
                <a:ea typeface="+mn-ea"/>
                <a:cs typeface="+mn-ea"/>
                <a:sym typeface="+mn-lt"/>
              </a:rPr>
              <a:t>1998</a:t>
            </a:r>
            <a:r>
              <a:rPr lang="zh-CN" altLang="en-US" sz="1800" kern="1200" dirty="0" smtClean="0">
                <a:latin typeface="+mn-lt"/>
                <a:ea typeface="+mn-ea"/>
                <a:cs typeface="+mn-ea"/>
                <a:sym typeface="+mn-lt"/>
              </a:rPr>
              <a:t>年制定的一项标准，</a:t>
            </a:r>
            <a:r>
              <a:rPr lang="zh-CN" altLang="en-US" sz="1800" kern="1200" dirty="0">
                <a:latin typeface="+mn-lt"/>
                <a:ea typeface="+mn-ea"/>
                <a:cs typeface="+mn-ea"/>
                <a:sym typeface="+mn-lt"/>
              </a:rPr>
              <a:t>被作为互联网信息交换的标准</a:t>
            </a:r>
            <a:r>
              <a:rPr lang="zh-CN" altLang="en-US" sz="1800" kern="1200" dirty="0" smtClean="0">
                <a:latin typeface="+mn-lt"/>
                <a:ea typeface="+mn-ea"/>
                <a:cs typeface="+mn-ea"/>
                <a:sym typeface="+mn-lt"/>
              </a:rPr>
              <a:t>。</a:t>
            </a:r>
            <a:endParaRPr lang="en-US" altLang="zh-CN" sz="1800" dirty="0" smtClean="0">
              <a:latin typeface="+mn-lt"/>
              <a:ea typeface="+mn-ea"/>
              <a:cs typeface="+mn-ea"/>
              <a:sym typeface="+mn-lt"/>
            </a:endParaRPr>
          </a:p>
          <a:p>
            <a:pPr lvl="1"/>
            <a:r>
              <a:rPr lang="en-US" altLang="zh-CN" sz="1800" dirty="0" smtClean="0">
                <a:latin typeface="+mn-lt"/>
                <a:ea typeface="+mn-ea"/>
                <a:cs typeface="+mn-ea"/>
                <a:sym typeface="+mn-lt"/>
              </a:rPr>
              <a:t>XML</a:t>
            </a:r>
            <a:r>
              <a:rPr lang="zh-CN" altLang="en-US" sz="1800" dirty="0">
                <a:latin typeface="+mn-lt"/>
                <a:ea typeface="+mn-ea"/>
                <a:cs typeface="+mn-ea"/>
                <a:sym typeface="+mn-lt"/>
              </a:rPr>
              <a:t>模型是由若干带有标签的节点组成的</a:t>
            </a:r>
            <a:r>
              <a:rPr lang="zh-CN" altLang="en-US" sz="1800" dirty="0" smtClean="0">
                <a:latin typeface="+mn-lt"/>
                <a:ea typeface="+mn-ea"/>
                <a:cs typeface="+mn-ea"/>
                <a:sym typeface="+mn-lt"/>
              </a:rPr>
              <a:t>有向树，</a:t>
            </a:r>
            <a:r>
              <a:rPr lang="zh-CN" altLang="en-US" sz="1800" kern="1200" dirty="0" smtClean="0">
                <a:latin typeface="+mn-lt"/>
                <a:ea typeface="+mn-ea"/>
                <a:cs typeface="+mn-ea"/>
                <a:sym typeface="+mn-lt"/>
              </a:rPr>
              <a:t>是</a:t>
            </a:r>
            <a:r>
              <a:rPr lang="zh-CN" altLang="en-US" sz="1800" kern="1200" dirty="0">
                <a:latin typeface="+mn-lt"/>
                <a:ea typeface="+mn-ea"/>
                <a:cs typeface="+mn-ea"/>
                <a:sym typeface="+mn-lt"/>
              </a:rPr>
              <a:t>一种分层自描述模型，具有良好的语义和可扩展性，可以灵活地表示和组织数据，并提供高效的查询方法，例如</a:t>
            </a:r>
            <a:r>
              <a:rPr lang="en-US" altLang="zh-CN" sz="1800" kern="1200" dirty="0">
                <a:latin typeface="+mn-lt"/>
                <a:ea typeface="+mn-ea"/>
                <a:cs typeface="+mn-ea"/>
                <a:sym typeface="+mn-lt"/>
              </a:rPr>
              <a:t>XPath</a:t>
            </a:r>
            <a:r>
              <a:rPr lang="zh-CN" altLang="en-US" sz="1800" kern="1200" dirty="0">
                <a:latin typeface="+mn-lt"/>
                <a:ea typeface="+mn-ea"/>
                <a:cs typeface="+mn-ea"/>
                <a:sym typeface="+mn-lt"/>
              </a:rPr>
              <a:t>、 </a:t>
            </a:r>
            <a:r>
              <a:rPr lang="en-US" altLang="zh-CN" sz="1800" kern="1200" dirty="0">
                <a:latin typeface="+mn-lt"/>
                <a:ea typeface="+mn-ea"/>
                <a:cs typeface="+mn-ea"/>
                <a:sym typeface="+mn-lt"/>
              </a:rPr>
              <a:t>XQuery</a:t>
            </a:r>
            <a:r>
              <a:rPr lang="zh-CN" altLang="en-US" sz="1800" kern="1200" dirty="0">
                <a:latin typeface="+mn-lt"/>
                <a:ea typeface="+mn-ea"/>
                <a:cs typeface="+mn-ea"/>
                <a:sym typeface="+mn-lt"/>
              </a:rPr>
              <a:t>、 关键字查询、子树匹配等</a:t>
            </a:r>
            <a:r>
              <a:rPr lang="zh-CN" altLang="en-US" sz="1800" kern="1200" dirty="0" smtClean="0">
                <a:latin typeface="+mn-lt"/>
                <a:ea typeface="+mn-ea"/>
                <a:cs typeface="+mn-ea"/>
                <a:sym typeface="+mn-lt"/>
              </a:rPr>
              <a:t>。</a:t>
            </a:r>
            <a:endParaRPr lang="en-US" altLang="zh-CN" sz="1800" dirty="0" smtClean="0">
              <a:latin typeface="+mn-lt"/>
              <a:ea typeface="+mn-ea"/>
              <a:cs typeface="+mn-ea"/>
              <a:sym typeface="+mn-lt"/>
            </a:endParaRPr>
          </a:p>
          <a:p>
            <a:r>
              <a:rPr lang="en-US" altLang="zh-CN" sz="2000" dirty="0" smtClean="0">
                <a:latin typeface="+mn-lt"/>
                <a:ea typeface="+mn-ea"/>
                <a:cs typeface="+mn-ea"/>
                <a:sym typeface="+mn-lt"/>
              </a:rPr>
              <a:t>RDF</a:t>
            </a:r>
            <a:r>
              <a:rPr lang="zh-CN" altLang="en-US" sz="2000" dirty="0" smtClean="0">
                <a:latin typeface="+mn-lt"/>
                <a:ea typeface="+mn-ea"/>
                <a:cs typeface="+mn-ea"/>
                <a:sym typeface="+mn-lt"/>
              </a:rPr>
              <a:t>数据模型</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互联网的信息没有</a:t>
            </a:r>
            <a:r>
              <a:rPr lang="zh-CN" altLang="en-US" sz="1800" dirty="0">
                <a:latin typeface="+mn-lt"/>
                <a:ea typeface="+mn-ea"/>
                <a:cs typeface="+mn-ea"/>
                <a:sym typeface="+mn-lt"/>
              </a:rPr>
              <a:t>统一</a:t>
            </a:r>
            <a:r>
              <a:rPr lang="zh-CN" altLang="en-US" sz="1800" dirty="0" smtClean="0">
                <a:latin typeface="+mn-lt"/>
                <a:ea typeface="+mn-ea"/>
                <a:cs typeface="+mn-ea"/>
                <a:sym typeface="+mn-lt"/>
              </a:rPr>
              <a:t>表达方式，</a:t>
            </a:r>
            <a:r>
              <a:rPr lang="en-US" altLang="zh-CN" sz="1800" dirty="0" smtClean="0">
                <a:latin typeface="+mn-lt"/>
                <a:ea typeface="+mn-ea"/>
                <a:cs typeface="+mn-ea"/>
                <a:sym typeface="+mn-lt"/>
              </a:rPr>
              <a:t>W3C</a:t>
            </a:r>
            <a:r>
              <a:rPr lang="zh-CN" altLang="en-US" sz="1800" dirty="0" smtClean="0">
                <a:latin typeface="+mn-lt"/>
                <a:ea typeface="+mn-ea"/>
                <a:cs typeface="+mn-ea"/>
                <a:sym typeface="+mn-lt"/>
              </a:rPr>
              <a:t>提出资源描述框架 </a:t>
            </a:r>
            <a:r>
              <a:rPr lang="en-US" altLang="zh-CN" sz="1800" dirty="0" smtClean="0">
                <a:latin typeface="+mn-lt"/>
                <a:ea typeface="+mn-ea"/>
                <a:cs typeface="+mn-ea"/>
                <a:sym typeface="+mn-lt"/>
              </a:rPr>
              <a:t>(Resource Description Framework</a:t>
            </a:r>
            <a:r>
              <a:rPr lang="zh-CN" altLang="en-US" sz="1800" dirty="0" smtClean="0">
                <a:latin typeface="+mn-lt"/>
                <a:ea typeface="+mn-ea"/>
                <a:cs typeface="+mn-ea"/>
                <a:sym typeface="+mn-lt"/>
              </a:rPr>
              <a:t>，</a:t>
            </a:r>
            <a:r>
              <a:rPr lang="en-US" altLang="zh-CN" sz="1800" dirty="0" smtClean="0">
                <a:latin typeface="+mn-lt"/>
                <a:ea typeface="+mn-ea"/>
                <a:cs typeface="+mn-ea"/>
                <a:sym typeface="+mn-lt"/>
              </a:rPr>
              <a:t>RDF) </a:t>
            </a:r>
            <a:r>
              <a:rPr lang="zh-CN" altLang="en-US" sz="1800" dirty="0" smtClean="0">
                <a:latin typeface="+mn-lt"/>
                <a:ea typeface="+mn-ea"/>
                <a:cs typeface="+mn-ea"/>
                <a:sym typeface="+mn-lt"/>
              </a:rPr>
              <a:t>来描述和注解互联网资源；</a:t>
            </a:r>
            <a:endParaRPr lang="en-US" altLang="zh-CN" sz="1800" dirty="0" smtClean="0">
              <a:latin typeface="+mn-lt"/>
              <a:ea typeface="+mn-ea"/>
              <a:cs typeface="+mn-ea"/>
              <a:sym typeface="+mn-lt"/>
            </a:endParaRPr>
          </a:p>
          <a:p>
            <a:pPr lvl="1"/>
            <a:r>
              <a:rPr lang="en-US" altLang="zh-CN" sz="1800" dirty="0" smtClean="0">
                <a:latin typeface="+mn-lt"/>
                <a:ea typeface="+mn-ea"/>
                <a:cs typeface="+mn-ea"/>
                <a:sym typeface="+mn-lt"/>
              </a:rPr>
              <a:t>RDF</a:t>
            </a:r>
            <a:r>
              <a:rPr lang="zh-CN" altLang="en-US" sz="1800" dirty="0" smtClean="0">
                <a:latin typeface="+mn-lt"/>
                <a:ea typeface="+mn-ea"/>
                <a:cs typeface="+mn-ea"/>
                <a:sym typeface="+mn-lt"/>
              </a:rPr>
              <a:t>是描述互联网资源的标记语言，结构为（主语，谓词，宾语）；</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主要用于语义网、知识库的基础数据模型，是当前知识图谱技术的基石。</a:t>
            </a:r>
            <a:endParaRPr lang="en-US" altLang="zh-CN" sz="1800" dirty="0" smtClean="0">
              <a:latin typeface="+mn-lt"/>
              <a:ea typeface="+mn-ea"/>
              <a:cs typeface="+mn-ea"/>
              <a:sym typeface="+mn-lt"/>
            </a:endParaRPr>
          </a:p>
          <a:p>
            <a:pPr lvl="1"/>
            <a:endParaRPr lang="en-US" altLang="zh-CN"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管理技术的新挑战</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6307749" cy="4680000"/>
          </a:xfrm>
          <a:ln>
            <a:solidFill>
              <a:schemeClr val="bg1"/>
            </a:solidFill>
          </a:ln>
        </p:spPr>
        <p:txBody>
          <a:bodyPr>
            <a:noAutofit/>
          </a:bodyPr>
          <a:lstStyle/>
          <a:p>
            <a:r>
              <a:rPr lang="zh-CN" altLang="en-US" sz="1600" dirty="0" smtClean="0">
                <a:latin typeface="+mn-lt"/>
                <a:ea typeface="+mn-ea"/>
                <a:cs typeface="+mn-ea"/>
                <a:sym typeface="+mn-lt"/>
              </a:rPr>
              <a:t>高度可扩展性和可伸缩性</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随着数据获取手段的自动化，多样化和智能化，导致数据量急剧增大。</a:t>
            </a:r>
            <a:endParaRPr lang="en-US" altLang="zh-CN" sz="1400" dirty="0" smtClean="0">
              <a:latin typeface="+mn-lt"/>
              <a:ea typeface="+mn-ea"/>
              <a:cs typeface="+mn-ea"/>
              <a:sym typeface="+mn-lt"/>
            </a:endParaRPr>
          </a:p>
          <a:p>
            <a:r>
              <a:rPr lang="zh-CN" altLang="en-US" sz="1600" dirty="0" smtClean="0">
                <a:latin typeface="+mn-lt"/>
                <a:ea typeface="+mn-ea"/>
                <a:cs typeface="+mn-ea"/>
                <a:sym typeface="+mn-lt"/>
              </a:rPr>
              <a:t>数据类型多样和异构处理能力</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结构化数据到半结构化</a:t>
            </a:r>
            <a:r>
              <a:rPr lang="en-US" altLang="zh-CN" sz="1400" dirty="0" smtClean="0">
                <a:latin typeface="+mn-lt"/>
                <a:ea typeface="+mn-ea"/>
                <a:cs typeface="+mn-ea"/>
                <a:sym typeface="+mn-lt"/>
              </a:rPr>
              <a:t>/</a:t>
            </a:r>
            <a:r>
              <a:rPr lang="zh-CN" altLang="en-US" sz="1400" dirty="0" smtClean="0">
                <a:latin typeface="+mn-lt"/>
                <a:ea typeface="+mn-ea"/>
                <a:cs typeface="+mn-ea"/>
                <a:sym typeface="+mn-lt"/>
              </a:rPr>
              <a:t>非结构化数据；</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文本到图形图像，音频视频等多媒体数据；</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流数据、队列数据。</a:t>
            </a:r>
            <a:endParaRPr lang="en-US" altLang="zh-CN" sz="1400" dirty="0" smtClean="0">
              <a:latin typeface="+mn-lt"/>
              <a:ea typeface="+mn-ea"/>
              <a:cs typeface="+mn-ea"/>
              <a:sym typeface="+mn-lt"/>
            </a:endParaRPr>
          </a:p>
          <a:p>
            <a:r>
              <a:rPr lang="zh-CN" altLang="en-US" sz="1600" dirty="0">
                <a:latin typeface="+mn-lt"/>
                <a:ea typeface="+mn-ea"/>
                <a:cs typeface="+mn-ea"/>
                <a:sym typeface="+mn-lt"/>
              </a:rPr>
              <a:t>数据处理时效性要求</a:t>
            </a:r>
            <a:endParaRPr lang="en-US" altLang="zh-CN" sz="1600" dirty="0">
              <a:latin typeface="+mn-lt"/>
              <a:ea typeface="+mn-ea"/>
              <a:cs typeface="+mn-ea"/>
              <a:sym typeface="+mn-lt"/>
            </a:endParaRPr>
          </a:p>
          <a:p>
            <a:pPr lvl="1"/>
            <a:r>
              <a:rPr lang="zh-CN" altLang="en-US" sz="1400" dirty="0">
                <a:latin typeface="+mn-lt"/>
                <a:ea typeface="+mn-ea"/>
                <a:cs typeface="+mn-ea"/>
                <a:sym typeface="+mn-lt"/>
              </a:rPr>
              <a:t>传感、</a:t>
            </a:r>
            <a:r>
              <a:rPr lang="zh-CN" altLang="en-US" sz="1400" dirty="0" smtClean="0">
                <a:latin typeface="+mn-lt"/>
                <a:ea typeface="+mn-ea"/>
                <a:cs typeface="+mn-ea"/>
                <a:sym typeface="+mn-lt"/>
              </a:rPr>
              <a:t>网络和</a:t>
            </a:r>
            <a:r>
              <a:rPr lang="zh-CN" altLang="en-US" sz="1400" dirty="0">
                <a:latin typeface="+mn-lt"/>
                <a:ea typeface="+mn-ea"/>
                <a:cs typeface="+mn-ea"/>
                <a:sym typeface="+mn-lt"/>
              </a:rPr>
              <a:t>通信</a:t>
            </a:r>
            <a:r>
              <a:rPr lang="zh-CN" altLang="en-US" sz="1400" dirty="0" smtClean="0">
                <a:latin typeface="+mn-lt"/>
                <a:ea typeface="+mn-ea"/>
                <a:cs typeface="+mn-ea"/>
                <a:sym typeface="+mn-lt"/>
              </a:rPr>
              <a:t>技术发展</a:t>
            </a:r>
            <a:r>
              <a:rPr lang="zh-CN" altLang="en-US" sz="1400" dirty="0">
                <a:latin typeface="+mn-lt"/>
                <a:ea typeface="+mn-ea"/>
                <a:cs typeface="+mn-ea"/>
                <a:sym typeface="+mn-lt"/>
              </a:rPr>
              <a:t>对于数据快速流入和处理，实时性方面提出了更</a:t>
            </a:r>
            <a:r>
              <a:rPr lang="zh-CN" altLang="en-US" sz="1400" dirty="0" smtClean="0">
                <a:latin typeface="+mn-lt"/>
                <a:ea typeface="+mn-ea"/>
                <a:cs typeface="+mn-ea"/>
                <a:sym typeface="+mn-lt"/>
              </a:rPr>
              <a:t>高要求。</a:t>
            </a:r>
            <a:endParaRPr lang="en-US" altLang="zh-CN" sz="1400" dirty="0" smtClean="0">
              <a:latin typeface="+mn-lt"/>
              <a:ea typeface="+mn-ea"/>
              <a:cs typeface="+mn-ea"/>
              <a:sym typeface="+mn-lt"/>
            </a:endParaRPr>
          </a:p>
          <a:p>
            <a:r>
              <a:rPr lang="zh-CN" altLang="en-US" sz="1600" dirty="0">
                <a:latin typeface="+mn-lt"/>
                <a:ea typeface="+mn-ea"/>
                <a:cs typeface="+mn-ea"/>
                <a:sym typeface="+mn-lt"/>
              </a:rPr>
              <a:t>大数据时代</a:t>
            </a:r>
            <a:r>
              <a:rPr lang="zh-CN" altLang="en-US" sz="1600" dirty="0" smtClean="0">
                <a:latin typeface="+mn-lt"/>
                <a:ea typeface="+mn-ea"/>
                <a:cs typeface="+mn-ea"/>
                <a:sym typeface="+mn-lt"/>
              </a:rPr>
              <a:t>来临</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传统关系型数据库面对海量异构、形式繁杂、高速增长、价值密度低的数据问题遇到全面挑战。</a:t>
            </a:r>
            <a:endParaRPr lang="en-US" altLang="zh-CN" sz="1400" dirty="0" smtClean="0">
              <a:latin typeface="+mn-lt"/>
              <a:ea typeface="+mn-ea"/>
              <a:cs typeface="+mn-ea"/>
              <a:sym typeface="+mn-lt"/>
            </a:endParaRPr>
          </a:p>
          <a:p>
            <a:pPr lvl="1"/>
            <a:r>
              <a:rPr lang="en-US" altLang="zh-CN" sz="1400" dirty="0" smtClean="0">
                <a:latin typeface="+mn-lt"/>
                <a:ea typeface="+mn-ea"/>
                <a:cs typeface="+mn-ea"/>
                <a:sym typeface="+mn-lt"/>
              </a:rPr>
              <a:t>NoSQL</a:t>
            </a:r>
            <a:r>
              <a:rPr lang="zh-CN" altLang="en-US" sz="1400" dirty="0" smtClean="0">
                <a:latin typeface="+mn-lt"/>
                <a:ea typeface="+mn-ea"/>
                <a:cs typeface="+mn-ea"/>
                <a:sym typeface="+mn-lt"/>
              </a:rPr>
              <a:t>和</a:t>
            </a:r>
            <a:r>
              <a:rPr lang="en-US" altLang="zh-CN" sz="1400" dirty="0" err="1" smtClean="0">
                <a:latin typeface="+mn-lt"/>
                <a:ea typeface="+mn-ea"/>
                <a:cs typeface="+mn-ea"/>
                <a:sym typeface="+mn-lt"/>
              </a:rPr>
              <a:t>NewSQL</a:t>
            </a:r>
            <a:r>
              <a:rPr lang="zh-CN" altLang="en-US" sz="1400" dirty="0" smtClean="0">
                <a:latin typeface="+mn-lt"/>
                <a:ea typeface="+mn-ea"/>
                <a:cs typeface="+mn-ea"/>
                <a:sym typeface="+mn-lt"/>
              </a:rPr>
              <a:t>技术顺应大数据发展的需要，蓬勃发展。</a:t>
            </a:r>
            <a:endParaRPr lang="en-US" altLang="zh-CN" sz="14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grpSp>
        <p:nvGrpSpPr>
          <p:cNvPr id="5" name="组合 4"/>
          <p:cNvGrpSpPr/>
          <p:nvPr/>
        </p:nvGrpSpPr>
        <p:grpSpPr>
          <a:xfrm>
            <a:off x="6797787" y="1830125"/>
            <a:ext cx="4743425" cy="3932320"/>
            <a:chOff x="6797787" y="1830125"/>
            <a:chExt cx="4743425" cy="3932320"/>
          </a:xfrm>
        </p:grpSpPr>
        <p:sp>
          <p:nvSpPr>
            <p:cNvPr id="79" name="文本框 78"/>
            <p:cNvSpPr txBox="1"/>
            <p:nvPr/>
          </p:nvSpPr>
          <p:spPr bwMode="auto">
            <a:xfrm>
              <a:off x="10487241" y="2622993"/>
              <a:ext cx="936104"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smtClean="0">
                  <a:solidFill>
                    <a:srgbClr val="006699"/>
                  </a:solidFill>
                  <a:cs typeface="+mn-ea"/>
                  <a:sym typeface="+mn-lt"/>
                </a:rPr>
                <a:t>高可扩展性</a:t>
              </a:r>
              <a:endParaRPr kumimoji="1" lang="zh-CN" altLang="en-US" sz="1600" dirty="0">
                <a:solidFill>
                  <a:srgbClr val="006699"/>
                </a:solidFill>
                <a:cs typeface="+mn-ea"/>
                <a:sym typeface="+mn-lt"/>
              </a:endParaRPr>
            </a:p>
          </p:txBody>
        </p:sp>
        <p:sp>
          <p:nvSpPr>
            <p:cNvPr id="80" name="文本框 79"/>
            <p:cNvSpPr txBox="1"/>
            <p:nvPr/>
          </p:nvSpPr>
          <p:spPr bwMode="auto">
            <a:xfrm>
              <a:off x="10487241" y="3409245"/>
              <a:ext cx="936104"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smtClean="0">
                  <a:solidFill>
                    <a:srgbClr val="006699"/>
                  </a:solidFill>
                  <a:cs typeface="+mn-ea"/>
                  <a:sym typeface="+mn-lt"/>
                </a:rPr>
                <a:t>高性能</a:t>
              </a:r>
              <a:endParaRPr kumimoji="1" lang="zh-CN" altLang="en-US" sz="1600" dirty="0">
                <a:solidFill>
                  <a:srgbClr val="006699"/>
                </a:solidFill>
                <a:cs typeface="+mn-ea"/>
                <a:sym typeface="+mn-lt"/>
              </a:endParaRPr>
            </a:p>
          </p:txBody>
        </p:sp>
        <p:sp>
          <p:nvSpPr>
            <p:cNvPr id="81" name="文本框 80"/>
            <p:cNvSpPr txBox="1"/>
            <p:nvPr/>
          </p:nvSpPr>
          <p:spPr bwMode="auto">
            <a:xfrm>
              <a:off x="10471895" y="4115322"/>
              <a:ext cx="936104"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a:solidFill>
                    <a:srgbClr val="006699"/>
                  </a:solidFill>
                  <a:cs typeface="+mn-ea"/>
                  <a:sym typeface="+mn-lt"/>
                </a:rPr>
                <a:t>容错性</a:t>
              </a:r>
              <a:endParaRPr kumimoji="1" lang="zh-CN" altLang="en-US" sz="1600" dirty="0">
                <a:solidFill>
                  <a:srgbClr val="006699"/>
                </a:solidFill>
                <a:cs typeface="+mn-ea"/>
                <a:sym typeface="+mn-lt"/>
              </a:endParaRPr>
            </a:p>
          </p:txBody>
        </p:sp>
        <p:sp>
          <p:nvSpPr>
            <p:cNvPr id="82" name="文本框 81"/>
            <p:cNvSpPr txBox="1"/>
            <p:nvPr/>
          </p:nvSpPr>
          <p:spPr bwMode="auto">
            <a:xfrm>
              <a:off x="10487241" y="4864403"/>
              <a:ext cx="936104"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smtClean="0">
                  <a:solidFill>
                    <a:srgbClr val="006699"/>
                  </a:solidFill>
                  <a:cs typeface="+mn-ea"/>
                  <a:sym typeface="+mn-lt"/>
                </a:rPr>
                <a:t>高伸缩性</a:t>
              </a:r>
              <a:endParaRPr kumimoji="1" lang="zh-CN" altLang="en-US" sz="1600" dirty="0">
                <a:solidFill>
                  <a:srgbClr val="006699"/>
                </a:solidFill>
                <a:cs typeface="+mn-ea"/>
                <a:sym typeface="+mn-lt"/>
              </a:endParaRPr>
            </a:p>
          </p:txBody>
        </p:sp>
        <p:sp>
          <p:nvSpPr>
            <p:cNvPr id="54" name="文本框 53"/>
            <p:cNvSpPr txBox="1"/>
            <p:nvPr/>
          </p:nvSpPr>
          <p:spPr bwMode="auto">
            <a:xfrm>
              <a:off x="7022587" y="2451280"/>
              <a:ext cx="792088" cy="252028"/>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en-US" altLang="zh-CN" sz="1600" b="1" dirty="0" smtClean="0">
                  <a:solidFill>
                    <a:srgbClr val="C00000"/>
                  </a:solidFill>
                  <a:cs typeface="+mn-ea"/>
                  <a:sym typeface="+mn-lt"/>
                </a:rPr>
                <a:t>V</a:t>
              </a:r>
              <a:r>
                <a:rPr kumimoji="1" lang="en-US" altLang="zh-CN" sz="1600" b="1" dirty="0" smtClean="0">
                  <a:cs typeface="+mn-ea"/>
                  <a:sym typeface="+mn-lt"/>
                </a:rPr>
                <a:t>olume</a:t>
              </a:r>
              <a:endParaRPr kumimoji="1" lang="zh-CN" altLang="en-US" sz="1800" b="1" dirty="0">
                <a:cs typeface="+mn-ea"/>
                <a:sym typeface="+mn-lt"/>
              </a:endParaRPr>
            </a:p>
          </p:txBody>
        </p:sp>
        <p:sp>
          <p:nvSpPr>
            <p:cNvPr id="55" name="文本框 54"/>
            <p:cNvSpPr txBox="1"/>
            <p:nvPr/>
          </p:nvSpPr>
          <p:spPr bwMode="auto">
            <a:xfrm>
              <a:off x="7022587" y="3081664"/>
              <a:ext cx="792088"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en-US" altLang="zh-CN" sz="1600" b="1" dirty="0" smtClean="0">
                  <a:solidFill>
                    <a:srgbClr val="C00000"/>
                  </a:solidFill>
                  <a:cs typeface="+mn-ea"/>
                  <a:sym typeface="+mn-lt"/>
                </a:rPr>
                <a:t>V</a:t>
              </a:r>
              <a:r>
                <a:rPr kumimoji="1" lang="en-US" altLang="zh-CN" sz="1600" b="1" dirty="0" smtClean="0">
                  <a:cs typeface="+mn-ea"/>
                  <a:sym typeface="+mn-lt"/>
                </a:rPr>
                <a:t>ariety</a:t>
              </a:r>
              <a:endParaRPr kumimoji="1" lang="zh-CN" altLang="en-US" sz="1800" b="1" dirty="0">
                <a:cs typeface="+mn-ea"/>
                <a:sym typeface="+mn-lt"/>
              </a:endParaRPr>
            </a:p>
          </p:txBody>
        </p:sp>
        <p:sp>
          <p:nvSpPr>
            <p:cNvPr id="56" name="文本框 55"/>
            <p:cNvSpPr txBox="1"/>
            <p:nvPr/>
          </p:nvSpPr>
          <p:spPr bwMode="auto">
            <a:xfrm>
              <a:off x="7022587" y="5140009"/>
              <a:ext cx="882011"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en-US" altLang="zh-CN" sz="1600" b="1" dirty="0" smtClean="0">
                  <a:solidFill>
                    <a:srgbClr val="C00000"/>
                  </a:solidFill>
                  <a:cs typeface="+mn-ea"/>
                  <a:sym typeface="+mn-lt"/>
                </a:rPr>
                <a:t>V</a:t>
              </a:r>
              <a:r>
                <a:rPr kumimoji="1" lang="en-US" altLang="zh-CN" sz="1600" b="1" dirty="0" smtClean="0">
                  <a:cs typeface="+mn-ea"/>
                  <a:sym typeface="+mn-lt"/>
                </a:rPr>
                <a:t>eracity</a:t>
              </a:r>
              <a:endParaRPr kumimoji="1" lang="zh-CN" altLang="en-US" sz="1800" b="1" dirty="0">
                <a:cs typeface="+mn-ea"/>
                <a:sym typeface="+mn-lt"/>
              </a:endParaRPr>
            </a:p>
          </p:txBody>
        </p:sp>
        <p:sp>
          <p:nvSpPr>
            <p:cNvPr id="57" name="文本框 56"/>
            <p:cNvSpPr txBox="1"/>
            <p:nvPr/>
          </p:nvSpPr>
          <p:spPr bwMode="auto">
            <a:xfrm>
              <a:off x="7022587" y="4448113"/>
              <a:ext cx="882011" cy="249125"/>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en-US" altLang="zh-CN" sz="1600" b="1" dirty="0" smtClean="0">
                  <a:solidFill>
                    <a:srgbClr val="C00000"/>
                  </a:solidFill>
                  <a:cs typeface="+mn-ea"/>
                  <a:sym typeface="+mn-lt"/>
                </a:rPr>
                <a:t>V</a:t>
              </a:r>
              <a:r>
                <a:rPr kumimoji="1" lang="en-US" altLang="zh-CN" sz="1600" b="1" dirty="0" smtClean="0">
                  <a:cs typeface="+mn-ea"/>
                  <a:sym typeface="+mn-lt"/>
                </a:rPr>
                <a:t>elocity</a:t>
              </a:r>
              <a:endParaRPr kumimoji="1" lang="zh-CN" altLang="en-US" sz="1800" b="1" dirty="0">
                <a:cs typeface="+mn-ea"/>
                <a:sym typeface="+mn-lt"/>
              </a:endParaRPr>
            </a:p>
          </p:txBody>
        </p:sp>
        <p:sp>
          <p:nvSpPr>
            <p:cNvPr id="75" name="文本框 74"/>
            <p:cNvSpPr txBox="1"/>
            <p:nvPr/>
          </p:nvSpPr>
          <p:spPr bwMode="auto">
            <a:xfrm>
              <a:off x="7161913" y="2730715"/>
              <a:ext cx="469282"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a:cs typeface="+mn-ea"/>
                  <a:sym typeface="+mn-lt"/>
                </a:rPr>
                <a:t>数量</a:t>
              </a:r>
              <a:endParaRPr kumimoji="1" lang="zh-CN" altLang="en-US" sz="1600" dirty="0">
                <a:cs typeface="+mn-ea"/>
                <a:sym typeface="+mn-lt"/>
              </a:endParaRPr>
            </a:p>
          </p:txBody>
        </p:sp>
        <p:sp>
          <p:nvSpPr>
            <p:cNvPr id="76" name="文本框 75"/>
            <p:cNvSpPr txBox="1"/>
            <p:nvPr/>
          </p:nvSpPr>
          <p:spPr bwMode="auto">
            <a:xfrm>
              <a:off x="7089905" y="3352332"/>
              <a:ext cx="61329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a:cs typeface="+mn-ea"/>
                  <a:sym typeface="+mn-lt"/>
                </a:rPr>
                <a:t>多样性</a:t>
              </a:r>
              <a:endParaRPr kumimoji="1" lang="zh-CN" altLang="en-US" sz="1600" dirty="0">
                <a:cs typeface="+mn-ea"/>
                <a:sym typeface="+mn-lt"/>
              </a:endParaRPr>
            </a:p>
          </p:txBody>
        </p:sp>
        <p:sp>
          <p:nvSpPr>
            <p:cNvPr id="77" name="文本框 76"/>
            <p:cNvSpPr txBox="1"/>
            <p:nvPr/>
          </p:nvSpPr>
          <p:spPr bwMode="auto">
            <a:xfrm>
              <a:off x="7111982" y="4725837"/>
              <a:ext cx="61329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a:cs typeface="+mn-ea"/>
                  <a:sym typeface="+mn-lt"/>
                </a:rPr>
                <a:t>速度</a:t>
              </a:r>
              <a:endParaRPr kumimoji="1" lang="zh-CN" altLang="en-US" sz="1600" dirty="0">
                <a:cs typeface="+mn-ea"/>
                <a:sym typeface="+mn-lt"/>
              </a:endParaRPr>
            </a:p>
          </p:txBody>
        </p:sp>
        <p:sp>
          <p:nvSpPr>
            <p:cNvPr id="78" name="文本框 77"/>
            <p:cNvSpPr txBox="1"/>
            <p:nvPr/>
          </p:nvSpPr>
          <p:spPr bwMode="auto">
            <a:xfrm>
              <a:off x="7156943" y="5384052"/>
              <a:ext cx="613298"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600" dirty="0" smtClean="0">
                  <a:cs typeface="+mn-ea"/>
                  <a:sym typeface="+mn-lt"/>
                </a:rPr>
                <a:t>真实</a:t>
              </a:r>
              <a:endParaRPr kumimoji="1" lang="zh-CN" altLang="en-US" sz="1600" dirty="0">
                <a:cs typeface="+mn-ea"/>
                <a:sym typeface="+mn-lt"/>
              </a:endParaRPr>
            </a:p>
          </p:txBody>
        </p:sp>
        <p:sp>
          <p:nvSpPr>
            <p:cNvPr id="95" name="文本框 94"/>
            <p:cNvSpPr txBox="1"/>
            <p:nvPr/>
          </p:nvSpPr>
          <p:spPr bwMode="auto">
            <a:xfrm>
              <a:off x="6797787" y="1977295"/>
              <a:ext cx="1197534"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en-US" altLang="zh-CN" b="1" dirty="0">
                  <a:solidFill>
                    <a:srgbClr val="C00000"/>
                  </a:solidFill>
                  <a:cs typeface="+mn-ea"/>
                  <a:sym typeface="+mn-lt"/>
                </a:rPr>
                <a:t>5</a:t>
              </a:r>
              <a:r>
                <a:rPr kumimoji="1" lang="en-US" altLang="zh-CN" sz="1800" b="1" dirty="0" smtClean="0">
                  <a:solidFill>
                    <a:srgbClr val="C00000"/>
                  </a:solidFill>
                  <a:cs typeface="+mn-ea"/>
                  <a:sym typeface="+mn-lt"/>
                </a:rPr>
                <a:t>V</a:t>
              </a:r>
              <a:r>
                <a:rPr kumimoji="1" lang="zh-CN" altLang="en-US" sz="1800" b="1" dirty="0" smtClean="0">
                  <a:solidFill>
                    <a:srgbClr val="C00000"/>
                  </a:solidFill>
                  <a:cs typeface="+mn-ea"/>
                  <a:sym typeface="+mn-lt"/>
                </a:rPr>
                <a:t>特性</a:t>
              </a:r>
              <a:endParaRPr kumimoji="1" lang="zh-CN" altLang="en-US" sz="2000" b="1" dirty="0">
                <a:solidFill>
                  <a:srgbClr val="C00000"/>
                </a:solidFill>
                <a:cs typeface="+mn-ea"/>
                <a:sym typeface="+mn-lt"/>
              </a:endParaRPr>
            </a:p>
          </p:txBody>
        </p:sp>
        <p:sp>
          <p:nvSpPr>
            <p:cNvPr id="96" name="流程图: 可选过程 95"/>
            <p:cNvSpPr/>
            <p:nvPr/>
          </p:nvSpPr>
          <p:spPr bwMode="auto">
            <a:xfrm>
              <a:off x="6824377" y="1881002"/>
              <a:ext cx="1195986" cy="3881443"/>
            </a:xfrm>
            <a:prstGeom prst="flowChartAlternateProcess">
              <a:avLst/>
            </a:prstGeom>
            <a:noFill/>
            <a:ln w="1905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800" dirty="0">
                <a:cs typeface="+mn-ea"/>
                <a:sym typeface="+mn-lt"/>
              </a:endParaRPr>
            </a:p>
          </p:txBody>
        </p:sp>
        <p:sp>
          <p:nvSpPr>
            <p:cNvPr id="107" name="下箭头 106"/>
            <p:cNvSpPr/>
            <p:nvPr/>
          </p:nvSpPr>
          <p:spPr bwMode="auto">
            <a:xfrm rot="16200000">
              <a:off x="8145833" y="3635598"/>
              <a:ext cx="216022" cy="241863"/>
            </a:xfrm>
            <a:prstGeom prst="downArrow">
              <a:avLst/>
            </a:prstGeom>
            <a:solidFill>
              <a:srgbClr val="990000"/>
            </a:solidFill>
            <a:ln w="9525" cap="flat" cmpd="sng" algn="ctr">
              <a:solidFill>
                <a:srgbClr val="99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rgbClr val="990000"/>
                </a:solidFill>
                <a:effectLst/>
                <a:cs typeface="+mn-ea"/>
                <a:sym typeface="+mn-lt"/>
              </a:endParaRPr>
            </a:p>
          </p:txBody>
        </p:sp>
        <p:sp>
          <p:nvSpPr>
            <p:cNvPr id="108" name="文本框 107"/>
            <p:cNvSpPr txBox="1"/>
            <p:nvPr/>
          </p:nvSpPr>
          <p:spPr bwMode="auto">
            <a:xfrm>
              <a:off x="10318636" y="1926417"/>
              <a:ext cx="1197534"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800" b="1" dirty="0" smtClean="0">
                  <a:solidFill>
                    <a:srgbClr val="006699"/>
                  </a:solidFill>
                  <a:cs typeface="+mn-ea"/>
                  <a:sym typeface="+mn-lt"/>
                </a:rPr>
                <a:t>管理需求</a:t>
              </a:r>
              <a:endParaRPr kumimoji="1" lang="zh-CN" altLang="en-US" sz="2000" b="1" dirty="0">
                <a:solidFill>
                  <a:srgbClr val="006699"/>
                </a:solidFill>
                <a:cs typeface="+mn-ea"/>
                <a:sym typeface="+mn-lt"/>
              </a:endParaRPr>
            </a:p>
          </p:txBody>
        </p:sp>
        <p:sp>
          <p:nvSpPr>
            <p:cNvPr id="109" name="流程图: 可选过程 108"/>
            <p:cNvSpPr/>
            <p:nvPr/>
          </p:nvSpPr>
          <p:spPr bwMode="auto">
            <a:xfrm>
              <a:off x="10345226" y="1830125"/>
              <a:ext cx="1195986" cy="3636786"/>
            </a:xfrm>
            <a:prstGeom prst="flowChartAlternateProcess">
              <a:avLst/>
            </a:prstGeom>
            <a:noFill/>
            <a:ln w="19050"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800" dirty="0">
                <a:cs typeface="+mn-ea"/>
                <a:sym typeface="+mn-lt"/>
              </a:endParaRPr>
            </a:p>
          </p:txBody>
        </p:sp>
        <p:sp>
          <p:nvSpPr>
            <p:cNvPr id="110" name="下箭头 109"/>
            <p:cNvSpPr/>
            <p:nvPr/>
          </p:nvSpPr>
          <p:spPr bwMode="auto">
            <a:xfrm rot="16200000">
              <a:off x="9994689" y="3611768"/>
              <a:ext cx="216022" cy="241863"/>
            </a:xfrm>
            <a:prstGeom prst="downArrow">
              <a:avLst/>
            </a:prstGeom>
            <a:solidFill>
              <a:srgbClr val="990000"/>
            </a:solidFill>
            <a:ln w="9525" cap="flat" cmpd="sng" algn="ctr">
              <a:solidFill>
                <a:srgbClr val="99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rgbClr val="990000"/>
                </a:solidFill>
                <a:effectLst/>
                <a:cs typeface="+mn-ea"/>
                <a:sym typeface="+mn-lt"/>
              </a:endParaRPr>
            </a:p>
          </p:txBody>
        </p:sp>
      </p:grpSp>
      <p:sp>
        <p:nvSpPr>
          <p:cNvPr id="70" name="文本框 69"/>
          <p:cNvSpPr txBox="1"/>
          <p:nvPr/>
        </p:nvSpPr>
        <p:spPr bwMode="auto">
          <a:xfrm>
            <a:off x="7036963" y="3786153"/>
            <a:ext cx="792088"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en-US" altLang="zh-CN" sz="1600" b="1" dirty="0" smtClean="0">
                <a:solidFill>
                  <a:srgbClr val="C00000"/>
                </a:solidFill>
                <a:cs typeface="+mn-ea"/>
                <a:sym typeface="+mn-lt"/>
              </a:rPr>
              <a:t>V</a:t>
            </a:r>
            <a:r>
              <a:rPr kumimoji="1" lang="en-US" altLang="zh-CN" sz="1600" b="1" dirty="0" smtClean="0">
                <a:cs typeface="+mn-ea"/>
                <a:sym typeface="+mn-lt"/>
              </a:rPr>
              <a:t>alue</a:t>
            </a:r>
            <a:endParaRPr kumimoji="1" lang="zh-CN" altLang="en-US" sz="1800" b="1" dirty="0">
              <a:cs typeface="+mn-ea"/>
              <a:sym typeface="+mn-lt"/>
            </a:endParaRPr>
          </a:p>
        </p:txBody>
      </p:sp>
      <p:sp>
        <p:nvSpPr>
          <p:cNvPr id="71" name="文本框 70"/>
          <p:cNvSpPr txBox="1"/>
          <p:nvPr/>
        </p:nvSpPr>
        <p:spPr bwMode="auto">
          <a:xfrm>
            <a:off x="7104281" y="4056821"/>
            <a:ext cx="61329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dirty="0">
                <a:cs typeface="+mn-ea"/>
                <a:sym typeface="+mn-lt"/>
              </a:rPr>
              <a:t>价值</a:t>
            </a:r>
            <a:endParaRPr kumimoji="1" lang="zh-CN" altLang="en-US" sz="1600" dirty="0">
              <a:cs typeface="+mn-ea"/>
              <a:sym typeface="+mn-lt"/>
            </a:endParaRPr>
          </a:p>
        </p:txBody>
      </p:sp>
      <p:sp>
        <p:nvSpPr>
          <p:cNvPr id="6" name="矩形 5"/>
          <p:cNvSpPr/>
          <p:nvPr/>
        </p:nvSpPr>
        <p:spPr>
          <a:xfrm>
            <a:off x="8355080" y="3104705"/>
            <a:ext cx="1519968" cy="1323439"/>
          </a:xfrm>
          <a:prstGeom prst="rect">
            <a:avLst/>
          </a:prstGeom>
          <a:noFill/>
        </p:spPr>
        <p:txBody>
          <a:bodyPr wrap="none" lIns="91440" tIns="45720" rIns="91440" bIns="45720">
            <a:spAutoFit/>
          </a:bodyPr>
          <a:lstStyle/>
          <a:p>
            <a:pPr algn="ctr"/>
            <a:r>
              <a:rPr lang="en-US" altLang="zh-CN" sz="4000" b="1" i="1" cap="none" spc="0" dirty="0" smtClean="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BIG</a:t>
            </a:r>
            <a:endParaRPr lang="en-US" altLang="zh-CN" sz="4000" b="1" i="1" cap="none" spc="0" dirty="0" smtClean="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a:p>
            <a:pPr algn="ctr"/>
            <a:r>
              <a:rPr lang="en-US" altLang="zh-CN" sz="4000" b="1" i="1" dirty="0" smtClean="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DATA</a:t>
            </a:r>
            <a:endParaRPr lang="zh-CN" altLang="en-US" sz="4000" b="1" i="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latin typeface="+mn-lt"/>
                <a:ea typeface="+mn-ea"/>
                <a:cs typeface="+mn-ea"/>
                <a:sym typeface="+mn-lt"/>
              </a:rPr>
              <a:t>NoSQL</a:t>
            </a:r>
            <a:r>
              <a:rPr lang="zh-CN" altLang="en-US" dirty="0" smtClean="0">
                <a:latin typeface="+mn-lt"/>
                <a:ea typeface="+mn-ea"/>
                <a:cs typeface="+mn-ea"/>
                <a:sym typeface="+mn-lt"/>
              </a:rPr>
              <a:t>技术特点和类型</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5657079" cy="4680000"/>
          </a:xfrm>
        </p:spPr>
        <p:txBody>
          <a:bodyPr>
            <a:normAutofit/>
          </a:bodyPr>
          <a:lstStyle/>
          <a:p>
            <a:r>
              <a:rPr lang="en-US" altLang="zh-CN" sz="1900" dirty="0" smtClean="0">
                <a:latin typeface="+mn-lt"/>
                <a:ea typeface="+mn-ea"/>
                <a:cs typeface="+mn-ea"/>
                <a:sym typeface="+mn-lt"/>
              </a:rPr>
              <a:t>NoSQL</a:t>
            </a:r>
            <a:r>
              <a:rPr lang="en-US" altLang="zh-CN" sz="1900" dirty="0">
                <a:latin typeface="+mn-lt"/>
                <a:ea typeface="+mn-ea"/>
                <a:cs typeface="+mn-ea"/>
                <a:sym typeface="+mn-lt"/>
              </a:rPr>
              <a:t>(</a:t>
            </a:r>
            <a:r>
              <a:rPr lang="en-US" altLang="zh-CN" sz="1900" dirty="0" smtClean="0">
                <a:solidFill>
                  <a:srgbClr val="C00000"/>
                </a:solidFill>
                <a:latin typeface="+mn-lt"/>
                <a:ea typeface="+mn-ea"/>
                <a:cs typeface="+mn-ea"/>
                <a:sym typeface="+mn-lt"/>
              </a:rPr>
              <a:t>N</a:t>
            </a:r>
            <a:r>
              <a:rPr lang="en-US" altLang="zh-CN" sz="1900" dirty="0" smtClean="0">
                <a:latin typeface="+mn-lt"/>
                <a:ea typeface="+mn-ea"/>
                <a:cs typeface="+mn-ea"/>
                <a:sym typeface="+mn-lt"/>
              </a:rPr>
              <a:t>ot </a:t>
            </a:r>
            <a:r>
              <a:rPr lang="en-US" altLang="zh-CN" sz="1900" dirty="0" smtClean="0">
                <a:solidFill>
                  <a:srgbClr val="C00000"/>
                </a:solidFill>
                <a:latin typeface="+mn-lt"/>
                <a:ea typeface="+mn-ea"/>
                <a:cs typeface="+mn-ea"/>
                <a:sym typeface="+mn-lt"/>
              </a:rPr>
              <a:t>O</a:t>
            </a:r>
            <a:r>
              <a:rPr lang="en-US" altLang="zh-CN" sz="1900" dirty="0" smtClean="0">
                <a:latin typeface="+mn-lt"/>
                <a:ea typeface="+mn-ea"/>
                <a:cs typeface="+mn-ea"/>
                <a:sym typeface="+mn-lt"/>
              </a:rPr>
              <a:t>nly </a:t>
            </a:r>
            <a:r>
              <a:rPr lang="en-US" altLang="zh-CN" sz="1900" dirty="0" smtClean="0">
                <a:solidFill>
                  <a:srgbClr val="C00000"/>
                </a:solidFill>
                <a:latin typeface="+mn-lt"/>
                <a:ea typeface="+mn-ea"/>
                <a:cs typeface="+mn-ea"/>
                <a:sym typeface="+mn-lt"/>
              </a:rPr>
              <a:t>SQL</a:t>
            </a:r>
            <a:r>
              <a:rPr lang="en-US" altLang="zh-CN" sz="1900" dirty="0">
                <a:latin typeface="+mn-lt"/>
                <a:ea typeface="+mn-ea"/>
                <a:cs typeface="+mn-ea"/>
                <a:sym typeface="+mn-lt"/>
              </a:rPr>
              <a:t>)</a:t>
            </a:r>
            <a:endParaRPr lang="en-US" altLang="zh-CN" sz="1900" dirty="0" smtClean="0">
              <a:latin typeface="+mn-lt"/>
              <a:ea typeface="+mn-ea"/>
              <a:cs typeface="+mn-ea"/>
              <a:sym typeface="+mn-lt"/>
            </a:endParaRPr>
          </a:p>
          <a:p>
            <a:pPr lvl="1"/>
            <a:r>
              <a:rPr lang="zh-CN" altLang="en-US" sz="1700" dirty="0" smtClean="0">
                <a:latin typeface="+mn-lt"/>
                <a:ea typeface="+mn-ea"/>
                <a:cs typeface="+mn-ea"/>
                <a:sym typeface="+mn-lt"/>
              </a:rPr>
              <a:t>非关系型的、分布式的、不保证满足</a:t>
            </a:r>
            <a:r>
              <a:rPr lang="en-US" altLang="zh-CN" sz="1700" dirty="0" smtClean="0">
                <a:latin typeface="+mn-lt"/>
                <a:ea typeface="+mn-ea"/>
                <a:cs typeface="+mn-ea"/>
                <a:sym typeface="+mn-lt"/>
              </a:rPr>
              <a:t>ACID</a:t>
            </a:r>
            <a:r>
              <a:rPr lang="zh-CN" altLang="en-US" sz="1700" dirty="0" smtClean="0">
                <a:latin typeface="+mn-lt"/>
                <a:ea typeface="+mn-ea"/>
                <a:cs typeface="+mn-ea"/>
                <a:sym typeface="+mn-lt"/>
              </a:rPr>
              <a:t>特性的一类数据管理系统。</a:t>
            </a:r>
            <a:endParaRPr lang="en-US" altLang="zh-CN" sz="1700" dirty="0" smtClean="0">
              <a:latin typeface="+mn-lt"/>
              <a:ea typeface="+mn-ea"/>
              <a:cs typeface="+mn-ea"/>
              <a:sym typeface="+mn-lt"/>
            </a:endParaRPr>
          </a:p>
          <a:p>
            <a:r>
              <a:rPr lang="zh-CN" altLang="en-US" sz="1900" dirty="0" smtClean="0">
                <a:latin typeface="+mn-lt"/>
                <a:ea typeface="+mn-ea"/>
                <a:cs typeface="+mn-ea"/>
                <a:sym typeface="+mn-lt"/>
              </a:rPr>
              <a:t>技术特点</a:t>
            </a:r>
            <a:endParaRPr lang="en-US" altLang="zh-CN" sz="1900" dirty="0" smtClean="0">
              <a:latin typeface="+mn-lt"/>
              <a:ea typeface="+mn-ea"/>
              <a:cs typeface="+mn-ea"/>
              <a:sym typeface="+mn-lt"/>
            </a:endParaRPr>
          </a:p>
          <a:p>
            <a:pPr lvl="1"/>
            <a:r>
              <a:rPr lang="zh-CN" altLang="en-US" sz="1700" dirty="0">
                <a:latin typeface="+mn-lt"/>
                <a:ea typeface="+mn-ea"/>
                <a:cs typeface="+mn-ea"/>
                <a:sym typeface="+mn-lt"/>
              </a:rPr>
              <a:t>对数据进行</a:t>
            </a:r>
            <a:r>
              <a:rPr lang="zh-CN" altLang="en-US" sz="1700" dirty="0" smtClean="0">
                <a:latin typeface="+mn-lt"/>
                <a:ea typeface="+mn-ea"/>
                <a:cs typeface="+mn-ea"/>
                <a:sym typeface="+mn-lt"/>
              </a:rPr>
              <a:t>分区</a:t>
            </a:r>
            <a:r>
              <a:rPr lang="en-US" altLang="zh-CN" sz="1700" dirty="0" smtClean="0">
                <a:latin typeface="+mn-lt"/>
                <a:ea typeface="+mn-ea"/>
                <a:cs typeface="+mn-ea"/>
                <a:sym typeface="+mn-lt"/>
              </a:rPr>
              <a:t>(partitioning)</a:t>
            </a:r>
            <a:r>
              <a:rPr lang="zh-CN" altLang="en-US" sz="1700" dirty="0" smtClean="0">
                <a:latin typeface="+mn-lt"/>
                <a:ea typeface="+mn-ea"/>
                <a:cs typeface="+mn-ea"/>
                <a:sym typeface="+mn-lt"/>
              </a:rPr>
              <a:t>，</a:t>
            </a:r>
            <a:r>
              <a:rPr lang="zh-CN" altLang="en-US" sz="1700" dirty="0">
                <a:latin typeface="+mn-lt"/>
                <a:ea typeface="+mn-ea"/>
                <a:cs typeface="+mn-ea"/>
                <a:sym typeface="+mn-lt"/>
              </a:rPr>
              <a:t>利用大量节点并行处理获得高性能，同时能够采用横向扩展</a:t>
            </a:r>
            <a:r>
              <a:rPr lang="zh-CN" altLang="en-US" sz="1700" dirty="0" smtClean="0">
                <a:latin typeface="+mn-lt"/>
                <a:ea typeface="+mn-ea"/>
                <a:cs typeface="+mn-ea"/>
                <a:sym typeface="+mn-lt"/>
              </a:rPr>
              <a:t>方式</a:t>
            </a:r>
            <a:r>
              <a:rPr lang="en-US" altLang="zh-CN" sz="1700" dirty="0" smtClean="0">
                <a:latin typeface="+mn-lt"/>
                <a:ea typeface="+mn-ea"/>
                <a:cs typeface="+mn-ea"/>
                <a:sym typeface="+mn-lt"/>
              </a:rPr>
              <a:t>(scale out</a:t>
            </a:r>
            <a:r>
              <a:rPr lang="en-US" altLang="zh-CN" sz="1700" dirty="0">
                <a:latin typeface="+mn-lt"/>
                <a:ea typeface="+mn-ea"/>
                <a:cs typeface="+mn-ea"/>
                <a:sym typeface="+mn-lt"/>
              </a:rPr>
              <a:t>)</a:t>
            </a:r>
            <a:r>
              <a:rPr lang="zh-CN" altLang="en-US" sz="1700" dirty="0" smtClean="0">
                <a:latin typeface="+mn-lt"/>
                <a:ea typeface="+mn-ea"/>
                <a:cs typeface="+mn-ea"/>
                <a:sym typeface="+mn-lt"/>
              </a:rPr>
              <a:t>；</a:t>
            </a:r>
            <a:endParaRPr lang="en-US" altLang="zh-CN" sz="1700" dirty="0">
              <a:latin typeface="+mn-lt"/>
              <a:ea typeface="+mn-ea"/>
              <a:cs typeface="+mn-ea"/>
              <a:sym typeface="+mn-lt"/>
            </a:endParaRPr>
          </a:p>
          <a:p>
            <a:pPr lvl="1"/>
            <a:r>
              <a:rPr lang="zh-CN" altLang="en-US" sz="1700" dirty="0">
                <a:latin typeface="+mn-lt"/>
                <a:ea typeface="+mn-ea"/>
                <a:cs typeface="+mn-ea"/>
                <a:sym typeface="+mn-lt"/>
              </a:rPr>
              <a:t>降低</a:t>
            </a:r>
            <a:r>
              <a:rPr lang="en-US" altLang="zh-CN" sz="1700" dirty="0">
                <a:latin typeface="+mn-lt"/>
                <a:ea typeface="+mn-ea"/>
                <a:cs typeface="+mn-ea"/>
                <a:sym typeface="+mn-lt"/>
              </a:rPr>
              <a:t>ACID</a:t>
            </a:r>
            <a:r>
              <a:rPr lang="zh-CN" altLang="en-US" sz="1700" dirty="0">
                <a:latin typeface="+mn-lt"/>
                <a:ea typeface="+mn-ea"/>
                <a:cs typeface="+mn-ea"/>
                <a:sym typeface="+mn-lt"/>
              </a:rPr>
              <a:t>一致性约束，允许暂时不一致，接受最终一致性。</a:t>
            </a:r>
            <a:r>
              <a:rPr lang="zh-CN" altLang="en-US" sz="1700" dirty="0" smtClean="0">
                <a:latin typeface="+mn-lt"/>
                <a:ea typeface="+mn-ea"/>
                <a:cs typeface="+mn-ea"/>
                <a:sym typeface="+mn-lt"/>
              </a:rPr>
              <a:t>遵循</a:t>
            </a:r>
            <a:r>
              <a:rPr lang="en-US" altLang="zh-CN" sz="1700" dirty="0" smtClean="0">
                <a:latin typeface="+mn-lt"/>
                <a:ea typeface="+mn-ea"/>
                <a:cs typeface="+mn-ea"/>
                <a:sym typeface="+mn-lt"/>
              </a:rPr>
              <a:t>CAP</a:t>
            </a:r>
            <a:r>
              <a:rPr lang="zh-CN" altLang="en-US" sz="1700" dirty="0" smtClean="0">
                <a:latin typeface="+mn-lt"/>
                <a:ea typeface="+mn-ea"/>
                <a:cs typeface="+mn-ea"/>
                <a:sym typeface="+mn-lt"/>
              </a:rPr>
              <a:t>理论和</a:t>
            </a:r>
            <a:r>
              <a:rPr lang="en-US" altLang="zh-CN" sz="1700" dirty="0" smtClean="0">
                <a:latin typeface="+mn-lt"/>
                <a:ea typeface="+mn-ea"/>
                <a:cs typeface="+mn-ea"/>
                <a:sym typeface="+mn-lt"/>
              </a:rPr>
              <a:t>BASE</a:t>
            </a:r>
            <a:r>
              <a:rPr lang="zh-CN" altLang="en-US" sz="1700" dirty="0" smtClean="0">
                <a:latin typeface="+mn-lt"/>
                <a:ea typeface="+mn-ea"/>
                <a:cs typeface="+mn-ea"/>
                <a:sym typeface="+mn-lt"/>
              </a:rPr>
              <a:t>原则</a:t>
            </a:r>
            <a:r>
              <a:rPr lang="zh-CN" altLang="en-US" sz="1700" dirty="0">
                <a:latin typeface="+mn-lt"/>
                <a:ea typeface="+mn-ea"/>
                <a:cs typeface="+mn-ea"/>
                <a:sym typeface="+mn-lt"/>
              </a:rPr>
              <a:t>；</a:t>
            </a:r>
            <a:endParaRPr lang="en-US" altLang="zh-CN" sz="1700" dirty="0">
              <a:latin typeface="+mn-lt"/>
              <a:ea typeface="+mn-ea"/>
              <a:cs typeface="+mn-ea"/>
              <a:sym typeface="+mn-lt"/>
            </a:endParaRPr>
          </a:p>
          <a:p>
            <a:pPr lvl="1"/>
            <a:r>
              <a:rPr lang="zh-CN" altLang="en-US" sz="1700" dirty="0">
                <a:latin typeface="+mn-lt"/>
                <a:ea typeface="+mn-ea"/>
                <a:cs typeface="+mn-ea"/>
                <a:sym typeface="+mn-lt"/>
              </a:rPr>
              <a:t>各数据分区提供备份（一般是三份），应对节点故障，提高系统</a:t>
            </a:r>
            <a:r>
              <a:rPr lang="zh-CN" altLang="en-US" sz="1700" dirty="0" smtClean="0">
                <a:latin typeface="+mn-lt"/>
                <a:ea typeface="+mn-ea"/>
                <a:cs typeface="+mn-ea"/>
                <a:sym typeface="+mn-lt"/>
              </a:rPr>
              <a:t>可用性</a:t>
            </a:r>
            <a:r>
              <a:rPr lang="zh-CN" altLang="en-US" sz="1700" dirty="0">
                <a:latin typeface="+mn-lt"/>
                <a:ea typeface="+mn-ea"/>
                <a:cs typeface="+mn-ea"/>
                <a:sym typeface="+mn-lt"/>
              </a:rPr>
              <a:t>。</a:t>
            </a:r>
            <a:endParaRPr lang="en-US" altLang="zh-CN" sz="1700" dirty="0">
              <a:latin typeface="+mn-lt"/>
              <a:ea typeface="+mn-ea"/>
              <a:cs typeface="+mn-ea"/>
              <a:sym typeface="+mn-lt"/>
            </a:endParaRPr>
          </a:p>
          <a:p>
            <a:pPr lvl="1"/>
            <a:endParaRPr lang="en-US" altLang="zh-CN" dirty="0" smtClean="0">
              <a:latin typeface="+mn-lt"/>
              <a:ea typeface="+mn-ea"/>
              <a:cs typeface="+mn-ea"/>
              <a:sym typeface="+mn-lt"/>
            </a:endParaRPr>
          </a:p>
        </p:txBody>
      </p:sp>
      <p:sp>
        <p:nvSpPr>
          <p:cNvPr id="4" name="文本框 3"/>
          <p:cNvSpPr txBox="1"/>
          <p:nvPr/>
        </p:nvSpPr>
        <p:spPr bwMode="auto">
          <a:xfrm>
            <a:off x="7320136" y="1268760"/>
            <a:ext cx="3384376"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800" b="1" dirty="0">
                <a:solidFill>
                  <a:srgbClr val="006699"/>
                </a:solidFill>
                <a:cs typeface="+mn-ea"/>
                <a:sym typeface="+mn-lt"/>
              </a:rPr>
              <a:t>常见</a:t>
            </a:r>
            <a:r>
              <a:rPr kumimoji="1" lang="en-US" altLang="zh-CN" sz="1800" b="1" dirty="0" err="1" smtClean="0">
                <a:solidFill>
                  <a:srgbClr val="006699"/>
                </a:solidFill>
                <a:cs typeface="+mn-ea"/>
                <a:sym typeface="+mn-lt"/>
              </a:rPr>
              <a:t>NoSQL</a:t>
            </a:r>
            <a:r>
              <a:rPr kumimoji="1" lang="zh-CN" altLang="en-US" sz="1800" b="1" dirty="0" smtClean="0">
                <a:solidFill>
                  <a:srgbClr val="006699"/>
                </a:solidFill>
                <a:cs typeface="+mn-ea"/>
                <a:sym typeface="+mn-lt"/>
              </a:rPr>
              <a:t>数据库技术</a:t>
            </a:r>
            <a:endParaRPr kumimoji="1" lang="zh-CN" altLang="en-US" sz="2000" b="1" dirty="0">
              <a:solidFill>
                <a:srgbClr val="006699"/>
              </a:solidFill>
              <a:cs typeface="+mn-ea"/>
              <a:sym typeface="+mn-lt"/>
            </a:endParaRPr>
          </a:p>
        </p:txBody>
      </p:sp>
      <p:cxnSp>
        <p:nvCxnSpPr>
          <p:cNvPr id="6" name="Straight Connector 40"/>
          <p:cNvCxnSpPr/>
          <p:nvPr/>
        </p:nvCxnSpPr>
        <p:spPr bwMode="auto">
          <a:xfrm>
            <a:off x="9012324" y="2425466"/>
            <a:ext cx="11820" cy="2461865"/>
          </a:xfrm>
          <a:prstGeom prst="line">
            <a:avLst/>
          </a:prstGeom>
          <a:solidFill>
            <a:schemeClr val="accent1"/>
          </a:solidFill>
          <a:ln w="19050" cap="flat" cmpd="sng" algn="ctr">
            <a:solidFill>
              <a:schemeClr val="tx2">
                <a:lumMod val="60000"/>
                <a:lumOff val="40000"/>
              </a:schemeClr>
            </a:solidFill>
            <a:prstDash val="dash"/>
            <a:round/>
            <a:headEnd type="none" w="med" len="med"/>
            <a:tailEnd type="none" w="med" len="med"/>
          </a:ln>
          <a:effectLst/>
        </p:spPr>
      </p:cxnSp>
      <p:cxnSp>
        <p:nvCxnSpPr>
          <p:cNvPr id="7" name="Straight Connector 42"/>
          <p:cNvCxnSpPr/>
          <p:nvPr/>
        </p:nvCxnSpPr>
        <p:spPr bwMode="auto">
          <a:xfrm>
            <a:off x="6312024" y="3825044"/>
            <a:ext cx="4659256" cy="0"/>
          </a:xfrm>
          <a:prstGeom prst="line">
            <a:avLst/>
          </a:prstGeom>
          <a:solidFill>
            <a:schemeClr val="accent1"/>
          </a:solidFill>
          <a:ln w="19050" cap="flat" cmpd="sng" algn="ctr">
            <a:solidFill>
              <a:schemeClr val="tx2">
                <a:lumMod val="60000"/>
                <a:lumOff val="40000"/>
              </a:schemeClr>
            </a:solidFill>
            <a:prstDash val="dash"/>
            <a:round/>
            <a:headEnd type="none" w="med" len="med"/>
            <a:tailEnd type="none" w="med" len="med"/>
          </a:ln>
          <a:effectLst/>
        </p:spPr>
      </p:cxnSp>
      <p:grpSp>
        <p:nvGrpSpPr>
          <p:cNvPr id="8" name="Group 21"/>
          <p:cNvGrpSpPr/>
          <p:nvPr/>
        </p:nvGrpSpPr>
        <p:grpSpPr>
          <a:xfrm>
            <a:off x="9513736" y="2234341"/>
            <a:ext cx="1427093" cy="1458127"/>
            <a:chOff x="6801538" y="4272749"/>
            <a:chExt cx="1242060" cy="1225932"/>
          </a:xfrm>
        </p:grpSpPr>
        <p:sp>
          <p:nvSpPr>
            <p:cNvPr id="9" name="Rounded Rectangle 22"/>
            <p:cNvSpPr/>
            <p:nvPr/>
          </p:nvSpPr>
          <p:spPr>
            <a:xfrm>
              <a:off x="6801538" y="4432769"/>
              <a:ext cx="213360" cy="303912"/>
            </a:xfrm>
            <a:prstGeom prst="roundRect">
              <a:avLst/>
            </a:prstGeom>
            <a:solidFill>
              <a:schemeClr val="tx2"/>
            </a:solidFill>
            <a:ln>
              <a:no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10" name="Rounded Rectangle 23"/>
            <p:cNvSpPr/>
            <p:nvPr/>
          </p:nvSpPr>
          <p:spPr>
            <a:xfrm>
              <a:off x="6816778" y="5194769"/>
              <a:ext cx="213360" cy="303912"/>
            </a:xfrm>
            <a:prstGeom prst="roundRect">
              <a:avLst/>
            </a:prstGeom>
            <a:solidFill>
              <a:schemeClr val="tx2"/>
            </a:solidFill>
            <a:ln>
              <a:no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11" name="Rounded Rectangle 24"/>
            <p:cNvSpPr/>
            <p:nvPr/>
          </p:nvSpPr>
          <p:spPr>
            <a:xfrm>
              <a:off x="7243498" y="4272749"/>
              <a:ext cx="213360" cy="303912"/>
            </a:xfrm>
            <a:prstGeom prst="roundRect">
              <a:avLst/>
            </a:prstGeom>
            <a:solidFill>
              <a:schemeClr val="tx2"/>
            </a:solidFill>
            <a:ln>
              <a:no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12" name="Rounded Rectangle 25"/>
            <p:cNvSpPr/>
            <p:nvPr/>
          </p:nvSpPr>
          <p:spPr>
            <a:xfrm>
              <a:off x="7243498" y="4737570"/>
              <a:ext cx="213360" cy="303912"/>
            </a:xfrm>
            <a:prstGeom prst="roundRect">
              <a:avLst/>
            </a:prstGeom>
            <a:solidFill>
              <a:schemeClr val="tx2"/>
            </a:solidFill>
            <a:ln>
              <a:no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13" name="Rounded Rectangle 26"/>
            <p:cNvSpPr/>
            <p:nvPr/>
          </p:nvSpPr>
          <p:spPr>
            <a:xfrm>
              <a:off x="7830238" y="4425149"/>
              <a:ext cx="213360" cy="303912"/>
            </a:xfrm>
            <a:prstGeom prst="roundRect">
              <a:avLst/>
            </a:prstGeom>
            <a:solidFill>
              <a:schemeClr val="tx2"/>
            </a:solidFill>
            <a:ln>
              <a:no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14" name="Rounded Rectangle 27"/>
            <p:cNvSpPr/>
            <p:nvPr/>
          </p:nvSpPr>
          <p:spPr>
            <a:xfrm>
              <a:off x="7830238" y="5042370"/>
              <a:ext cx="213360" cy="303912"/>
            </a:xfrm>
            <a:prstGeom prst="roundRect">
              <a:avLst/>
            </a:prstGeom>
            <a:solidFill>
              <a:schemeClr val="tx2"/>
            </a:solidFill>
            <a:ln>
              <a:no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cxnSp>
          <p:nvCxnSpPr>
            <p:cNvPr id="15" name="Straight Arrow Connector 28"/>
            <p:cNvCxnSpPr>
              <a:stCxn id="9" idx="3"/>
            </p:cNvCxnSpPr>
            <p:nvPr/>
          </p:nvCxnSpPr>
          <p:spPr bwMode="auto">
            <a:xfrm flipV="1">
              <a:off x="7014898" y="4447566"/>
              <a:ext cx="228600" cy="13716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6" name="Straight Arrow Connector 29"/>
            <p:cNvCxnSpPr>
              <a:endCxn id="12" idx="2"/>
            </p:cNvCxnSpPr>
            <p:nvPr/>
          </p:nvCxnSpPr>
          <p:spPr bwMode="auto">
            <a:xfrm flipV="1">
              <a:off x="7014898" y="5041482"/>
              <a:ext cx="335280" cy="251905"/>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7" name="Straight Arrow Connector 30"/>
            <p:cNvCxnSpPr>
              <a:endCxn id="14" idx="1"/>
            </p:cNvCxnSpPr>
            <p:nvPr/>
          </p:nvCxnSpPr>
          <p:spPr bwMode="auto">
            <a:xfrm flipV="1">
              <a:off x="7022518" y="5194326"/>
              <a:ext cx="807720" cy="144529"/>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8" name="Straight Arrow Connector 31"/>
            <p:cNvCxnSpPr>
              <a:stCxn id="11" idx="3"/>
            </p:cNvCxnSpPr>
            <p:nvPr/>
          </p:nvCxnSpPr>
          <p:spPr bwMode="auto">
            <a:xfrm>
              <a:off x="7456858" y="4424705"/>
              <a:ext cx="373380" cy="16002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19" name="Straight Arrow Connector 32"/>
            <p:cNvCxnSpPr>
              <a:stCxn id="12" idx="3"/>
            </p:cNvCxnSpPr>
            <p:nvPr/>
          </p:nvCxnSpPr>
          <p:spPr bwMode="auto">
            <a:xfrm>
              <a:off x="7456858" y="4889526"/>
              <a:ext cx="396240" cy="209549"/>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20" name="Straight Arrow Connector 33"/>
            <p:cNvCxnSpPr>
              <a:endCxn id="10" idx="0"/>
            </p:cNvCxnSpPr>
            <p:nvPr/>
          </p:nvCxnSpPr>
          <p:spPr bwMode="auto">
            <a:xfrm>
              <a:off x="6915838" y="4691405"/>
              <a:ext cx="7620" cy="503364"/>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21" name="Straight Arrow Connector 34"/>
            <p:cNvCxnSpPr/>
            <p:nvPr/>
          </p:nvCxnSpPr>
          <p:spPr bwMode="auto">
            <a:xfrm flipV="1">
              <a:off x="7936918" y="4676415"/>
              <a:ext cx="0" cy="41123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cxnSp>
          <p:nvCxnSpPr>
            <p:cNvPr id="22" name="Straight Arrow Connector 35"/>
            <p:cNvCxnSpPr/>
            <p:nvPr/>
          </p:nvCxnSpPr>
          <p:spPr bwMode="auto">
            <a:xfrm>
              <a:off x="7342558" y="4531385"/>
              <a:ext cx="0" cy="255145"/>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p:spPr>
        </p:cxnSp>
      </p:grpSp>
      <p:sp>
        <p:nvSpPr>
          <p:cNvPr id="23" name="TextBox 37"/>
          <p:cNvSpPr txBox="1"/>
          <p:nvPr/>
        </p:nvSpPr>
        <p:spPr>
          <a:xfrm>
            <a:off x="9651259" y="1645640"/>
            <a:ext cx="981358" cy="523220"/>
          </a:xfrm>
          <a:prstGeom prst="rect">
            <a:avLst/>
          </a:prstGeom>
          <a:noFill/>
        </p:spPr>
        <p:txBody>
          <a:bodyPr wrap="none" rtlCol="0">
            <a:spAutoFit/>
          </a:bodyPr>
          <a:lstStyle/>
          <a:p>
            <a:pPr algn="ctr"/>
            <a:r>
              <a:rPr lang="en-US" sz="1400" dirty="0">
                <a:cs typeface="+mn-ea"/>
                <a:sym typeface="+mn-lt"/>
              </a:rPr>
              <a:t>Graph </a:t>
            </a:r>
            <a:r>
              <a:rPr lang="en-US" sz="1400" dirty="0" smtClean="0">
                <a:cs typeface="+mn-ea"/>
                <a:sym typeface="+mn-lt"/>
              </a:rPr>
              <a:t>DB</a:t>
            </a:r>
            <a:endParaRPr lang="en-US" sz="1400" dirty="0" smtClean="0">
              <a:cs typeface="+mn-ea"/>
              <a:sym typeface="+mn-lt"/>
            </a:endParaRPr>
          </a:p>
          <a:p>
            <a:pPr algn="ctr"/>
            <a:r>
              <a:rPr lang="zh-CN" altLang="en-US" sz="1400" dirty="0" smtClean="0">
                <a:cs typeface="+mn-ea"/>
                <a:sym typeface="+mn-lt"/>
              </a:rPr>
              <a:t>图数据库</a:t>
            </a:r>
            <a:endParaRPr lang="en-US" sz="1400" dirty="0">
              <a:cs typeface="+mn-ea"/>
              <a:sym typeface="+mn-lt"/>
            </a:endParaRPr>
          </a:p>
        </p:txBody>
      </p:sp>
      <p:sp>
        <p:nvSpPr>
          <p:cNvPr id="24" name="TextBox 38"/>
          <p:cNvSpPr txBox="1"/>
          <p:nvPr/>
        </p:nvSpPr>
        <p:spPr>
          <a:xfrm>
            <a:off x="9615191" y="3911161"/>
            <a:ext cx="1124027" cy="523220"/>
          </a:xfrm>
          <a:prstGeom prst="rect">
            <a:avLst/>
          </a:prstGeom>
          <a:noFill/>
        </p:spPr>
        <p:txBody>
          <a:bodyPr wrap="none" rtlCol="0">
            <a:spAutoFit/>
          </a:bodyPr>
          <a:lstStyle>
            <a:defPPr>
              <a:defRPr lang="zh-CN"/>
            </a:defPPr>
            <a:lvl1pPr algn="ctr">
              <a:defRPr sz="1400">
                <a:latin typeface="+mn-ea"/>
                <a:ea typeface="+mn-ea"/>
                <a:cs typeface="Arial" panose="020B0604020202020204" pitchFamily="34" charset="0"/>
              </a:defRPr>
            </a:lvl1pPr>
          </a:lstStyle>
          <a:p>
            <a:r>
              <a:rPr lang="en-US" dirty="0" smtClean="0">
                <a:latin typeface="+mn-lt"/>
                <a:cs typeface="+mn-ea"/>
                <a:sym typeface="+mn-lt"/>
              </a:rPr>
              <a:t>Document</a:t>
            </a:r>
            <a:endParaRPr lang="en-US" dirty="0" smtClean="0">
              <a:latin typeface="+mn-lt"/>
              <a:cs typeface="+mn-ea"/>
              <a:sym typeface="+mn-lt"/>
            </a:endParaRPr>
          </a:p>
          <a:p>
            <a:r>
              <a:rPr lang="zh-CN" altLang="en-US" dirty="0" smtClean="0">
                <a:latin typeface="+mn-lt"/>
                <a:cs typeface="+mn-ea"/>
                <a:sym typeface="+mn-lt"/>
              </a:rPr>
              <a:t>文档数据库</a:t>
            </a:r>
            <a:endParaRPr lang="en-US" dirty="0">
              <a:latin typeface="+mn-lt"/>
              <a:cs typeface="+mn-ea"/>
              <a:sym typeface="+mn-lt"/>
            </a:endParaRPr>
          </a:p>
        </p:txBody>
      </p:sp>
      <p:grpSp>
        <p:nvGrpSpPr>
          <p:cNvPr id="25" name="Group 119"/>
          <p:cNvGrpSpPr/>
          <p:nvPr/>
        </p:nvGrpSpPr>
        <p:grpSpPr>
          <a:xfrm>
            <a:off x="9525174" y="4487394"/>
            <a:ext cx="1401671" cy="1498685"/>
            <a:chOff x="5259576" y="4351946"/>
            <a:chExt cx="1401671" cy="1498685"/>
          </a:xfrm>
        </p:grpSpPr>
        <p:grpSp>
          <p:nvGrpSpPr>
            <p:cNvPr id="26" name="Group 112"/>
            <p:cNvGrpSpPr/>
            <p:nvPr/>
          </p:nvGrpSpPr>
          <p:grpSpPr>
            <a:xfrm>
              <a:off x="6321717" y="4351946"/>
              <a:ext cx="339530" cy="1498685"/>
              <a:chOff x="6018368" y="4351946"/>
              <a:chExt cx="339530" cy="1498685"/>
            </a:xfrm>
            <a:solidFill>
              <a:schemeClr val="bg1">
                <a:lumMod val="95000"/>
              </a:schemeClr>
            </a:solidFill>
          </p:grpSpPr>
          <p:sp>
            <p:nvSpPr>
              <p:cNvPr id="35" name="Folded Corner 44"/>
              <p:cNvSpPr/>
              <p:nvPr/>
            </p:nvSpPr>
            <p:spPr>
              <a:xfrm flipV="1">
                <a:off x="6018368" y="4351946"/>
                <a:ext cx="339530" cy="394216"/>
              </a:xfrm>
              <a:prstGeom prst="foldedCorner">
                <a:avLst/>
              </a:prstGeom>
              <a:grpFill/>
              <a:ln w="28575">
                <a:solidFill>
                  <a:schemeClr val="tx1"/>
                </a:solid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36" name="Folded Corner 46"/>
              <p:cNvSpPr/>
              <p:nvPr/>
            </p:nvSpPr>
            <p:spPr>
              <a:xfrm flipV="1">
                <a:off x="6018368" y="4904181"/>
                <a:ext cx="339530" cy="394216"/>
              </a:xfrm>
              <a:prstGeom prst="foldedCorner">
                <a:avLst/>
              </a:prstGeom>
              <a:grpFill/>
              <a:ln w="28575">
                <a:solidFill>
                  <a:schemeClr val="tx1"/>
                </a:solid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37" name="Folded Corner 47"/>
              <p:cNvSpPr/>
              <p:nvPr/>
            </p:nvSpPr>
            <p:spPr>
              <a:xfrm flipV="1">
                <a:off x="6018368" y="5456415"/>
                <a:ext cx="339530" cy="394216"/>
              </a:xfrm>
              <a:prstGeom prst="foldedCorner">
                <a:avLst/>
              </a:prstGeom>
              <a:grpFill/>
              <a:ln w="28575">
                <a:solidFill>
                  <a:schemeClr val="tx1"/>
                </a:solid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grpSp>
        <p:grpSp>
          <p:nvGrpSpPr>
            <p:cNvPr id="27" name="Group 48"/>
            <p:cNvGrpSpPr/>
            <p:nvPr/>
          </p:nvGrpSpPr>
          <p:grpSpPr>
            <a:xfrm>
              <a:off x="5259576" y="4491113"/>
              <a:ext cx="320698" cy="1220349"/>
              <a:chOff x="5037724" y="4362173"/>
              <a:chExt cx="320698" cy="1585560"/>
            </a:xfrm>
          </p:grpSpPr>
          <p:sp>
            <p:nvSpPr>
              <p:cNvPr id="32" name="Rectangle 45"/>
              <p:cNvSpPr/>
              <p:nvPr/>
            </p:nvSpPr>
            <p:spPr>
              <a:xfrm>
                <a:off x="5037724" y="4362173"/>
                <a:ext cx="320698" cy="439872"/>
              </a:xfrm>
              <a:prstGeom prst="rect">
                <a:avLst/>
              </a:prstGeom>
              <a:solidFill>
                <a:schemeClr val="bg1"/>
              </a:solidFill>
              <a:ln w="28575">
                <a:solidFill>
                  <a:schemeClr val="tx1"/>
                </a:solid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33" name="Rectangle 49"/>
              <p:cNvSpPr/>
              <p:nvPr/>
            </p:nvSpPr>
            <p:spPr>
              <a:xfrm>
                <a:off x="5037724" y="4935018"/>
                <a:ext cx="320698" cy="439872"/>
              </a:xfrm>
              <a:prstGeom prst="rect">
                <a:avLst/>
              </a:prstGeom>
              <a:solidFill>
                <a:schemeClr val="bg1"/>
              </a:solidFill>
              <a:ln w="28575">
                <a:solidFill>
                  <a:schemeClr val="tx1"/>
                </a:solid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sp>
            <p:nvSpPr>
              <p:cNvPr id="34" name="Rectangle 50"/>
              <p:cNvSpPr/>
              <p:nvPr/>
            </p:nvSpPr>
            <p:spPr>
              <a:xfrm>
                <a:off x="5037724" y="5507861"/>
                <a:ext cx="320698" cy="439872"/>
              </a:xfrm>
              <a:prstGeom prst="rect">
                <a:avLst/>
              </a:prstGeom>
              <a:solidFill>
                <a:schemeClr val="bg1"/>
              </a:solidFill>
              <a:ln w="28575">
                <a:solidFill>
                  <a:schemeClr val="tx1"/>
                </a:solidFill>
              </a:ln>
            </p:spPr>
            <p:txBody>
              <a:bodyPr rot="0" spcFirstLastPara="0" vertOverflow="overflow" horzOverflow="overflow" vert="horz" wrap="square" lIns="91440" tIns="45720" rIns="91440" bIns="45720" numCol="1" spcCol="0" rtlCol="0" fromWordArt="0" anchor="ctr" anchorCtr="0" forceAA="0" compatLnSpc="1">
                <a:spAutoFit/>
              </a:bodyPr>
              <a:lstStyle/>
              <a:p>
                <a:pPr algn="ctr"/>
                <a:endParaRPr lang="en-US" sz="1600" dirty="0">
                  <a:cs typeface="+mn-ea"/>
                  <a:sym typeface="+mn-lt"/>
                </a:endParaRPr>
              </a:p>
            </p:txBody>
          </p:sp>
        </p:grpSp>
        <p:grpSp>
          <p:nvGrpSpPr>
            <p:cNvPr id="28" name="Group 113"/>
            <p:cNvGrpSpPr/>
            <p:nvPr/>
          </p:nvGrpSpPr>
          <p:grpSpPr>
            <a:xfrm>
              <a:off x="5580274" y="4603997"/>
              <a:ext cx="741443" cy="994582"/>
              <a:chOff x="5261871" y="4549054"/>
              <a:chExt cx="741443" cy="994582"/>
            </a:xfrm>
          </p:grpSpPr>
          <p:cxnSp>
            <p:nvCxnSpPr>
              <p:cNvPr id="29" name="Straight Arrow Connector 52"/>
              <p:cNvCxnSpPr/>
              <p:nvPr/>
            </p:nvCxnSpPr>
            <p:spPr bwMode="auto">
              <a:xfrm>
                <a:off x="5261871" y="4549054"/>
                <a:ext cx="741443" cy="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cxnSp>
            <p:nvCxnSpPr>
              <p:cNvPr id="30" name="Straight Arrow Connector 54"/>
              <p:cNvCxnSpPr/>
              <p:nvPr/>
            </p:nvCxnSpPr>
            <p:spPr bwMode="auto">
              <a:xfrm>
                <a:off x="5261871" y="5046345"/>
                <a:ext cx="741443" cy="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cxnSp>
            <p:nvCxnSpPr>
              <p:cNvPr id="31" name="Straight Arrow Connector 55"/>
              <p:cNvCxnSpPr/>
              <p:nvPr/>
            </p:nvCxnSpPr>
            <p:spPr bwMode="auto">
              <a:xfrm>
                <a:off x="5261871" y="5543636"/>
                <a:ext cx="741443" cy="0"/>
              </a:xfrm>
              <a:prstGeom prst="straightConnector1">
                <a:avLst/>
              </a:prstGeom>
              <a:solidFill>
                <a:schemeClr val="accent1"/>
              </a:solidFill>
              <a:ln w="28575" cap="flat" cmpd="sng" algn="ctr">
                <a:solidFill>
                  <a:schemeClr val="tx1"/>
                </a:solidFill>
                <a:prstDash val="solid"/>
                <a:round/>
                <a:headEnd type="triangle" w="med" len="med"/>
                <a:tailEnd type="triangle" w="med" len="med"/>
              </a:ln>
              <a:effectLst/>
            </p:spPr>
          </p:cxnSp>
        </p:grpSp>
      </p:grpSp>
      <p:sp>
        <p:nvSpPr>
          <p:cNvPr id="38" name="TextBox 20"/>
          <p:cNvSpPr txBox="1"/>
          <p:nvPr/>
        </p:nvSpPr>
        <p:spPr>
          <a:xfrm>
            <a:off x="6867373" y="1537628"/>
            <a:ext cx="1082348" cy="523220"/>
          </a:xfrm>
          <a:prstGeom prst="rect">
            <a:avLst/>
          </a:prstGeom>
          <a:noFill/>
        </p:spPr>
        <p:txBody>
          <a:bodyPr wrap="none" rtlCol="0">
            <a:spAutoFit/>
          </a:bodyPr>
          <a:lstStyle>
            <a:defPPr>
              <a:defRPr lang="zh-CN"/>
            </a:defPPr>
            <a:lvl1pPr algn="ctr">
              <a:defRPr sz="1400">
                <a:latin typeface="+mn-ea"/>
                <a:ea typeface="+mn-ea"/>
                <a:cs typeface="Arial" panose="020B0604020202020204" pitchFamily="34" charset="0"/>
              </a:defRPr>
            </a:lvl1pPr>
          </a:lstStyle>
          <a:p>
            <a:r>
              <a:rPr lang="en-US" dirty="0" smtClean="0">
                <a:latin typeface="+mn-lt"/>
                <a:cs typeface="+mn-ea"/>
                <a:sym typeface="+mn-lt"/>
              </a:rPr>
              <a:t>Key-Value</a:t>
            </a:r>
            <a:endParaRPr lang="en-US" dirty="0">
              <a:latin typeface="+mn-lt"/>
              <a:cs typeface="+mn-ea"/>
              <a:sym typeface="+mn-lt"/>
            </a:endParaRPr>
          </a:p>
          <a:p>
            <a:r>
              <a:rPr lang="zh-CN" altLang="en-US" dirty="0" smtClean="0">
                <a:latin typeface="+mn-lt"/>
                <a:cs typeface="+mn-ea"/>
                <a:sym typeface="+mn-lt"/>
              </a:rPr>
              <a:t>键值数据库</a:t>
            </a:r>
            <a:endParaRPr lang="en-US" dirty="0">
              <a:latin typeface="+mn-lt"/>
              <a:cs typeface="+mn-ea"/>
              <a:sym typeface="+mn-lt"/>
            </a:endParaRPr>
          </a:p>
        </p:txBody>
      </p:sp>
      <p:sp>
        <p:nvSpPr>
          <p:cNvPr id="39" name="TextBox 39"/>
          <p:cNvSpPr txBox="1"/>
          <p:nvPr/>
        </p:nvSpPr>
        <p:spPr>
          <a:xfrm>
            <a:off x="6694117" y="3861201"/>
            <a:ext cx="1415772" cy="523220"/>
          </a:xfrm>
          <a:prstGeom prst="rect">
            <a:avLst/>
          </a:prstGeom>
          <a:noFill/>
        </p:spPr>
        <p:txBody>
          <a:bodyPr wrap="none" rtlCol="0">
            <a:spAutoFit/>
          </a:bodyPr>
          <a:lstStyle>
            <a:defPPr>
              <a:defRPr lang="zh-CN"/>
            </a:defPPr>
            <a:lvl1pPr algn="ctr">
              <a:defRPr sz="1400">
                <a:latin typeface="+mn-ea"/>
                <a:ea typeface="+mn-ea"/>
                <a:cs typeface="Arial" panose="020B0604020202020204" pitchFamily="34" charset="0"/>
              </a:defRPr>
            </a:lvl1pPr>
          </a:lstStyle>
          <a:p>
            <a:r>
              <a:rPr lang="en-US" altLang="zh-CN" dirty="0" smtClean="0">
                <a:latin typeface="+mn-lt"/>
                <a:cs typeface="+mn-ea"/>
                <a:sym typeface="+mn-lt"/>
              </a:rPr>
              <a:t>Column Family</a:t>
            </a:r>
            <a:endParaRPr lang="en-US" altLang="zh-CN" dirty="0" smtClean="0">
              <a:latin typeface="+mn-lt"/>
              <a:cs typeface="+mn-ea"/>
              <a:sym typeface="+mn-lt"/>
            </a:endParaRPr>
          </a:p>
          <a:p>
            <a:r>
              <a:rPr lang="zh-CN" altLang="en-US" dirty="0" smtClean="0">
                <a:latin typeface="+mn-lt"/>
                <a:cs typeface="+mn-ea"/>
                <a:sym typeface="+mn-lt"/>
              </a:rPr>
              <a:t>列</a:t>
            </a:r>
            <a:r>
              <a:rPr lang="zh-CN" altLang="en-US" dirty="0">
                <a:latin typeface="+mn-lt"/>
                <a:cs typeface="+mn-ea"/>
                <a:sym typeface="+mn-lt"/>
              </a:rPr>
              <a:t>式</a:t>
            </a:r>
            <a:r>
              <a:rPr lang="zh-CN" altLang="en-US" dirty="0" smtClean="0">
                <a:latin typeface="+mn-lt"/>
                <a:cs typeface="+mn-ea"/>
                <a:sym typeface="+mn-lt"/>
              </a:rPr>
              <a:t>数据库</a:t>
            </a:r>
            <a:endParaRPr lang="en-US" dirty="0">
              <a:latin typeface="+mn-lt"/>
              <a:cs typeface="+mn-ea"/>
              <a:sym typeface="+mn-lt"/>
            </a:endParaRPr>
          </a:p>
        </p:txBody>
      </p:sp>
      <p:grpSp>
        <p:nvGrpSpPr>
          <p:cNvPr id="40" name="Group 100"/>
          <p:cNvGrpSpPr/>
          <p:nvPr/>
        </p:nvGrpSpPr>
        <p:grpSpPr>
          <a:xfrm>
            <a:off x="6368393" y="4407095"/>
            <a:ext cx="2446609" cy="1750129"/>
            <a:chOff x="1760432" y="4146455"/>
            <a:chExt cx="2446609" cy="1750129"/>
          </a:xfrm>
        </p:grpSpPr>
        <p:pic>
          <p:nvPicPr>
            <p:cNvPr id="41" name="Picture 9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760432" y="4146455"/>
              <a:ext cx="2446609" cy="1750129"/>
            </a:xfrm>
            <a:prstGeom prst="rect">
              <a:avLst/>
            </a:prstGeom>
          </p:spPr>
        </p:pic>
        <p:sp>
          <p:nvSpPr>
            <p:cNvPr id="42" name="TextBox 99"/>
            <p:cNvSpPr txBox="1"/>
            <p:nvPr/>
          </p:nvSpPr>
          <p:spPr>
            <a:xfrm>
              <a:off x="2230405" y="4349692"/>
              <a:ext cx="277640" cy="276999"/>
            </a:xfrm>
            <a:prstGeom prst="rect">
              <a:avLst/>
            </a:prstGeom>
            <a:noFill/>
          </p:spPr>
          <p:txBody>
            <a:bodyPr wrap="none" rtlCol="0">
              <a:spAutoFit/>
            </a:bodyPr>
            <a:lstStyle/>
            <a:p>
              <a:r>
                <a:rPr lang="en-US" sz="1200" dirty="0" smtClean="0">
                  <a:cs typeface="+mn-ea"/>
                  <a:sym typeface="+mn-lt"/>
                </a:rPr>
                <a:t>a</a:t>
              </a:r>
              <a:endParaRPr lang="en-US" sz="1200" dirty="0" smtClean="0">
                <a:cs typeface="+mn-ea"/>
                <a:sym typeface="+mn-lt"/>
              </a:endParaRPr>
            </a:p>
          </p:txBody>
        </p:sp>
        <p:sp>
          <p:nvSpPr>
            <p:cNvPr id="43" name="TextBox 101"/>
            <p:cNvSpPr txBox="1"/>
            <p:nvPr/>
          </p:nvSpPr>
          <p:spPr>
            <a:xfrm>
              <a:off x="1864645" y="4763851"/>
              <a:ext cx="277640" cy="276999"/>
            </a:xfrm>
            <a:prstGeom prst="rect">
              <a:avLst/>
            </a:prstGeom>
            <a:noFill/>
          </p:spPr>
          <p:txBody>
            <a:bodyPr wrap="none" rtlCol="0">
              <a:spAutoFit/>
            </a:bodyPr>
            <a:lstStyle/>
            <a:p>
              <a:r>
                <a:rPr lang="en-US" sz="1200" dirty="0" smtClean="0">
                  <a:cs typeface="+mn-ea"/>
                  <a:sym typeface="+mn-lt"/>
                </a:rPr>
                <a:t>a</a:t>
              </a:r>
              <a:endParaRPr lang="en-US" sz="1200" dirty="0" smtClean="0">
                <a:cs typeface="+mn-ea"/>
                <a:sym typeface="+mn-lt"/>
              </a:endParaRPr>
            </a:p>
          </p:txBody>
        </p:sp>
        <p:sp>
          <p:nvSpPr>
            <p:cNvPr id="44" name="TextBox 102"/>
            <p:cNvSpPr txBox="1"/>
            <p:nvPr/>
          </p:nvSpPr>
          <p:spPr>
            <a:xfrm>
              <a:off x="3026698" y="4558180"/>
              <a:ext cx="277640" cy="276999"/>
            </a:xfrm>
            <a:prstGeom prst="rect">
              <a:avLst/>
            </a:prstGeom>
            <a:noFill/>
          </p:spPr>
          <p:txBody>
            <a:bodyPr wrap="none" rtlCol="0">
              <a:spAutoFit/>
            </a:bodyPr>
            <a:lstStyle/>
            <a:p>
              <a:r>
                <a:rPr lang="en-US" sz="1200" dirty="0" smtClean="0">
                  <a:cs typeface="+mn-ea"/>
                  <a:sym typeface="+mn-lt"/>
                </a:rPr>
                <a:t>a</a:t>
              </a:r>
              <a:endParaRPr lang="en-US" sz="1200" dirty="0" smtClean="0">
                <a:cs typeface="+mn-ea"/>
                <a:sym typeface="+mn-lt"/>
              </a:endParaRPr>
            </a:p>
          </p:txBody>
        </p:sp>
        <p:sp>
          <p:nvSpPr>
            <p:cNvPr id="45" name="TextBox 103"/>
            <p:cNvSpPr txBox="1"/>
            <p:nvPr/>
          </p:nvSpPr>
          <p:spPr>
            <a:xfrm>
              <a:off x="2230405" y="5170528"/>
              <a:ext cx="277640" cy="276999"/>
            </a:xfrm>
            <a:prstGeom prst="rect">
              <a:avLst/>
            </a:prstGeom>
            <a:noFill/>
          </p:spPr>
          <p:txBody>
            <a:bodyPr wrap="none" rtlCol="0">
              <a:spAutoFit/>
            </a:bodyPr>
            <a:lstStyle/>
            <a:p>
              <a:r>
                <a:rPr lang="en-US" sz="1200" dirty="0" smtClean="0">
                  <a:cs typeface="+mn-ea"/>
                  <a:sym typeface="+mn-lt"/>
                </a:rPr>
                <a:t>a</a:t>
              </a:r>
              <a:endParaRPr lang="en-US" sz="1200" dirty="0" smtClean="0">
                <a:cs typeface="+mn-ea"/>
                <a:sym typeface="+mn-lt"/>
              </a:endParaRPr>
            </a:p>
          </p:txBody>
        </p:sp>
        <p:sp>
          <p:nvSpPr>
            <p:cNvPr id="46" name="TextBox 104"/>
            <p:cNvSpPr txBox="1"/>
            <p:nvPr/>
          </p:nvSpPr>
          <p:spPr>
            <a:xfrm>
              <a:off x="2630452" y="5568880"/>
              <a:ext cx="277640" cy="276999"/>
            </a:xfrm>
            <a:prstGeom prst="rect">
              <a:avLst/>
            </a:prstGeom>
            <a:noFill/>
          </p:spPr>
          <p:txBody>
            <a:bodyPr wrap="none" rtlCol="0">
              <a:spAutoFit/>
            </a:bodyPr>
            <a:lstStyle/>
            <a:p>
              <a:r>
                <a:rPr lang="en-US" sz="1200" dirty="0" smtClean="0">
                  <a:cs typeface="+mn-ea"/>
                  <a:sym typeface="+mn-lt"/>
                </a:rPr>
                <a:t>a</a:t>
              </a:r>
              <a:endParaRPr lang="en-US" sz="1200" dirty="0" smtClean="0">
                <a:cs typeface="+mn-ea"/>
                <a:sym typeface="+mn-lt"/>
              </a:endParaRPr>
            </a:p>
          </p:txBody>
        </p:sp>
        <p:sp>
          <p:nvSpPr>
            <p:cNvPr id="47" name="TextBox 105"/>
            <p:cNvSpPr txBox="1"/>
            <p:nvPr/>
          </p:nvSpPr>
          <p:spPr>
            <a:xfrm>
              <a:off x="1861439" y="4146455"/>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sp>
          <p:nvSpPr>
            <p:cNvPr id="48" name="TextBox 106"/>
            <p:cNvSpPr txBox="1"/>
            <p:nvPr/>
          </p:nvSpPr>
          <p:spPr>
            <a:xfrm>
              <a:off x="3800182" y="4558180"/>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sp>
          <p:nvSpPr>
            <p:cNvPr id="49" name="TextBox 107"/>
            <p:cNvSpPr txBox="1"/>
            <p:nvPr/>
          </p:nvSpPr>
          <p:spPr>
            <a:xfrm>
              <a:off x="3413804" y="4760905"/>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sp>
          <p:nvSpPr>
            <p:cNvPr id="50" name="TextBox 108"/>
            <p:cNvSpPr txBox="1"/>
            <p:nvPr/>
          </p:nvSpPr>
          <p:spPr>
            <a:xfrm>
              <a:off x="2630452" y="5380876"/>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sp>
          <p:nvSpPr>
            <p:cNvPr id="51" name="TextBox 109"/>
            <p:cNvSpPr txBox="1"/>
            <p:nvPr/>
          </p:nvSpPr>
          <p:spPr>
            <a:xfrm>
              <a:off x="3013105" y="4760905"/>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sp>
          <p:nvSpPr>
            <p:cNvPr id="52" name="TextBox 110"/>
            <p:cNvSpPr txBox="1"/>
            <p:nvPr/>
          </p:nvSpPr>
          <p:spPr>
            <a:xfrm>
              <a:off x="2627246" y="4760905"/>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sp>
          <p:nvSpPr>
            <p:cNvPr id="53" name="TextBox 111"/>
            <p:cNvSpPr txBox="1"/>
            <p:nvPr/>
          </p:nvSpPr>
          <p:spPr>
            <a:xfrm>
              <a:off x="3413804" y="5380876"/>
              <a:ext cx="280846" cy="276999"/>
            </a:xfrm>
            <a:prstGeom prst="rect">
              <a:avLst/>
            </a:prstGeom>
            <a:noFill/>
          </p:spPr>
          <p:txBody>
            <a:bodyPr wrap="none" rtlCol="0">
              <a:spAutoFit/>
            </a:bodyPr>
            <a:lstStyle/>
            <a:p>
              <a:r>
                <a:rPr lang="en-US" sz="1200" dirty="0" smtClean="0">
                  <a:cs typeface="+mn-ea"/>
                  <a:sym typeface="+mn-lt"/>
                </a:rPr>
                <a:t>b</a:t>
              </a:r>
              <a:endParaRPr lang="en-US" sz="1200" dirty="0" smtClean="0">
                <a:cs typeface="+mn-ea"/>
                <a:sym typeface="+mn-lt"/>
              </a:endParaRPr>
            </a:p>
          </p:txBody>
        </p:sp>
      </p:grpSp>
      <p:cxnSp>
        <p:nvCxnSpPr>
          <p:cNvPr id="84" name="Straight Connector 4"/>
          <p:cNvCxnSpPr/>
          <p:nvPr/>
        </p:nvCxnSpPr>
        <p:spPr bwMode="auto">
          <a:xfrm>
            <a:off x="7067119" y="2328801"/>
            <a:ext cx="81464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85" name="Straight Connector 6"/>
          <p:cNvCxnSpPr/>
          <p:nvPr/>
        </p:nvCxnSpPr>
        <p:spPr bwMode="auto">
          <a:xfrm>
            <a:off x="7067118" y="2768451"/>
            <a:ext cx="81464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86" name="Straight Connector 7"/>
          <p:cNvCxnSpPr/>
          <p:nvPr/>
        </p:nvCxnSpPr>
        <p:spPr bwMode="auto">
          <a:xfrm>
            <a:off x="7067117" y="2988276"/>
            <a:ext cx="81464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87" name="Straight Connector 8"/>
          <p:cNvCxnSpPr/>
          <p:nvPr/>
        </p:nvCxnSpPr>
        <p:spPr bwMode="auto">
          <a:xfrm>
            <a:off x="7067116" y="3427926"/>
            <a:ext cx="81464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90" name="Straight Connector 11"/>
          <p:cNvCxnSpPr/>
          <p:nvPr/>
        </p:nvCxnSpPr>
        <p:spPr bwMode="auto">
          <a:xfrm>
            <a:off x="7067119" y="3208101"/>
            <a:ext cx="81464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91" name="Straight Connector 12"/>
          <p:cNvCxnSpPr/>
          <p:nvPr/>
        </p:nvCxnSpPr>
        <p:spPr bwMode="auto">
          <a:xfrm>
            <a:off x="7067124" y="2548626"/>
            <a:ext cx="81464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92" name="Straight Connector 17"/>
          <p:cNvCxnSpPr>
            <a:stCxn id="105" idx="0"/>
            <a:endCxn id="105" idx="2"/>
          </p:cNvCxnSpPr>
          <p:nvPr/>
        </p:nvCxnSpPr>
        <p:spPr bwMode="auto">
          <a:xfrm>
            <a:off x="7486150" y="2058444"/>
            <a:ext cx="0" cy="1621062"/>
          </a:xfrm>
          <a:prstGeom prst="line">
            <a:avLst/>
          </a:prstGeom>
          <a:solidFill>
            <a:schemeClr val="accent1"/>
          </a:solidFill>
          <a:ln w="28575" cap="flat" cmpd="sng" algn="ctr">
            <a:solidFill>
              <a:schemeClr val="tx1"/>
            </a:solidFill>
            <a:prstDash val="solid"/>
            <a:round/>
            <a:headEnd type="none" w="med" len="med"/>
            <a:tailEnd type="none" w="med" len="med"/>
          </a:ln>
          <a:effectLst/>
        </p:spPr>
      </p:cxnSp>
      <p:grpSp>
        <p:nvGrpSpPr>
          <p:cNvPr id="56" name="Group 121"/>
          <p:cNvGrpSpPr/>
          <p:nvPr/>
        </p:nvGrpSpPr>
        <p:grpSpPr>
          <a:xfrm>
            <a:off x="7132509" y="2058862"/>
            <a:ext cx="667836" cy="276999"/>
            <a:chOff x="2864628" y="1392381"/>
            <a:chExt cx="667836" cy="276999"/>
          </a:xfrm>
        </p:grpSpPr>
        <p:sp>
          <p:nvSpPr>
            <p:cNvPr id="81" name="TextBox 120"/>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82" name="TextBox 122"/>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grpSp>
        <p:nvGrpSpPr>
          <p:cNvPr id="57" name="Group 124"/>
          <p:cNvGrpSpPr/>
          <p:nvPr/>
        </p:nvGrpSpPr>
        <p:grpSpPr>
          <a:xfrm>
            <a:off x="7132509" y="2286967"/>
            <a:ext cx="667836" cy="276999"/>
            <a:chOff x="2864628" y="1392381"/>
            <a:chExt cx="667836" cy="276999"/>
          </a:xfrm>
        </p:grpSpPr>
        <p:sp>
          <p:nvSpPr>
            <p:cNvPr id="79" name="TextBox 125"/>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80" name="TextBox 126"/>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grpSp>
        <p:nvGrpSpPr>
          <p:cNvPr id="58" name="Group 127"/>
          <p:cNvGrpSpPr/>
          <p:nvPr/>
        </p:nvGrpSpPr>
        <p:grpSpPr>
          <a:xfrm>
            <a:off x="7132509" y="2515072"/>
            <a:ext cx="667836" cy="276999"/>
            <a:chOff x="2864628" y="1392381"/>
            <a:chExt cx="667836" cy="276999"/>
          </a:xfrm>
        </p:grpSpPr>
        <p:sp>
          <p:nvSpPr>
            <p:cNvPr id="77" name="TextBox 128"/>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78" name="TextBox 129"/>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grpSp>
        <p:nvGrpSpPr>
          <p:cNvPr id="59" name="Group 130"/>
          <p:cNvGrpSpPr/>
          <p:nvPr/>
        </p:nvGrpSpPr>
        <p:grpSpPr>
          <a:xfrm>
            <a:off x="7132509" y="2741173"/>
            <a:ext cx="667836" cy="276999"/>
            <a:chOff x="2864628" y="1392381"/>
            <a:chExt cx="667836" cy="276999"/>
          </a:xfrm>
        </p:grpSpPr>
        <p:sp>
          <p:nvSpPr>
            <p:cNvPr id="75" name="TextBox 131"/>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76" name="TextBox 132"/>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grpSp>
        <p:nvGrpSpPr>
          <p:cNvPr id="60" name="Group 133"/>
          <p:cNvGrpSpPr/>
          <p:nvPr/>
        </p:nvGrpSpPr>
        <p:grpSpPr>
          <a:xfrm>
            <a:off x="7132509" y="2967274"/>
            <a:ext cx="667836" cy="276999"/>
            <a:chOff x="2864628" y="1392381"/>
            <a:chExt cx="667836" cy="276999"/>
          </a:xfrm>
        </p:grpSpPr>
        <p:sp>
          <p:nvSpPr>
            <p:cNvPr id="73" name="TextBox 134"/>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74" name="TextBox 135"/>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grpSp>
        <p:nvGrpSpPr>
          <p:cNvPr id="61" name="Group 136"/>
          <p:cNvGrpSpPr/>
          <p:nvPr/>
        </p:nvGrpSpPr>
        <p:grpSpPr>
          <a:xfrm>
            <a:off x="7132509" y="3170812"/>
            <a:ext cx="667836" cy="276999"/>
            <a:chOff x="2864628" y="1392381"/>
            <a:chExt cx="667836" cy="276999"/>
          </a:xfrm>
        </p:grpSpPr>
        <p:sp>
          <p:nvSpPr>
            <p:cNvPr id="71" name="TextBox 137"/>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72" name="TextBox 138"/>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grpSp>
        <p:nvGrpSpPr>
          <p:cNvPr id="62" name="Group 139"/>
          <p:cNvGrpSpPr/>
          <p:nvPr/>
        </p:nvGrpSpPr>
        <p:grpSpPr>
          <a:xfrm>
            <a:off x="7132509" y="3402925"/>
            <a:ext cx="667836" cy="276999"/>
            <a:chOff x="2864628" y="1392381"/>
            <a:chExt cx="667836" cy="276999"/>
          </a:xfrm>
        </p:grpSpPr>
        <p:sp>
          <p:nvSpPr>
            <p:cNvPr id="69" name="TextBox 140"/>
            <p:cNvSpPr txBox="1"/>
            <p:nvPr/>
          </p:nvSpPr>
          <p:spPr>
            <a:xfrm>
              <a:off x="2864628" y="1392381"/>
              <a:ext cx="276038" cy="276999"/>
            </a:xfrm>
            <a:prstGeom prst="rect">
              <a:avLst/>
            </a:prstGeom>
            <a:noFill/>
          </p:spPr>
          <p:txBody>
            <a:bodyPr wrap="none" rtlCol="0">
              <a:spAutoFit/>
            </a:bodyPr>
            <a:lstStyle/>
            <a:p>
              <a:r>
                <a:rPr lang="en-US" sz="1200" dirty="0" smtClean="0">
                  <a:cs typeface="+mn-ea"/>
                  <a:sym typeface="+mn-lt"/>
                </a:rPr>
                <a:t>k</a:t>
              </a:r>
              <a:endParaRPr lang="en-US" sz="1200" dirty="0" smtClean="0">
                <a:cs typeface="+mn-ea"/>
                <a:sym typeface="+mn-lt"/>
              </a:endParaRPr>
            </a:p>
          </p:txBody>
        </p:sp>
        <p:sp>
          <p:nvSpPr>
            <p:cNvPr id="70" name="TextBox 141"/>
            <p:cNvSpPr txBox="1"/>
            <p:nvPr/>
          </p:nvSpPr>
          <p:spPr>
            <a:xfrm>
              <a:off x="3272456" y="1392381"/>
              <a:ext cx="260008" cy="276999"/>
            </a:xfrm>
            <a:prstGeom prst="rect">
              <a:avLst/>
            </a:prstGeom>
            <a:noFill/>
          </p:spPr>
          <p:txBody>
            <a:bodyPr wrap="none" rtlCol="0">
              <a:spAutoFit/>
            </a:bodyPr>
            <a:lstStyle/>
            <a:p>
              <a:r>
                <a:rPr lang="en-US" sz="1200" dirty="0" smtClean="0">
                  <a:cs typeface="+mn-ea"/>
                  <a:sym typeface="+mn-lt"/>
                </a:rPr>
                <a:t>v</a:t>
              </a:r>
              <a:endParaRPr lang="en-US" sz="1200" dirty="0" smtClean="0">
                <a:cs typeface="+mn-ea"/>
                <a:sym typeface="+mn-lt"/>
              </a:endParaRPr>
            </a:p>
          </p:txBody>
        </p:sp>
      </p:grpSp>
      <p:sp>
        <p:nvSpPr>
          <p:cNvPr id="105" name="矩形 104"/>
          <p:cNvSpPr/>
          <p:nvPr/>
        </p:nvSpPr>
        <p:spPr bwMode="auto">
          <a:xfrm>
            <a:off x="7067452" y="2058444"/>
            <a:ext cx="837395" cy="1621062"/>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主要</a:t>
            </a:r>
            <a:r>
              <a:rPr lang="en-US" altLang="zh-CN" dirty="0" err="1" smtClean="0">
                <a:latin typeface="+mn-lt"/>
                <a:ea typeface="+mn-ea"/>
                <a:cs typeface="+mn-ea"/>
                <a:sym typeface="+mn-lt"/>
              </a:rPr>
              <a:t>NoSQL</a:t>
            </a:r>
            <a:r>
              <a:rPr lang="zh-CN" altLang="en-US" dirty="0" smtClean="0">
                <a:latin typeface="+mn-lt"/>
                <a:ea typeface="+mn-ea"/>
                <a:cs typeface="+mn-ea"/>
                <a:sym typeface="+mn-lt"/>
              </a:rPr>
              <a:t>数据库简介</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2913" y="4870415"/>
            <a:ext cx="8928131" cy="1438905"/>
          </a:xfrm>
        </p:spPr>
        <p:txBody>
          <a:bodyPr>
            <a:normAutofit/>
          </a:bodyPr>
          <a:lstStyle/>
          <a:p>
            <a:r>
              <a:rPr lang="en-US" altLang="zh-CN" sz="2000" dirty="0" err="1" smtClean="0">
                <a:latin typeface="+mn-lt"/>
                <a:ea typeface="+mn-ea"/>
                <a:cs typeface="+mn-ea"/>
                <a:sym typeface="+mn-lt"/>
              </a:rPr>
              <a:t>NoSQL</a:t>
            </a:r>
            <a:r>
              <a:rPr lang="zh-CN" altLang="en-US" sz="2000" dirty="0" smtClean="0">
                <a:latin typeface="+mn-lt"/>
                <a:ea typeface="+mn-ea"/>
                <a:cs typeface="+mn-ea"/>
                <a:sym typeface="+mn-lt"/>
              </a:rPr>
              <a:t>并不是为了取代</a:t>
            </a:r>
            <a:r>
              <a:rPr lang="en-US" altLang="zh-CN" sz="2000" dirty="0" smtClean="0">
                <a:latin typeface="+mn-lt"/>
                <a:ea typeface="+mn-ea"/>
                <a:cs typeface="+mn-ea"/>
                <a:sym typeface="+mn-lt"/>
              </a:rPr>
              <a:t>RDBMS</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优势显著，缺点也较为明显</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与</a:t>
            </a:r>
            <a:r>
              <a:rPr lang="en-US" altLang="zh-CN" sz="1600" dirty="0" smtClean="0">
                <a:latin typeface="+mn-lt"/>
                <a:ea typeface="+mn-ea"/>
                <a:cs typeface="+mn-ea"/>
                <a:sym typeface="+mn-lt"/>
              </a:rPr>
              <a:t>RDBMS</a:t>
            </a:r>
            <a:r>
              <a:rPr lang="zh-CN" altLang="en-US" sz="1600" dirty="0" smtClean="0">
                <a:latin typeface="+mn-lt"/>
                <a:ea typeface="+mn-ea"/>
                <a:cs typeface="+mn-ea"/>
                <a:sym typeface="+mn-lt"/>
              </a:rPr>
              <a:t>一起构建完整的数据库生态系统</a:t>
            </a:r>
            <a:endParaRPr lang="en-US" altLang="zh-CN" sz="1600" dirty="0">
              <a:latin typeface="+mn-lt"/>
              <a:ea typeface="+mn-ea"/>
              <a:cs typeface="+mn-ea"/>
              <a:sym typeface="+mn-lt"/>
            </a:endParaRPr>
          </a:p>
        </p:txBody>
      </p:sp>
      <p:graphicFrame>
        <p:nvGraphicFramePr>
          <p:cNvPr id="17" name="表格 16"/>
          <p:cNvGraphicFramePr>
            <a:graphicFrameLocks noGrp="1"/>
          </p:cNvGraphicFramePr>
          <p:nvPr/>
        </p:nvGraphicFramePr>
        <p:xfrm>
          <a:off x="946524" y="1354116"/>
          <a:ext cx="10374468" cy="3360980"/>
        </p:xfrm>
        <a:graphic>
          <a:graphicData uri="http://schemas.openxmlformats.org/drawingml/2006/table">
            <a:tbl>
              <a:tblPr firstRow="1" bandRow="1"/>
              <a:tblGrid>
                <a:gridCol w="1305243"/>
                <a:gridCol w="1268154"/>
                <a:gridCol w="2144450"/>
                <a:gridCol w="1950559"/>
                <a:gridCol w="1911547"/>
                <a:gridCol w="1794515"/>
              </a:tblGrid>
              <a:tr h="479411">
                <a:tc>
                  <a:txBody>
                    <a:bodyPr/>
                    <a:lstStyle/>
                    <a:p>
                      <a:pPr algn="ctr"/>
                      <a:r>
                        <a:rPr lang="zh-CN" altLang="en-US" sz="1600" b="1" dirty="0" smtClean="0">
                          <a:latin typeface="+mn-lt"/>
                          <a:ea typeface="+mn-ea"/>
                          <a:cs typeface="+mn-ea"/>
                          <a:sym typeface="+mn-lt"/>
                        </a:rPr>
                        <a:t>分类</a:t>
                      </a:r>
                      <a:endParaRPr lang="zh-CN" altLang="en-US" sz="16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代表产品</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典型应用场景</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数据模型</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优点</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限制性</a:t>
                      </a:r>
                      <a:endParaRPr lang="zh-CN" altLang="en-US" sz="16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591053">
                <a:tc>
                  <a:txBody>
                    <a:bodyPr/>
                    <a:lstStyle/>
                    <a:p>
                      <a:pPr algn="ctr"/>
                      <a:r>
                        <a:rPr lang="zh-CN" altLang="en-US" sz="1400" dirty="0">
                          <a:latin typeface="+mn-lt"/>
                          <a:ea typeface="+mn-ea"/>
                          <a:cs typeface="+mn-ea"/>
                          <a:sym typeface="+mn-lt"/>
                        </a:rPr>
                        <a:t>键</a:t>
                      </a:r>
                      <a:r>
                        <a:rPr lang="zh-CN" altLang="en-US" sz="1400" dirty="0" smtClean="0">
                          <a:latin typeface="+mn-lt"/>
                          <a:ea typeface="+mn-ea"/>
                          <a:cs typeface="+mn-ea"/>
                          <a:sym typeface="+mn-lt"/>
                        </a:rPr>
                        <a:t>值数据库</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r>
                        <a:rPr lang="en-US" altLang="zh-CN" sz="1400" kern="1200" dirty="0" err="1" smtClean="0">
                          <a:solidFill>
                            <a:schemeClr val="tx1"/>
                          </a:solidFill>
                          <a:latin typeface="+mn-lt"/>
                          <a:ea typeface="+mn-ea"/>
                          <a:cs typeface="+mn-ea"/>
                          <a:sym typeface="+mn-lt"/>
                        </a:rPr>
                        <a:t>Redis</a:t>
                      </a:r>
                      <a:endParaRPr lang="en-US" altLang="zh-CN" sz="1400" kern="1200" dirty="0" smtClean="0">
                        <a:solidFill>
                          <a:schemeClr val="tx1"/>
                        </a:solidFill>
                        <a:latin typeface="+mn-lt"/>
                        <a:ea typeface="+mn-ea"/>
                        <a:cs typeface="+mn-ea"/>
                        <a:sym typeface="+mn-lt"/>
                      </a:endParaRPr>
                    </a:p>
                    <a:p>
                      <a:r>
                        <a:rPr lang="en-US" altLang="zh-CN" sz="1400" kern="1200" dirty="0" err="1" smtClean="0">
                          <a:solidFill>
                            <a:schemeClr val="tx1"/>
                          </a:solidFill>
                          <a:latin typeface="+mn-lt"/>
                          <a:ea typeface="+mn-ea"/>
                          <a:cs typeface="+mn-ea"/>
                          <a:sym typeface="+mn-lt"/>
                        </a:rPr>
                        <a:t>MemCahed</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缓存用户信息，会话信息，配置文件，购物车等</a:t>
                      </a:r>
                      <a:endParaRPr lang="zh-CN" altLang="en-US" sz="1400" kern="1200" dirty="0">
                        <a:solidFill>
                          <a:schemeClr val="tx1"/>
                        </a:solidFill>
                        <a:latin typeface="+mn-lt"/>
                        <a:ea typeface="+mn-ea"/>
                        <a:cs typeface="+mn-ea"/>
                        <a:sym typeface="+mn-lt"/>
                      </a:endParaRPr>
                    </a:p>
                  </a:txBody>
                  <a:tcPr anchor="ctr"/>
                </a:tc>
                <a:tc>
                  <a:txBody>
                    <a:bodyPr/>
                    <a:lstStyle/>
                    <a:p>
                      <a:r>
                        <a:rPr lang="en-US" altLang="zh-CN" sz="1400" kern="1200" dirty="0" smtClean="0">
                          <a:solidFill>
                            <a:schemeClr val="tx1"/>
                          </a:solidFill>
                          <a:latin typeface="+mn-lt"/>
                          <a:ea typeface="+mn-ea"/>
                          <a:cs typeface="+mn-ea"/>
                          <a:sym typeface="+mn-lt"/>
                        </a:rPr>
                        <a:t>Key</a:t>
                      </a:r>
                      <a:r>
                        <a:rPr lang="zh-CN" altLang="en-US" sz="1400" kern="1200" dirty="0" smtClean="0">
                          <a:solidFill>
                            <a:schemeClr val="tx1"/>
                          </a:solidFill>
                          <a:latin typeface="+mn-lt"/>
                          <a:ea typeface="+mn-ea"/>
                          <a:cs typeface="+mn-ea"/>
                          <a:sym typeface="+mn-lt"/>
                        </a:rPr>
                        <a:t>指向</a:t>
                      </a:r>
                      <a:r>
                        <a:rPr lang="en-US" altLang="zh-CN" sz="1400" kern="1200" dirty="0" smtClean="0">
                          <a:solidFill>
                            <a:schemeClr val="tx1"/>
                          </a:solidFill>
                          <a:latin typeface="+mn-lt"/>
                          <a:ea typeface="+mn-ea"/>
                          <a:cs typeface="+mn-ea"/>
                          <a:sym typeface="+mn-lt"/>
                        </a:rPr>
                        <a:t>Value</a:t>
                      </a:r>
                      <a:r>
                        <a:rPr lang="zh-CN" altLang="en-US" sz="1400" kern="1200" dirty="0" smtClean="0">
                          <a:solidFill>
                            <a:schemeClr val="tx1"/>
                          </a:solidFill>
                          <a:latin typeface="+mn-lt"/>
                          <a:ea typeface="+mn-ea"/>
                          <a:cs typeface="+mn-ea"/>
                          <a:sym typeface="+mn-lt"/>
                        </a:rPr>
                        <a:t>，通常基于</a:t>
                      </a:r>
                      <a:r>
                        <a:rPr lang="en-US" altLang="zh-CN" sz="1400" kern="1200" dirty="0" smtClean="0">
                          <a:solidFill>
                            <a:schemeClr val="tx1"/>
                          </a:solidFill>
                          <a:latin typeface="+mn-lt"/>
                          <a:ea typeface="+mn-ea"/>
                          <a:cs typeface="+mn-ea"/>
                          <a:sym typeface="+mn-lt"/>
                        </a:rPr>
                        <a:t>Hash table</a:t>
                      </a:r>
                      <a:r>
                        <a:rPr lang="zh-CN" altLang="en-US" sz="1400" kern="1200" dirty="0" smtClean="0">
                          <a:solidFill>
                            <a:schemeClr val="tx1"/>
                          </a:solidFill>
                          <a:latin typeface="+mn-lt"/>
                          <a:ea typeface="+mn-ea"/>
                          <a:cs typeface="+mn-ea"/>
                          <a:sym typeface="+mn-lt"/>
                        </a:rPr>
                        <a:t>实现</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查找速度快</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数据无结构化，字符串或者二进制数据</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702015">
                <a:tc>
                  <a:txBody>
                    <a:bodyPr/>
                    <a:lstStyle/>
                    <a:p>
                      <a:pPr algn="ctr"/>
                      <a:r>
                        <a:rPr lang="zh-CN" altLang="en-US" sz="1400" dirty="0" smtClean="0">
                          <a:latin typeface="+mn-lt"/>
                          <a:ea typeface="+mn-ea"/>
                          <a:cs typeface="+mn-ea"/>
                          <a:sym typeface="+mn-lt"/>
                        </a:rPr>
                        <a:t>列式数据库</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r>
                        <a:rPr lang="en-US" altLang="zh-CN" sz="1400" kern="1200" dirty="0" err="1" smtClean="0">
                          <a:solidFill>
                            <a:schemeClr val="tx1"/>
                          </a:solidFill>
                          <a:latin typeface="+mn-lt"/>
                          <a:ea typeface="+mn-ea"/>
                          <a:cs typeface="+mn-ea"/>
                          <a:sym typeface="+mn-lt"/>
                        </a:rPr>
                        <a:t>HBase</a:t>
                      </a:r>
                      <a:endParaRPr lang="en-US" altLang="zh-CN" sz="1400" kern="1200" dirty="0" smtClean="0">
                        <a:solidFill>
                          <a:schemeClr val="tx1"/>
                        </a:solidFill>
                        <a:latin typeface="+mn-lt"/>
                        <a:ea typeface="+mn-ea"/>
                        <a:cs typeface="+mn-ea"/>
                        <a:sym typeface="+mn-lt"/>
                      </a:endParaRPr>
                    </a:p>
                    <a:p>
                      <a:r>
                        <a:rPr lang="en-US" altLang="zh-CN" sz="1400" kern="1200" dirty="0" smtClean="0">
                          <a:solidFill>
                            <a:schemeClr val="tx1"/>
                          </a:solidFill>
                          <a:latin typeface="+mn-lt"/>
                          <a:ea typeface="+mn-ea"/>
                          <a:cs typeface="+mn-ea"/>
                          <a:sym typeface="+mn-lt"/>
                        </a:rPr>
                        <a:t>Cassandra</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日志</a:t>
                      </a:r>
                      <a:endParaRPr lang="en-US" altLang="zh-CN" sz="1400" kern="1200" dirty="0" smtClean="0">
                        <a:solidFill>
                          <a:schemeClr val="tx1"/>
                        </a:solidFill>
                        <a:latin typeface="+mn-lt"/>
                        <a:ea typeface="+mn-ea"/>
                        <a:cs typeface="+mn-ea"/>
                        <a:sym typeface="+mn-lt"/>
                      </a:endParaRPr>
                    </a:p>
                    <a:p>
                      <a:r>
                        <a:rPr lang="zh-CN" altLang="en-US" sz="1400" kern="1200" dirty="0" smtClean="0">
                          <a:solidFill>
                            <a:schemeClr val="tx1"/>
                          </a:solidFill>
                          <a:latin typeface="+mn-lt"/>
                          <a:ea typeface="+mn-ea"/>
                          <a:cs typeface="+mn-ea"/>
                          <a:sym typeface="+mn-lt"/>
                        </a:rPr>
                        <a:t>博客平台</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列族式存储</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查找速度快，可容易分布式扩展</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不适合随机更新，不适合做有删除和更新的实时操作</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827476">
                <a:tc>
                  <a:txBody>
                    <a:bodyPr/>
                    <a:lstStyle/>
                    <a:p>
                      <a:pPr algn="ctr"/>
                      <a:r>
                        <a:rPr lang="zh-CN" altLang="en-US" sz="1400" dirty="0">
                          <a:latin typeface="+mn-lt"/>
                          <a:ea typeface="+mn-ea"/>
                          <a:cs typeface="+mn-ea"/>
                          <a:sym typeface="+mn-lt"/>
                        </a:rPr>
                        <a:t>文档</a:t>
                      </a:r>
                      <a:r>
                        <a:rPr lang="zh-CN" altLang="en-US" sz="1400" dirty="0" smtClean="0">
                          <a:latin typeface="+mn-lt"/>
                          <a:ea typeface="+mn-ea"/>
                          <a:cs typeface="+mn-ea"/>
                          <a:sym typeface="+mn-lt"/>
                        </a:rPr>
                        <a:t>型数据库</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r>
                        <a:rPr lang="en-US" altLang="zh-CN" sz="1400" kern="1200" dirty="0" err="1" smtClean="0">
                          <a:solidFill>
                            <a:schemeClr val="tx1"/>
                          </a:solidFill>
                          <a:latin typeface="+mn-lt"/>
                          <a:ea typeface="+mn-ea"/>
                          <a:cs typeface="+mn-ea"/>
                          <a:sym typeface="+mn-lt"/>
                        </a:rPr>
                        <a:t>DouchDB</a:t>
                      </a:r>
                      <a:endParaRPr lang="en-US" altLang="zh-CN" sz="1400" kern="1200" dirty="0" smtClean="0">
                        <a:solidFill>
                          <a:schemeClr val="tx1"/>
                        </a:solidFill>
                        <a:latin typeface="+mn-lt"/>
                        <a:ea typeface="+mn-ea"/>
                        <a:cs typeface="+mn-ea"/>
                        <a:sym typeface="+mn-lt"/>
                      </a:endParaRPr>
                    </a:p>
                    <a:p>
                      <a:r>
                        <a:rPr lang="en-US" altLang="zh-CN" sz="1400" kern="1200" dirty="0" err="1" smtClean="0">
                          <a:solidFill>
                            <a:schemeClr val="tx1"/>
                          </a:solidFill>
                          <a:latin typeface="+mn-lt"/>
                          <a:ea typeface="+mn-ea"/>
                          <a:cs typeface="+mn-ea"/>
                          <a:sym typeface="+mn-lt"/>
                        </a:rPr>
                        <a:t>MongoDB</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日志，可以存储不同模式的日志信息。基于弱模式的数据分析</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和</a:t>
                      </a:r>
                      <a:r>
                        <a:rPr lang="en-US" altLang="zh-CN" sz="1400" kern="1200" dirty="0" smtClean="0">
                          <a:solidFill>
                            <a:schemeClr val="tx1"/>
                          </a:solidFill>
                          <a:latin typeface="+mn-lt"/>
                          <a:ea typeface="+mn-ea"/>
                          <a:cs typeface="+mn-ea"/>
                          <a:sym typeface="+mn-lt"/>
                        </a:rPr>
                        <a:t>K-V</a:t>
                      </a:r>
                      <a:r>
                        <a:rPr lang="zh-CN" altLang="en-US" sz="1400" kern="1200" dirty="0" smtClean="0">
                          <a:solidFill>
                            <a:schemeClr val="tx1"/>
                          </a:solidFill>
                          <a:latin typeface="+mn-lt"/>
                          <a:ea typeface="+mn-ea"/>
                          <a:cs typeface="+mn-ea"/>
                          <a:sym typeface="+mn-lt"/>
                        </a:rPr>
                        <a:t>类似，</a:t>
                      </a:r>
                      <a:r>
                        <a:rPr lang="en-US" altLang="zh-CN" sz="1400" kern="1200" dirty="0" smtClean="0">
                          <a:solidFill>
                            <a:schemeClr val="tx1"/>
                          </a:solidFill>
                          <a:latin typeface="+mn-lt"/>
                          <a:ea typeface="+mn-ea"/>
                          <a:cs typeface="+mn-ea"/>
                          <a:sym typeface="+mn-lt"/>
                        </a:rPr>
                        <a:t>Value</a:t>
                      </a:r>
                      <a:r>
                        <a:rPr lang="zh-CN" altLang="en-US" sz="1400" kern="1200" dirty="0" smtClean="0">
                          <a:solidFill>
                            <a:schemeClr val="tx1"/>
                          </a:solidFill>
                          <a:latin typeface="+mn-lt"/>
                          <a:ea typeface="+mn-ea"/>
                          <a:cs typeface="+mn-ea"/>
                          <a:sym typeface="+mn-lt"/>
                        </a:rPr>
                        <a:t>的数据结构要求不严格，无需预先定义表结构</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表结构可变，扩展性好，适合非结构化对象</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有些产品不支持事务操作</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591053">
                <a:tc>
                  <a:txBody>
                    <a:bodyPr/>
                    <a:lstStyle/>
                    <a:p>
                      <a:pPr algn="ctr"/>
                      <a:r>
                        <a:rPr lang="zh-CN" altLang="en-US" sz="1400" dirty="0" smtClean="0">
                          <a:latin typeface="+mn-lt"/>
                          <a:ea typeface="+mn-ea"/>
                          <a:cs typeface="+mn-ea"/>
                          <a:sym typeface="+mn-lt"/>
                        </a:rPr>
                        <a:t>图数据库</a:t>
                      </a:r>
                      <a:endParaRPr lang="zh-CN" altLang="en-US" sz="1400"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en-US" altLang="zh-CN" sz="1400" kern="1200" dirty="0" smtClean="0">
                          <a:solidFill>
                            <a:schemeClr val="tx1"/>
                          </a:solidFill>
                          <a:latin typeface="+mn-lt"/>
                          <a:ea typeface="+mn-ea"/>
                          <a:cs typeface="+mn-ea"/>
                          <a:sym typeface="+mn-lt"/>
                        </a:rPr>
                        <a:t>Neo4j</a:t>
                      </a:r>
                      <a:endParaRPr lang="en-US" altLang="zh-CN" sz="1400" kern="1200" dirty="0" smtClean="0">
                        <a:solidFill>
                          <a:schemeClr val="tx1"/>
                        </a:solidFill>
                        <a:latin typeface="+mn-lt"/>
                        <a:ea typeface="+mn-ea"/>
                        <a:cs typeface="+mn-ea"/>
                        <a:sym typeface="+mn-lt"/>
                      </a:endParaRPr>
                    </a:p>
                    <a:p>
                      <a:r>
                        <a:rPr lang="en-US" altLang="zh-CN" sz="1400" kern="1200" dirty="0" smtClean="0">
                          <a:solidFill>
                            <a:schemeClr val="tx1"/>
                          </a:solidFill>
                          <a:latin typeface="+mn-lt"/>
                          <a:ea typeface="+mn-ea"/>
                          <a:cs typeface="+mn-ea"/>
                          <a:sym typeface="+mn-lt"/>
                        </a:rPr>
                        <a:t>Infinite Graph</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推荐引擎</a:t>
                      </a:r>
                      <a:endParaRPr lang="en-US" altLang="zh-CN" sz="1400" kern="1200" dirty="0" smtClean="0">
                        <a:solidFill>
                          <a:schemeClr val="tx1"/>
                        </a:solidFill>
                        <a:latin typeface="+mn-lt"/>
                        <a:ea typeface="+mn-ea"/>
                        <a:cs typeface="+mn-ea"/>
                        <a:sym typeface="+mn-lt"/>
                      </a:endParaRPr>
                    </a:p>
                    <a:p>
                      <a:r>
                        <a:rPr lang="zh-CN" altLang="en-US" sz="1400" kern="1200" dirty="0" smtClean="0">
                          <a:solidFill>
                            <a:schemeClr val="tx1"/>
                          </a:solidFill>
                          <a:latin typeface="+mn-lt"/>
                          <a:ea typeface="+mn-ea"/>
                          <a:cs typeface="+mn-ea"/>
                          <a:sym typeface="+mn-lt"/>
                        </a:rPr>
                        <a:t>关系图谱</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图结构</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借助图论算法处理特定领域问题</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非图领域的应用受限</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smtClean="0">
                <a:latin typeface="+mn-lt"/>
                <a:ea typeface="+mn-ea"/>
                <a:cs typeface="+mn-ea"/>
                <a:sym typeface="+mn-lt"/>
              </a:rPr>
              <a:t>NewSQL</a:t>
            </a:r>
            <a:r>
              <a:rPr lang="zh-CN" altLang="en-US" dirty="0" smtClean="0">
                <a:latin typeface="+mn-lt"/>
                <a:ea typeface="+mn-ea"/>
                <a:cs typeface="+mn-ea"/>
                <a:sym typeface="+mn-lt"/>
              </a:rPr>
              <a:t>浅谈</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en-US" altLang="zh-CN" sz="1600" dirty="0" err="1" smtClean="0">
                <a:latin typeface="+mn-lt"/>
                <a:ea typeface="+mn-ea"/>
                <a:cs typeface="+mn-ea"/>
                <a:sym typeface="+mn-lt"/>
              </a:rPr>
              <a:t>NewSQL</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指追求</a:t>
            </a:r>
            <a:r>
              <a:rPr lang="en-US" altLang="zh-CN" sz="1400" dirty="0" err="1" smtClean="0">
                <a:latin typeface="+mn-lt"/>
                <a:ea typeface="+mn-ea"/>
                <a:cs typeface="+mn-ea"/>
                <a:sym typeface="+mn-lt"/>
              </a:rPr>
              <a:t>NoSQL</a:t>
            </a:r>
            <a:r>
              <a:rPr lang="zh-CN" altLang="en-US" sz="1400" dirty="0" smtClean="0">
                <a:latin typeface="+mn-lt"/>
                <a:ea typeface="+mn-ea"/>
                <a:cs typeface="+mn-ea"/>
                <a:sym typeface="+mn-lt"/>
              </a:rPr>
              <a:t>的可扩展性同时能够支持关系模型（包括</a:t>
            </a:r>
            <a:r>
              <a:rPr lang="en-US" altLang="zh-CN" sz="1400" dirty="0" smtClean="0">
                <a:latin typeface="+mn-lt"/>
                <a:ea typeface="+mn-ea"/>
                <a:cs typeface="+mn-ea"/>
                <a:sym typeface="+mn-lt"/>
              </a:rPr>
              <a:t>ACID</a:t>
            </a:r>
            <a:r>
              <a:rPr lang="zh-CN" altLang="en-US" sz="1400" dirty="0" smtClean="0">
                <a:latin typeface="+mn-lt"/>
                <a:ea typeface="+mn-ea"/>
                <a:cs typeface="+mn-ea"/>
                <a:sym typeface="+mn-lt"/>
              </a:rPr>
              <a:t>特性）的关系型数据库系统，主要面向</a:t>
            </a:r>
            <a:r>
              <a:rPr lang="en-US" altLang="zh-CN" sz="1400" dirty="0" smtClean="0">
                <a:latin typeface="+mn-lt"/>
                <a:ea typeface="+mn-ea"/>
                <a:cs typeface="+mn-ea"/>
                <a:sym typeface="+mn-lt"/>
              </a:rPr>
              <a:t>OLTP</a:t>
            </a:r>
            <a:r>
              <a:rPr lang="zh-CN" altLang="en-US" sz="1400" dirty="0" smtClean="0">
                <a:latin typeface="+mn-lt"/>
                <a:ea typeface="+mn-ea"/>
                <a:cs typeface="+mn-ea"/>
                <a:sym typeface="+mn-lt"/>
              </a:rPr>
              <a:t>场景。</a:t>
            </a:r>
            <a:endParaRPr lang="en-US" altLang="zh-CN" sz="1400" dirty="0" smtClean="0">
              <a:latin typeface="+mn-lt"/>
              <a:ea typeface="+mn-ea"/>
              <a:cs typeface="+mn-ea"/>
              <a:sym typeface="+mn-lt"/>
            </a:endParaRPr>
          </a:p>
          <a:p>
            <a:pPr lvl="1"/>
            <a:r>
              <a:rPr lang="zh-CN" altLang="en-US" sz="1400" dirty="0" smtClean="0">
                <a:latin typeface="+mn-lt"/>
                <a:ea typeface="+mn-ea"/>
                <a:cs typeface="+mn-ea"/>
                <a:sym typeface="+mn-lt"/>
              </a:rPr>
              <a:t>能够支持</a:t>
            </a:r>
            <a:r>
              <a:rPr lang="en-US" altLang="zh-CN" sz="1400" dirty="0" smtClean="0">
                <a:latin typeface="+mn-lt"/>
                <a:ea typeface="+mn-ea"/>
                <a:cs typeface="+mn-ea"/>
                <a:sym typeface="+mn-lt"/>
              </a:rPr>
              <a:t>SQL</a:t>
            </a:r>
            <a:r>
              <a:rPr lang="zh-CN" altLang="en-US" sz="1400" dirty="0" smtClean="0">
                <a:latin typeface="+mn-lt"/>
                <a:ea typeface="+mn-ea"/>
                <a:cs typeface="+mn-ea"/>
                <a:sym typeface="+mn-lt"/>
              </a:rPr>
              <a:t>作为主要的使用语言。</a:t>
            </a:r>
            <a:endParaRPr lang="en-US" altLang="zh-CN" sz="1400" dirty="0" smtClean="0">
              <a:latin typeface="+mn-lt"/>
              <a:ea typeface="+mn-ea"/>
              <a:cs typeface="+mn-ea"/>
              <a:sym typeface="+mn-lt"/>
            </a:endParaRPr>
          </a:p>
          <a:p>
            <a:r>
              <a:rPr lang="en-US" altLang="zh-CN" sz="1600" dirty="0" err="1" smtClean="0">
                <a:latin typeface="+mn-lt"/>
                <a:ea typeface="+mn-ea"/>
                <a:cs typeface="+mn-ea"/>
                <a:sym typeface="+mn-lt"/>
              </a:rPr>
              <a:t>NewSQL</a:t>
            </a:r>
            <a:r>
              <a:rPr lang="zh-CN" altLang="en-US" sz="1600" dirty="0" smtClean="0">
                <a:latin typeface="+mn-lt"/>
                <a:ea typeface="+mn-ea"/>
                <a:cs typeface="+mn-ea"/>
                <a:sym typeface="+mn-lt"/>
              </a:rPr>
              <a:t>的分类</a:t>
            </a:r>
            <a:endParaRPr lang="en-US" altLang="zh-CN" sz="1600" dirty="0" smtClean="0">
              <a:latin typeface="+mn-lt"/>
              <a:ea typeface="+mn-ea"/>
              <a:cs typeface="+mn-ea"/>
              <a:sym typeface="+mn-lt"/>
            </a:endParaRPr>
          </a:p>
          <a:p>
            <a:pPr lvl="1"/>
            <a:r>
              <a:rPr lang="zh-CN" altLang="en-US" sz="1400" dirty="0" smtClean="0">
                <a:latin typeface="+mn-lt"/>
                <a:ea typeface="+mn-ea"/>
                <a:cs typeface="+mn-ea"/>
                <a:sym typeface="+mn-lt"/>
              </a:rPr>
              <a:t>采用了新架构重新构建产品。</a:t>
            </a:r>
            <a:endParaRPr lang="en-US" altLang="zh-CN" sz="1400" dirty="0" smtClean="0">
              <a:latin typeface="+mn-lt"/>
              <a:ea typeface="+mn-ea"/>
              <a:cs typeface="+mn-ea"/>
              <a:sym typeface="+mn-lt"/>
            </a:endParaRPr>
          </a:p>
          <a:p>
            <a:pPr lvl="2"/>
            <a:r>
              <a:rPr lang="en-US" altLang="zh-CN" sz="1200" dirty="0" smtClean="0">
                <a:latin typeface="+mn-lt"/>
                <a:ea typeface="+mn-ea"/>
                <a:cs typeface="+mn-ea"/>
                <a:sym typeface="+mn-lt"/>
              </a:rPr>
              <a:t>Shared-Nothing</a:t>
            </a:r>
            <a:r>
              <a:rPr lang="zh-CN" altLang="en-US" sz="1200" dirty="0" smtClean="0">
                <a:latin typeface="+mn-lt"/>
                <a:ea typeface="+mn-ea"/>
                <a:cs typeface="+mn-ea"/>
                <a:sym typeface="+mn-lt"/>
              </a:rPr>
              <a:t>，多节点并发控制，分布式处理，利用复制实现容错，流式控制等技术架构。</a:t>
            </a:r>
            <a:endParaRPr lang="en-US" altLang="zh-CN" sz="1200" dirty="0" smtClean="0">
              <a:latin typeface="+mn-lt"/>
              <a:ea typeface="+mn-ea"/>
              <a:cs typeface="+mn-ea"/>
              <a:sym typeface="+mn-lt"/>
            </a:endParaRPr>
          </a:p>
          <a:p>
            <a:pPr lvl="2"/>
            <a:r>
              <a:rPr lang="en-US" altLang="zh-CN" sz="1200" dirty="0" smtClean="0">
                <a:latin typeface="+mn-lt"/>
                <a:ea typeface="+mn-ea"/>
                <a:cs typeface="+mn-ea"/>
                <a:sym typeface="+mn-lt"/>
              </a:rPr>
              <a:t>Google Spanner</a:t>
            </a:r>
            <a:r>
              <a:rPr lang="zh-CN" altLang="en-US" sz="1200" dirty="0" smtClean="0">
                <a:latin typeface="+mn-lt"/>
                <a:ea typeface="+mn-ea"/>
                <a:cs typeface="+mn-ea"/>
                <a:sym typeface="+mn-lt"/>
              </a:rPr>
              <a:t>，</a:t>
            </a:r>
            <a:r>
              <a:rPr lang="en-US" altLang="zh-CN" sz="1200" dirty="0" smtClean="0">
                <a:latin typeface="+mn-lt"/>
                <a:ea typeface="+mn-ea"/>
                <a:cs typeface="+mn-ea"/>
                <a:sym typeface="+mn-lt"/>
              </a:rPr>
              <a:t>H-Store</a:t>
            </a:r>
            <a:r>
              <a:rPr lang="zh-CN" altLang="en-US" sz="1200" dirty="0" smtClean="0">
                <a:latin typeface="+mn-lt"/>
                <a:ea typeface="+mn-ea"/>
                <a:cs typeface="+mn-ea"/>
                <a:sym typeface="+mn-lt"/>
              </a:rPr>
              <a:t>，</a:t>
            </a:r>
            <a:r>
              <a:rPr lang="en-US" altLang="zh-CN" sz="1200" dirty="0" err="1" smtClean="0">
                <a:latin typeface="+mn-lt"/>
                <a:ea typeface="+mn-ea"/>
                <a:cs typeface="+mn-ea"/>
                <a:sym typeface="+mn-lt"/>
              </a:rPr>
              <a:t>VoltDB</a:t>
            </a:r>
            <a:r>
              <a:rPr lang="zh-CN" altLang="en-US" sz="1200" dirty="0" smtClean="0">
                <a:latin typeface="+mn-lt"/>
                <a:ea typeface="+mn-ea"/>
                <a:cs typeface="+mn-ea"/>
                <a:sym typeface="+mn-lt"/>
              </a:rPr>
              <a:t>等。</a:t>
            </a:r>
            <a:endParaRPr lang="en-US" altLang="zh-CN" sz="1200" dirty="0" smtClean="0">
              <a:latin typeface="+mn-lt"/>
              <a:ea typeface="+mn-ea"/>
              <a:cs typeface="+mn-ea"/>
              <a:sym typeface="+mn-lt"/>
            </a:endParaRPr>
          </a:p>
          <a:p>
            <a:pPr lvl="1"/>
            <a:r>
              <a:rPr lang="zh-CN" altLang="en-US" sz="1400" dirty="0" smtClean="0">
                <a:latin typeface="+mn-lt"/>
                <a:ea typeface="+mn-ea"/>
                <a:cs typeface="+mn-ea"/>
                <a:sym typeface="+mn-lt"/>
              </a:rPr>
              <a:t>采用</a:t>
            </a:r>
            <a:r>
              <a:rPr lang="en-US" altLang="zh-CN" sz="1400" dirty="0" smtClean="0">
                <a:latin typeface="+mn-lt"/>
                <a:ea typeface="+mn-ea"/>
                <a:cs typeface="+mn-ea"/>
                <a:sym typeface="+mn-lt"/>
              </a:rPr>
              <a:t>Transparent </a:t>
            </a:r>
            <a:r>
              <a:rPr lang="en-US" altLang="zh-CN" sz="1400" dirty="0" err="1" smtClean="0">
                <a:latin typeface="+mn-lt"/>
                <a:ea typeface="+mn-ea"/>
                <a:cs typeface="+mn-ea"/>
                <a:sym typeface="+mn-lt"/>
              </a:rPr>
              <a:t>Sharding</a:t>
            </a:r>
            <a:r>
              <a:rPr lang="zh-CN" altLang="en-US" sz="1400" dirty="0" smtClean="0">
                <a:latin typeface="+mn-lt"/>
                <a:ea typeface="+mn-ea"/>
                <a:cs typeface="+mn-ea"/>
                <a:sym typeface="+mn-lt"/>
              </a:rPr>
              <a:t>中间件技术。</a:t>
            </a:r>
            <a:endParaRPr lang="en-US" altLang="zh-CN" sz="1400" dirty="0" smtClean="0">
              <a:latin typeface="+mn-lt"/>
              <a:ea typeface="+mn-ea"/>
              <a:cs typeface="+mn-ea"/>
              <a:sym typeface="+mn-lt"/>
            </a:endParaRPr>
          </a:p>
          <a:p>
            <a:pPr lvl="2"/>
            <a:r>
              <a:rPr lang="zh-CN" altLang="en-US" sz="1200" dirty="0" smtClean="0">
                <a:latin typeface="+mn-lt"/>
                <a:ea typeface="+mn-ea"/>
                <a:cs typeface="+mn-ea"/>
                <a:sym typeface="+mn-lt"/>
              </a:rPr>
              <a:t>数据分片</a:t>
            </a:r>
            <a:r>
              <a:rPr lang="en-US" altLang="zh-CN" sz="1200" dirty="0" smtClean="0">
                <a:latin typeface="+mn-lt"/>
                <a:ea typeface="+mn-ea"/>
                <a:cs typeface="+mn-ea"/>
                <a:sym typeface="+mn-lt"/>
              </a:rPr>
              <a:t>(</a:t>
            </a:r>
            <a:r>
              <a:rPr lang="en-US" altLang="zh-CN" sz="1200" dirty="0" err="1" smtClean="0">
                <a:latin typeface="+mn-lt"/>
                <a:ea typeface="+mn-ea"/>
                <a:cs typeface="+mn-ea"/>
                <a:sym typeface="+mn-lt"/>
              </a:rPr>
              <a:t>sharding</a:t>
            </a:r>
            <a:r>
              <a:rPr lang="en-US" altLang="zh-CN" sz="1200" dirty="0" smtClean="0">
                <a:latin typeface="+mn-lt"/>
                <a:ea typeface="+mn-ea"/>
                <a:cs typeface="+mn-ea"/>
                <a:sym typeface="+mn-lt"/>
              </a:rPr>
              <a:t>)</a:t>
            </a:r>
            <a:r>
              <a:rPr lang="zh-CN" altLang="en-US" sz="1200" dirty="0" smtClean="0">
                <a:latin typeface="+mn-lt"/>
                <a:ea typeface="+mn-ea"/>
                <a:cs typeface="+mn-ea"/>
                <a:sym typeface="+mn-lt"/>
              </a:rPr>
              <a:t>的过程对于用户来说是透明的</a:t>
            </a:r>
            <a:r>
              <a:rPr lang="en-US" altLang="zh-CN" sz="1200" dirty="0" smtClean="0">
                <a:latin typeface="+mn-lt"/>
                <a:ea typeface="+mn-ea"/>
                <a:cs typeface="+mn-ea"/>
                <a:sym typeface="+mn-lt"/>
              </a:rPr>
              <a:t>(transparent)</a:t>
            </a:r>
            <a:r>
              <a:rPr lang="zh-CN" altLang="en-US" sz="1200" dirty="0" smtClean="0">
                <a:latin typeface="+mn-lt"/>
                <a:ea typeface="+mn-ea"/>
                <a:cs typeface="+mn-ea"/>
                <a:sym typeface="+mn-lt"/>
              </a:rPr>
              <a:t>，用户的应用程序不需要作出变化。</a:t>
            </a:r>
            <a:endParaRPr lang="en-US" altLang="zh-CN" sz="1200" dirty="0" smtClean="0">
              <a:latin typeface="+mn-lt"/>
              <a:ea typeface="+mn-ea"/>
              <a:cs typeface="+mn-ea"/>
              <a:sym typeface="+mn-lt"/>
            </a:endParaRPr>
          </a:p>
          <a:p>
            <a:pPr lvl="2"/>
            <a:r>
              <a:rPr lang="en-US" altLang="zh-CN" sz="1200" dirty="0" smtClean="0">
                <a:latin typeface="+mn-lt"/>
                <a:ea typeface="+mn-ea"/>
                <a:cs typeface="+mn-ea"/>
                <a:sym typeface="+mn-lt"/>
              </a:rPr>
              <a:t>Oracle</a:t>
            </a:r>
            <a:r>
              <a:rPr lang="zh-CN" altLang="en-US" sz="1200" dirty="0" smtClean="0">
                <a:latin typeface="+mn-lt"/>
                <a:ea typeface="+mn-ea"/>
                <a:cs typeface="+mn-ea"/>
                <a:sym typeface="+mn-lt"/>
              </a:rPr>
              <a:t> </a:t>
            </a:r>
            <a:r>
              <a:rPr lang="en-US" altLang="zh-CN" sz="1200" dirty="0" smtClean="0">
                <a:latin typeface="+mn-lt"/>
                <a:ea typeface="+mn-ea"/>
                <a:cs typeface="+mn-ea"/>
                <a:sym typeface="+mn-lt"/>
              </a:rPr>
              <a:t>MySQL Proxy</a:t>
            </a:r>
            <a:r>
              <a:rPr lang="zh-CN" altLang="en-US" sz="1200" dirty="0" smtClean="0">
                <a:latin typeface="+mn-lt"/>
                <a:ea typeface="+mn-ea"/>
                <a:cs typeface="+mn-ea"/>
                <a:sym typeface="+mn-lt"/>
              </a:rPr>
              <a:t>，</a:t>
            </a:r>
            <a:r>
              <a:rPr lang="en-US" altLang="zh-CN" sz="1200" dirty="0" err="1" smtClean="0">
                <a:latin typeface="+mn-lt"/>
                <a:ea typeface="+mn-ea"/>
                <a:cs typeface="+mn-ea"/>
                <a:sym typeface="+mn-lt"/>
              </a:rPr>
              <a:t>MariaDB</a:t>
            </a:r>
            <a:r>
              <a:rPr lang="en-US" altLang="zh-CN" sz="1200" dirty="0" smtClean="0">
                <a:latin typeface="+mn-lt"/>
                <a:ea typeface="+mn-ea"/>
                <a:cs typeface="+mn-ea"/>
                <a:sym typeface="+mn-lt"/>
              </a:rPr>
              <a:t> </a:t>
            </a:r>
            <a:r>
              <a:rPr lang="en-US" altLang="zh-CN" sz="1200" dirty="0" err="1" smtClean="0">
                <a:latin typeface="+mn-lt"/>
                <a:ea typeface="+mn-ea"/>
                <a:cs typeface="+mn-ea"/>
                <a:sym typeface="+mn-lt"/>
              </a:rPr>
              <a:t>MaxSacle</a:t>
            </a:r>
            <a:r>
              <a:rPr lang="zh-CN" altLang="en-US" sz="1200" dirty="0" smtClean="0">
                <a:latin typeface="+mn-lt"/>
                <a:ea typeface="+mn-ea"/>
                <a:cs typeface="+mn-ea"/>
                <a:sym typeface="+mn-lt"/>
              </a:rPr>
              <a:t>等。</a:t>
            </a:r>
            <a:endParaRPr lang="en-US" altLang="zh-CN" sz="1200" dirty="0" smtClean="0">
              <a:latin typeface="+mn-lt"/>
              <a:ea typeface="+mn-ea"/>
              <a:cs typeface="+mn-ea"/>
              <a:sym typeface="+mn-lt"/>
            </a:endParaRPr>
          </a:p>
          <a:p>
            <a:pPr lvl="1"/>
            <a:r>
              <a:rPr lang="en-US" altLang="zh-CN" sz="1400" dirty="0" smtClean="0">
                <a:latin typeface="+mn-lt"/>
                <a:ea typeface="+mn-ea"/>
                <a:cs typeface="+mn-ea"/>
                <a:sym typeface="+mn-lt"/>
              </a:rPr>
              <a:t>DAAS</a:t>
            </a:r>
            <a:r>
              <a:rPr lang="zh-CN" altLang="en-US" sz="1400" dirty="0" smtClean="0">
                <a:latin typeface="+mn-lt"/>
                <a:ea typeface="+mn-ea"/>
                <a:cs typeface="+mn-ea"/>
                <a:sym typeface="+mn-lt"/>
              </a:rPr>
              <a:t>（</a:t>
            </a:r>
            <a:r>
              <a:rPr lang="en-US" altLang="zh-CN" sz="1400" dirty="0" smtClean="0">
                <a:latin typeface="+mn-lt"/>
                <a:ea typeface="+mn-ea"/>
                <a:cs typeface="+mn-ea"/>
                <a:sym typeface="+mn-lt"/>
              </a:rPr>
              <a:t>Database-as-a-Service, </a:t>
            </a:r>
            <a:r>
              <a:rPr lang="zh-CN" altLang="en-US" sz="1400" dirty="0" smtClean="0">
                <a:latin typeface="+mn-lt"/>
                <a:ea typeface="+mn-ea"/>
                <a:cs typeface="+mn-ea"/>
                <a:sym typeface="+mn-lt"/>
              </a:rPr>
              <a:t>数据库即服务）。</a:t>
            </a:r>
            <a:endParaRPr lang="en-US" altLang="zh-CN" sz="1400" dirty="0" smtClean="0">
              <a:latin typeface="+mn-lt"/>
              <a:ea typeface="+mn-ea"/>
              <a:cs typeface="+mn-ea"/>
              <a:sym typeface="+mn-lt"/>
            </a:endParaRPr>
          </a:p>
          <a:p>
            <a:pPr lvl="2"/>
            <a:r>
              <a:rPr lang="zh-CN" altLang="en-US" sz="1200" dirty="0" smtClean="0">
                <a:latin typeface="+mn-lt"/>
                <a:ea typeface="+mn-ea"/>
                <a:cs typeface="+mn-ea"/>
                <a:sym typeface="+mn-lt"/>
              </a:rPr>
              <a:t>云服务商提供的数据库产品，云服务商提供具备</a:t>
            </a:r>
            <a:r>
              <a:rPr lang="en-US" altLang="zh-CN" sz="1200" dirty="0" err="1" smtClean="0">
                <a:latin typeface="+mn-lt"/>
                <a:ea typeface="+mn-ea"/>
                <a:cs typeface="+mn-ea"/>
                <a:sym typeface="+mn-lt"/>
              </a:rPr>
              <a:t>NewSQL</a:t>
            </a:r>
            <a:r>
              <a:rPr lang="zh-CN" altLang="en-US" sz="1200" dirty="0" smtClean="0">
                <a:latin typeface="+mn-lt"/>
                <a:ea typeface="+mn-ea"/>
                <a:cs typeface="+mn-ea"/>
                <a:sym typeface="+mn-lt"/>
              </a:rPr>
              <a:t>特性的数据库产品。</a:t>
            </a:r>
            <a:endParaRPr lang="en-US" altLang="zh-CN" sz="1200" dirty="0" smtClean="0">
              <a:latin typeface="+mn-lt"/>
              <a:ea typeface="+mn-ea"/>
              <a:cs typeface="+mn-ea"/>
              <a:sym typeface="+mn-lt"/>
            </a:endParaRPr>
          </a:p>
          <a:p>
            <a:pPr lvl="2"/>
            <a:r>
              <a:rPr lang="en-US" altLang="zh-CN" sz="1200" dirty="0" smtClean="0">
                <a:latin typeface="+mn-lt"/>
                <a:ea typeface="+mn-ea"/>
                <a:cs typeface="+mn-ea"/>
                <a:sym typeface="+mn-lt"/>
              </a:rPr>
              <a:t>Amazon Aurora</a:t>
            </a:r>
            <a:r>
              <a:rPr lang="zh-CN" altLang="en-US" sz="1200" dirty="0" smtClean="0">
                <a:latin typeface="+mn-lt"/>
                <a:ea typeface="+mn-ea"/>
                <a:cs typeface="+mn-ea"/>
                <a:sym typeface="+mn-lt"/>
              </a:rPr>
              <a:t>，阿里云的</a:t>
            </a:r>
            <a:r>
              <a:rPr lang="en-US" altLang="zh-CN" sz="1200" dirty="0" err="1" smtClean="0">
                <a:latin typeface="+mn-lt"/>
                <a:ea typeface="+mn-ea"/>
                <a:cs typeface="+mn-ea"/>
                <a:sym typeface="+mn-lt"/>
              </a:rPr>
              <a:t>Oceanbase</a:t>
            </a:r>
            <a:r>
              <a:rPr lang="zh-CN" altLang="en-US" sz="1200" dirty="0" smtClean="0">
                <a:latin typeface="+mn-lt"/>
                <a:ea typeface="+mn-ea"/>
                <a:cs typeface="+mn-ea"/>
                <a:sym typeface="+mn-lt"/>
              </a:rPr>
              <a:t>，腾讯云的</a:t>
            </a:r>
            <a:r>
              <a:rPr lang="en-US" altLang="zh-CN" sz="1200" dirty="0" err="1" smtClean="0">
                <a:latin typeface="+mn-lt"/>
                <a:ea typeface="+mn-ea"/>
                <a:cs typeface="+mn-ea"/>
                <a:sym typeface="+mn-lt"/>
              </a:rPr>
              <a:t>CynosDB</a:t>
            </a:r>
            <a:r>
              <a:rPr lang="zh-CN" altLang="en-US" sz="1200" dirty="0" smtClean="0">
                <a:latin typeface="+mn-lt"/>
                <a:ea typeface="+mn-ea"/>
                <a:cs typeface="+mn-ea"/>
                <a:sym typeface="+mn-lt"/>
              </a:rPr>
              <a:t>。</a:t>
            </a:r>
            <a:endParaRPr lang="en-US" altLang="zh-CN" sz="1200"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云数据库</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1800" dirty="0" smtClean="0">
                <a:latin typeface="+mn-lt"/>
                <a:ea typeface="+mn-ea"/>
                <a:cs typeface="+mn-ea"/>
                <a:sym typeface="+mn-lt"/>
              </a:rPr>
              <a:t>在全新的时代</a:t>
            </a:r>
            <a:r>
              <a:rPr lang="zh-CN" altLang="en-US" sz="1800" dirty="0">
                <a:latin typeface="+mn-lt"/>
                <a:ea typeface="+mn-ea"/>
                <a:cs typeface="+mn-ea"/>
                <a:sym typeface="+mn-lt"/>
              </a:rPr>
              <a:t>背景下，商业</a:t>
            </a:r>
            <a:r>
              <a:rPr lang="zh-CN" altLang="en-US" sz="1800" dirty="0" smtClean="0">
                <a:latin typeface="+mn-lt"/>
                <a:ea typeface="+mn-ea"/>
                <a:cs typeface="+mn-ea"/>
                <a:sym typeface="+mn-lt"/>
              </a:rPr>
              <a:t>数据库</a:t>
            </a:r>
            <a:r>
              <a:rPr lang="zh-CN" altLang="en-US" sz="1800" dirty="0">
                <a:latin typeface="+mn-lt"/>
                <a:ea typeface="+mn-ea"/>
                <a:cs typeface="+mn-ea"/>
                <a:sym typeface="+mn-lt"/>
              </a:rPr>
              <a:t>因其昂贵、高运维难度以及低扩展性</a:t>
            </a:r>
            <a:r>
              <a:rPr lang="zh-CN" altLang="en-US" sz="1800" dirty="0" smtClean="0">
                <a:latin typeface="+mn-lt"/>
                <a:ea typeface="+mn-ea"/>
                <a:cs typeface="+mn-ea"/>
                <a:sym typeface="+mn-lt"/>
              </a:rPr>
              <a:t>和可用性</a:t>
            </a:r>
            <a:r>
              <a:rPr lang="zh-CN" altLang="en-US" sz="1800" dirty="0">
                <a:latin typeface="+mn-lt"/>
                <a:ea typeface="+mn-ea"/>
                <a:cs typeface="+mn-ea"/>
                <a:sym typeface="+mn-lt"/>
              </a:rPr>
              <a:t>受到挑战</a:t>
            </a:r>
            <a:r>
              <a:rPr lang="zh-CN" altLang="en-US" sz="1800" dirty="0" smtClean="0">
                <a:latin typeface="+mn-lt"/>
                <a:ea typeface="+mn-ea"/>
                <a:cs typeface="+mn-ea"/>
                <a:sym typeface="+mn-lt"/>
              </a:rPr>
              <a:t>。</a:t>
            </a:r>
            <a:r>
              <a:rPr lang="zh-CN" altLang="en-US" sz="1800" dirty="0">
                <a:latin typeface="+mn-lt"/>
                <a:ea typeface="+mn-ea"/>
                <a:cs typeface="+mn-ea"/>
                <a:sym typeface="+mn-lt"/>
              </a:rPr>
              <a:t>在</a:t>
            </a:r>
            <a:r>
              <a:rPr lang="en-US" altLang="zh-CN" sz="1800" dirty="0">
                <a:latin typeface="+mn-lt"/>
                <a:ea typeface="+mn-ea"/>
                <a:cs typeface="+mn-ea"/>
                <a:sym typeface="+mn-lt"/>
              </a:rPr>
              <a:t>5G+</a:t>
            </a:r>
            <a:r>
              <a:rPr lang="zh-CN" altLang="en-US" sz="1800" dirty="0">
                <a:latin typeface="+mn-lt"/>
                <a:ea typeface="+mn-ea"/>
                <a:cs typeface="+mn-ea"/>
                <a:sym typeface="+mn-lt"/>
              </a:rPr>
              <a:t>云</a:t>
            </a:r>
            <a:r>
              <a:rPr lang="zh-CN" altLang="en-US" sz="1800" dirty="0" smtClean="0">
                <a:latin typeface="+mn-lt"/>
                <a:ea typeface="+mn-ea"/>
                <a:cs typeface="+mn-ea"/>
                <a:sym typeface="+mn-lt"/>
              </a:rPr>
              <a:t>计算</a:t>
            </a:r>
            <a:r>
              <a:rPr lang="zh-CN" altLang="en-US" sz="1800" dirty="0">
                <a:latin typeface="+mn-lt"/>
                <a:ea typeface="+mn-ea"/>
                <a:cs typeface="+mn-ea"/>
                <a:sym typeface="+mn-lt"/>
              </a:rPr>
              <a:t>的强力冲击下，云数据库的格局已经</a:t>
            </a:r>
            <a:r>
              <a:rPr lang="zh-CN" altLang="en-US" sz="1800" dirty="0" smtClean="0">
                <a:latin typeface="+mn-lt"/>
                <a:ea typeface="+mn-ea"/>
                <a:cs typeface="+mn-ea"/>
                <a:sym typeface="+mn-lt"/>
              </a:rPr>
              <a:t>悄然生变化。</a:t>
            </a:r>
            <a:endParaRPr lang="en-US" altLang="zh-CN" sz="1800" dirty="0" smtClean="0">
              <a:latin typeface="+mn-lt"/>
              <a:ea typeface="+mn-ea"/>
              <a:cs typeface="+mn-ea"/>
              <a:sym typeface="+mn-lt"/>
            </a:endParaRPr>
          </a:p>
          <a:p>
            <a:r>
              <a:rPr lang="zh-CN" altLang="en-US" sz="1800" dirty="0"/>
              <a:t>云数据库是指被优化或部署到一个虚拟计算环境中的</a:t>
            </a:r>
            <a:r>
              <a:rPr lang="zh-CN" altLang="en-US" sz="1800" dirty="0" smtClean="0"/>
              <a:t>数据库。</a:t>
            </a:r>
            <a:endParaRPr lang="en-US" altLang="zh-CN" sz="1800"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grpSp>
        <p:nvGrpSpPr>
          <p:cNvPr id="5" name="组合 4"/>
          <p:cNvGrpSpPr/>
          <p:nvPr/>
        </p:nvGrpSpPr>
        <p:grpSpPr>
          <a:xfrm>
            <a:off x="539572" y="2420059"/>
            <a:ext cx="10820736" cy="3571292"/>
            <a:chOff x="804646" y="2495405"/>
            <a:chExt cx="10820736" cy="3571292"/>
          </a:xfrm>
        </p:grpSpPr>
        <p:pic>
          <p:nvPicPr>
            <p:cNvPr id="1040" name="Picture 16" descr="C:\Users\hwx559043\AppData\Roaming\eSpace_Desktop\UserData\hwx559043\imagefiles\7A9D198C-3844-430D-BCF1-23A063A68A5B.png"/>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0495835" y="3530033"/>
              <a:ext cx="1123950" cy="371475"/>
            </a:xfrm>
            <a:prstGeom prst="rect">
              <a:avLst/>
            </a:prstGeom>
            <a:noFill/>
            <a:extLst>
              <a:ext uri="{909E8E84-426E-40DD-AFC4-6F175D3DCCD1}">
                <a14:hiddenFill xmlns:a14="http://schemas.microsoft.com/office/drawing/2010/main">
                  <a:solidFill>
                    <a:srgbClr val="FFFFFF"/>
                  </a:solidFill>
                </a14:hiddenFill>
              </a:ext>
            </a:extLst>
          </p:spPr>
        </p:pic>
        <p:sp>
          <p:nvSpPr>
            <p:cNvPr id="100" name="形状 99"/>
            <p:cNvSpPr/>
            <p:nvPr/>
          </p:nvSpPr>
          <p:spPr>
            <a:xfrm>
              <a:off x="1317159" y="2664173"/>
              <a:ext cx="9435227" cy="3298425"/>
            </a:xfrm>
            <a:prstGeom prst="swooshArrow">
              <a:avLst>
                <a:gd name="adj1" fmla="val 25000"/>
                <a:gd name="adj2" fmla="val 25000"/>
              </a:avLst>
            </a:prstGeom>
            <a:solidFill>
              <a:schemeClr val="accent3">
                <a:lumMod val="7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pic>
          <p:nvPicPr>
            <p:cNvPr id="66" name="Picture 8" descr="https://console.ng.bluemix.net/lib/cloudOE/resources/dt/imgs/landing/bluemix_logo_multi_181.png?@revision@"/>
            <p:cNvPicPr>
              <a:picLocks noChangeAspect="1" noChangeArrowheads="1"/>
            </p:cNvPicPr>
            <p:nvPr/>
          </p:nvPicPr>
          <p:blipFill>
            <a:blip r:embed="rId48" cstate="print"/>
            <a:srcRect/>
            <a:stretch>
              <a:fillRect/>
            </a:stretch>
          </p:blipFill>
          <p:spPr bwMode="auto">
            <a:xfrm>
              <a:off x="7179100" y="3268398"/>
              <a:ext cx="786929" cy="879300"/>
            </a:xfrm>
            <a:prstGeom prst="rect">
              <a:avLst/>
            </a:prstGeom>
            <a:noFill/>
          </p:spPr>
        </p:pic>
        <p:sp>
          <p:nvSpPr>
            <p:cNvPr id="82" name="矩形 81"/>
            <p:cNvSpPr/>
            <p:nvPr/>
          </p:nvSpPr>
          <p:spPr>
            <a:xfrm>
              <a:off x="10198388" y="5629024"/>
              <a:ext cx="1426994" cy="369332"/>
            </a:xfrm>
            <a:prstGeom prst="rect">
              <a:avLst/>
            </a:prstGeom>
          </p:spPr>
          <p:txBody>
            <a:bodyPr wrap="none">
              <a:spAutoFit/>
            </a:bodyPr>
            <a:lstStyle/>
            <a:p>
              <a:pPr fontAlgn="auto">
                <a:spcBef>
                  <a:spcPts val="0"/>
                </a:spcBef>
                <a:spcAft>
                  <a:spcPts val="0"/>
                </a:spcAft>
                <a:defRPr/>
              </a:pPr>
              <a:r>
                <a:rPr lang="zh-CN" altLang="en-US" kern="0" dirty="0">
                  <a:cs typeface="+mn-ea"/>
                  <a:sym typeface="+mn-lt"/>
                </a:rPr>
                <a:t>还有</a:t>
              </a:r>
              <a:r>
                <a:rPr lang="zh-CN" altLang="en-US" kern="0" dirty="0" smtClean="0">
                  <a:cs typeface="+mn-ea"/>
                  <a:sym typeface="+mn-lt"/>
                </a:rPr>
                <a:t>更多</a:t>
              </a:r>
              <a:r>
                <a:rPr lang="en-US" altLang="zh-CN" kern="0" dirty="0" smtClean="0">
                  <a:cs typeface="+mn-ea"/>
                  <a:sym typeface="+mn-lt"/>
                </a:rPr>
                <a:t>……</a:t>
              </a:r>
              <a:endParaRPr lang="zh-CN" altLang="en-US" kern="0" dirty="0">
                <a:cs typeface="+mn-ea"/>
                <a:sym typeface="+mn-lt"/>
              </a:endParaRPr>
            </a:p>
          </p:txBody>
        </p:sp>
        <p:sp>
          <p:nvSpPr>
            <p:cNvPr id="4" name="文本框 3"/>
            <p:cNvSpPr txBox="1"/>
            <p:nvPr/>
          </p:nvSpPr>
          <p:spPr bwMode="auto">
            <a:xfrm>
              <a:off x="804646" y="4617132"/>
              <a:ext cx="1462245" cy="950434"/>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a:cs typeface="+mn-ea"/>
                  <a:sym typeface="+mn-lt"/>
                </a:rPr>
                <a:t>2009</a:t>
              </a:r>
              <a:r>
                <a:rPr lang="zh-CN" altLang="en-US" sz="1400" dirty="0">
                  <a:cs typeface="+mn-ea"/>
                  <a:sym typeface="+mn-lt"/>
                </a:rPr>
                <a:t>年</a:t>
              </a:r>
              <a:r>
                <a:rPr lang="en-US" altLang="zh-CN" sz="1400" dirty="0">
                  <a:cs typeface="+mn-ea"/>
                  <a:sym typeface="+mn-lt"/>
                </a:rPr>
                <a:t>10</a:t>
              </a:r>
              <a:r>
                <a:rPr lang="zh-CN" altLang="en-US" sz="1400" dirty="0">
                  <a:cs typeface="+mn-ea"/>
                  <a:sym typeface="+mn-lt"/>
                </a:rPr>
                <a:t>月，</a:t>
              </a:r>
              <a:r>
                <a:rPr lang="en-US" altLang="zh-CN" sz="1400" dirty="0">
                  <a:cs typeface="+mn-ea"/>
                  <a:sym typeface="+mn-lt"/>
                </a:rPr>
                <a:t>Amazon</a:t>
              </a:r>
              <a:r>
                <a:rPr lang="zh-CN" altLang="en-US" sz="1400" dirty="0">
                  <a:cs typeface="+mn-ea"/>
                  <a:sym typeface="+mn-lt"/>
                </a:rPr>
                <a:t>率先推出关系型数据库服务</a:t>
              </a:r>
              <a:r>
                <a:rPr lang="en-US" altLang="zh-CN" sz="1400" dirty="0" smtClean="0">
                  <a:cs typeface="+mn-ea"/>
                  <a:sym typeface="+mn-lt"/>
                </a:rPr>
                <a:t>RDS</a:t>
              </a:r>
              <a:r>
                <a:rPr lang="zh-CN" altLang="en-US" sz="1400" dirty="0" smtClean="0">
                  <a:cs typeface="+mn-ea"/>
                  <a:sym typeface="+mn-lt"/>
                </a:rPr>
                <a:t>。</a:t>
              </a:r>
              <a:endParaRPr lang="zh-CN" altLang="en-US" sz="1400" dirty="0">
                <a:cs typeface="+mn-ea"/>
                <a:sym typeface="+mn-lt"/>
              </a:endParaRPr>
            </a:p>
          </p:txBody>
        </p:sp>
        <p:sp>
          <p:nvSpPr>
            <p:cNvPr id="99" name="文本框 98"/>
            <p:cNvSpPr txBox="1"/>
            <p:nvPr/>
          </p:nvSpPr>
          <p:spPr bwMode="auto">
            <a:xfrm>
              <a:off x="2399916" y="5070281"/>
              <a:ext cx="1410308" cy="950434"/>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a:cs typeface="+mn-ea"/>
                  <a:sym typeface="+mn-lt"/>
                </a:rPr>
                <a:t>2011</a:t>
              </a:r>
              <a:r>
                <a:rPr lang="zh-CN" altLang="en-US" sz="1400" dirty="0">
                  <a:cs typeface="+mn-ea"/>
                  <a:sym typeface="+mn-lt"/>
                </a:rPr>
                <a:t>年</a:t>
              </a:r>
              <a:r>
                <a:rPr lang="en-US" altLang="zh-CN" sz="1400" dirty="0">
                  <a:cs typeface="+mn-ea"/>
                  <a:sym typeface="+mn-lt"/>
                </a:rPr>
                <a:t>3</a:t>
              </a:r>
              <a:r>
                <a:rPr lang="zh-CN" altLang="en-US" sz="1400" dirty="0">
                  <a:cs typeface="+mn-ea"/>
                  <a:sym typeface="+mn-lt"/>
                </a:rPr>
                <a:t>月，阿里云在国内首家推出关系型数据库服务</a:t>
              </a:r>
              <a:r>
                <a:rPr lang="en-US" altLang="zh-CN" sz="1400" dirty="0" smtClean="0">
                  <a:cs typeface="+mn-ea"/>
                  <a:sym typeface="+mn-lt"/>
                </a:rPr>
                <a:t>RDS</a:t>
              </a:r>
              <a:r>
                <a:rPr lang="zh-CN" altLang="en-US" sz="1400" dirty="0">
                  <a:cs typeface="+mn-ea"/>
                  <a:sym typeface="+mn-lt"/>
                </a:rPr>
                <a:t>。</a:t>
              </a:r>
              <a:endParaRPr lang="en-US" altLang="zh-CN" sz="1400" dirty="0">
                <a:cs typeface="+mn-ea"/>
                <a:sym typeface="+mn-lt"/>
              </a:endParaRPr>
            </a:p>
          </p:txBody>
        </p:sp>
        <p:sp>
          <p:nvSpPr>
            <p:cNvPr id="101" name="文本框 100"/>
            <p:cNvSpPr txBox="1"/>
            <p:nvPr/>
          </p:nvSpPr>
          <p:spPr bwMode="auto">
            <a:xfrm>
              <a:off x="3862587" y="3357402"/>
              <a:ext cx="1198028" cy="734990"/>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a:cs typeface="+mn-ea"/>
                  <a:sym typeface="+mn-lt"/>
                </a:rPr>
                <a:t>2013</a:t>
              </a:r>
              <a:r>
                <a:rPr lang="zh-CN" altLang="en-US" sz="1400" dirty="0">
                  <a:cs typeface="+mn-ea"/>
                  <a:sym typeface="+mn-lt"/>
                </a:rPr>
                <a:t>年</a:t>
              </a:r>
              <a:r>
                <a:rPr lang="en-US" altLang="zh-CN" sz="1400" dirty="0">
                  <a:cs typeface="+mn-ea"/>
                  <a:sym typeface="+mn-lt"/>
                </a:rPr>
                <a:t>7</a:t>
              </a:r>
              <a:r>
                <a:rPr lang="zh-CN" altLang="en-US" sz="1400" dirty="0">
                  <a:cs typeface="+mn-ea"/>
                  <a:sym typeface="+mn-lt"/>
                </a:rPr>
                <a:t>月，</a:t>
              </a:r>
              <a:r>
                <a:rPr lang="en-US" altLang="zh-CN" sz="1400" dirty="0">
                  <a:cs typeface="+mn-ea"/>
                  <a:sym typeface="+mn-lt"/>
                </a:rPr>
                <a:t>Oracle </a:t>
              </a:r>
              <a:r>
                <a:rPr lang="zh-CN" altLang="en-US" sz="1400" dirty="0">
                  <a:cs typeface="+mn-ea"/>
                  <a:sym typeface="+mn-lt"/>
                </a:rPr>
                <a:t>推出</a:t>
              </a:r>
              <a:r>
                <a:rPr lang="en-US" altLang="zh-CN" sz="1400" dirty="0" err="1">
                  <a:cs typeface="+mn-ea"/>
                  <a:sym typeface="+mn-lt"/>
                </a:rPr>
                <a:t>DBaaS</a:t>
              </a:r>
              <a:r>
                <a:rPr lang="zh-CN" altLang="en-US" sz="1400" dirty="0" smtClean="0">
                  <a:cs typeface="+mn-ea"/>
                  <a:sym typeface="+mn-lt"/>
                </a:rPr>
                <a:t>服务。</a:t>
              </a:r>
              <a:endParaRPr lang="zh-CN" altLang="en-US" sz="1400" dirty="0">
                <a:cs typeface="+mn-ea"/>
                <a:sym typeface="+mn-lt"/>
              </a:endParaRPr>
            </a:p>
          </p:txBody>
        </p:sp>
        <p:sp>
          <p:nvSpPr>
            <p:cNvPr id="102" name="文本框 101"/>
            <p:cNvSpPr txBox="1"/>
            <p:nvPr/>
          </p:nvSpPr>
          <p:spPr bwMode="auto">
            <a:xfrm>
              <a:off x="5347799" y="4156046"/>
              <a:ext cx="1542118" cy="734990"/>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smtClean="0">
                  <a:cs typeface="+mn-ea"/>
                  <a:sym typeface="+mn-lt"/>
                </a:rPr>
                <a:t>2014</a:t>
              </a:r>
              <a:r>
                <a:rPr lang="zh-CN" altLang="en-US" sz="1400" dirty="0">
                  <a:cs typeface="+mn-ea"/>
                  <a:sym typeface="+mn-lt"/>
                </a:rPr>
                <a:t>年</a:t>
              </a:r>
              <a:r>
                <a:rPr lang="en-US" altLang="zh-CN" sz="1400" dirty="0">
                  <a:cs typeface="+mn-ea"/>
                  <a:sym typeface="+mn-lt"/>
                </a:rPr>
                <a:t>9</a:t>
              </a:r>
              <a:r>
                <a:rPr lang="zh-CN" altLang="en-US" sz="1400" dirty="0">
                  <a:cs typeface="+mn-ea"/>
                  <a:sym typeface="+mn-lt"/>
                </a:rPr>
                <a:t>月，微软</a:t>
              </a:r>
              <a:r>
                <a:rPr lang="en-US" altLang="zh-CN" sz="1400" dirty="0">
                  <a:cs typeface="+mn-ea"/>
                  <a:sym typeface="+mn-lt"/>
                </a:rPr>
                <a:t>SQL</a:t>
              </a:r>
              <a:r>
                <a:rPr lang="zh-CN" altLang="en-US" sz="1400" dirty="0">
                  <a:cs typeface="+mn-ea"/>
                  <a:sym typeface="+mn-lt"/>
                </a:rPr>
                <a:t>数据库服务正式版</a:t>
              </a:r>
              <a:r>
                <a:rPr lang="zh-CN" altLang="en-US" sz="1400" dirty="0" smtClean="0">
                  <a:cs typeface="+mn-ea"/>
                  <a:sym typeface="+mn-lt"/>
                </a:rPr>
                <a:t>上线。</a:t>
              </a:r>
              <a:endParaRPr lang="zh-CN" altLang="en-US" sz="1400" dirty="0">
                <a:cs typeface="+mn-ea"/>
                <a:sym typeface="+mn-lt"/>
              </a:endParaRPr>
            </a:p>
          </p:txBody>
        </p:sp>
        <p:sp>
          <p:nvSpPr>
            <p:cNvPr id="103" name="文本框 102"/>
            <p:cNvSpPr txBox="1"/>
            <p:nvPr/>
          </p:nvSpPr>
          <p:spPr bwMode="auto">
            <a:xfrm>
              <a:off x="6939037" y="2591756"/>
              <a:ext cx="1314747" cy="734990"/>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smtClean="0">
                  <a:cs typeface="+mn-ea"/>
                  <a:sym typeface="+mn-lt"/>
                </a:rPr>
                <a:t>2014</a:t>
              </a:r>
              <a:r>
                <a:rPr lang="zh-CN" altLang="en-US" sz="1400" dirty="0">
                  <a:cs typeface="+mn-ea"/>
                  <a:sym typeface="+mn-lt"/>
                </a:rPr>
                <a:t>年</a:t>
              </a:r>
              <a:r>
                <a:rPr lang="en-US" altLang="zh-CN" sz="1400" dirty="0">
                  <a:cs typeface="+mn-ea"/>
                  <a:sym typeface="+mn-lt"/>
                </a:rPr>
                <a:t>12</a:t>
              </a:r>
              <a:r>
                <a:rPr lang="zh-CN" altLang="en-US" sz="1400" dirty="0">
                  <a:cs typeface="+mn-ea"/>
                  <a:sym typeface="+mn-lt"/>
                </a:rPr>
                <a:t>月，</a:t>
              </a:r>
              <a:r>
                <a:rPr lang="en-US" altLang="zh-CN" sz="1400" dirty="0">
                  <a:cs typeface="+mn-ea"/>
                  <a:sym typeface="+mn-lt"/>
                </a:rPr>
                <a:t>IBM SQL</a:t>
              </a:r>
              <a:r>
                <a:rPr lang="zh-CN" altLang="en-US" sz="1400" dirty="0">
                  <a:cs typeface="+mn-ea"/>
                  <a:sym typeface="+mn-lt"/>
                </a:rPr>
                <a:t>数据库服务</a:t>
              </a:r>
              <a:r>
                <a:rPr lang="zh-CN" altLang="en-US" sz="1400" dirty="0" smtClean="0">
                  <a:cs typeface="+mn-ea"/>
                  <a:sym typeface="+mn-lt"/>
                </a:rPr>
                <a:t>上线。</a:t>
              </a:r>
              <a:endParaRPr lang="zh-CN" altLang="en-US" sz="1400" dirty="0">
                <a:cs typeface="+mn-ea"/>
                <a:sym typeface="+mn-lt"/>
              </a:endParaRPr>
            </a:p>
          </p:txBody>
        </p:sp>
        <p:sp>
          <p:nvSpPr>
            <p:cNvPr id="104" name="文本框 103"/>
            <p:cNvSpPr txBox="1"/>
            <p:nvPr/>
          </p:nvSpPr>
          <p:spPr bwMode="auto">
            <a:xfrm>
              <a:off x="8125331" y="3986998"/>
              <a:ext cx="1555875" cy="950434"/>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smtClean="0">
                  <a:cs typeface="+mn-ea"/>
                  <a:sym typeface="+mn-lt"/>
                </a:rPr>
                <a:t>2015</a:t>
              </a:r>
              <a:r>
                <a:rPr lang="zh-CN" altLang="en-US" sz="1400" dirty="0">
                  <a:cs typeface="+mn-ea"/>
                  <a:sym typeface="+mn-lt"/>
                </a:rPr>
                <a:t>年</a:t>
              </a:r>
              <a:r>
                <a:rPr lang="en-US" altLang="zh-CN" sz="1400" dirty="0">
                  <a:cs typeface="+mn-ea"/>
                  <a:sym typeface="+mn-lt"/>
                </a:rPr>
                <a:t>7</a:t>
              </a:r>
              <a:r>
                <a:rPr lang="zh-CN" altLang="en-US" sz="1400" dirty="0">
                  <a:cs typeface="+mn-ea"/>
                  <a:sym typeface="+mn-lt"/>
                </a:rPr>
                <a:t>月，华</a:t>
              </a:r>
              <a:r>
                <a:rPr lang="zh-CN" altLang="en-US" sz="1400" dirty="0" smtClean="0">
                  <a:cs typeface="+mn-ea"/>
                  <a:sym typeface="+mn-lt"/>
                </a:rPr>
                <a:t>为在</a:t>
              </a:r>
              <a:r>
                <a:rPr lang="zh-CN" altLang="en-US" sz="1400" dirty="0">
                  <a:cs typeface="+mn-ea"/>
                  <a:sym typeface="+mn-lt"/>
                </a:rPr>
                <a:t>国内正式推出关系型数据库服务</a:t>
              </a:r>
              <a:r>
                <a:rPr lang="en-US" altLang="zh-CN" sz="1400" dirty="0" smtClean="0">
                  <a:cs typeface="+mn-ea"/>
                  <a:sym typeface="+mn-lt"/>
                </a:rPr>
                <a:t>RDS</a:t>
              </a:r>
              <a:r>
                <a:rPr lang="zh-CN" altLang="en-US" sz="1400" dirty="0">
                  <a:cs typeface="+mn-ea"/>
                  <a:sym typeface="+mn-lt"/>
                </a:rPr>
                <a:t>。</a:t>
              </a:r>
              <a:endParaRPr lang="en-US" altLang="zh-CN" sz="1400" dirty="0">
                <a:cs typeface="+mn-ea"/>
                <a:sym typeface="+mn-lt"/>
              </a:endParaRPr>
            </a:p>
          </p:txBody>
        </p:sp>
        <p:pic>
          <p:nvPicPr>
            <p:cNvPr id="1026" name="Picture 2" descr="C:\Users\hwx559043\AppData\Roaming\eSpace_Desktop\UserData\hwx559043\imagefiles\57618267-7E5F-447A-A6F7-84A597C30144.png"/>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2370500" y="4652609"/>
              <a:ext cx="1190625" cy="3429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hwx559043\AppData\Roaming\eSpace_Desktop\UserData\hwx559043\imagefiles\CFE99A86-5A04-4DFC-BF97-A4D99B72BE0E.png"/>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148586" y="5599971"/>
              <a:ext cx="609600" cy="46672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hwx559043\AppData\Roaming\eSpace_Desktop\UserData\hwx559043\imagefiles\9C54C6B9-A007-4B86-B6C3-27AD904C67EF.png"/>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3872216" y="4149489"/>
              <a:ext cx="1085850" cy="49530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hwx559043\AppData\Roaming\eSpace_Desktop\UserData\hwx559043\imagefiles\E2616F95-2BD6-497A-A25C-3B46B896FF58.png"/>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5317373" y="3801224"/>
              <a:ext cx="1619250" cy="31432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Users\hwx559043\AppData\Roaming\eSpace_Desktop\UserData\hwx559043\imagefiles\5CD098C5-0197-4435-B3E3-6ECA74C49854.png"/>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8535858" y="3214023"/>
              <a:ext cx="714778" cy="66887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Users\hwx559043\AppData\Roaming\eSpace_Desktop\UserData\hwx559043\imagefiles\4109343C-0B82-42E4-ACFD-A0F64D633CBD.png"/>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0562062" y="4047698"/>
              <a:ext cx="782656" cy="85512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Users\hwx559043\AppData\Roaming\eSpace_Desktop\UserData\hwx559043\imagefiles\AFF00840-9520-43E6-9915-0C88F0233BFD.png"/>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0637243" y="2495405"/>
              <a:ext cx="878911" cy="74784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C:\Users\hwx559043\AppData\Roaming\eSpace_Desktop\UserData\hwx559043\imagefiles\AD6E161E-AC25-4097-9C36-37EE9F1BC6C2.png"/>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0458430" y="5120031"/>
              <a:ext cx="1123950" cy="333376"/>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文本框 69"/>
          <p:cNvSpPr txBox="1"/>
          <p:nvPr/>
        </p:nvSpPr>
        <p:spPr bwMode="auto">
          <a:xfrm>
            <a:off x="8606909" y="2107087"/>
            <a:ext cx="1373277" cy="950434"/>
          </a:xfrm>
          <a:prstGeom prst="rect">
            <a:avLst/>
          </a:prstGeom>
          <a:noFill/>
          <a:ln w="9525" algn="ctr">
            <a:noFill/>
            <a:miter lim="800000"/>
          </a:ln>
        </p:spPr>
        <p:txBody>
          <a:bodyPr vert="horz" wrap="square" lIns="87802" tIns="43901" rIns="87802" bIns="43901" numCol="1" rtlCol="0" anchor="ctr" anchorCtr="0" compatLnSpc="1">
            <a:spAutoFit/>
          </a:bodyPr>
          <a:lstStyle/>
          <a:p>
            <a:r>
              <a:rPr lang="en-US" altLang="zh-CN" sz="1400" dirty="0" smtClean="0">
                <a:cs typeface="+mn-ea"/>
                <a:sym typeface="+mn-lt"/>
              </a:rPr>
              <a:t>2020</a:t>
            </a:r>
            <a:r>
              <a:rPr lang="zh-CN" altLang="en-US" sz="1400" dirty="0" smtClean="0">
                <a:cs typeface="+mn-ea"/>
                <a:sym typeface="+mn-lt"/>
              </a:rPr>
              <a:t>年</a:t>
            </a:r>
            <a:r>
              <a:rPr lang="en-US" altLang="zh-CN" sz="1400" dirty="0">
                <a:cs typeface="+mn-ea"/>
                <a:sym typeface="+mn-lt"/>
              </a:rPr>
              <a:t>6</a:t>
            </a:r>
            <a:r>
              <a:rPr lang="zh-CN" altLang="en-US" sz="1400" dirty="0" smtClean="0">
                <a:cs typeface="+mn-ea"/>
                <a:sym typeface="+mn-lt"/>
              </a:rPr>
              <a:t>月</a:t>
            </a:r>
            <a:r>
              <a:rPr lang="zh-CN" altLang="en-US" sz="1400" dirty="0">
                <a:cs typeface="+mn-ea"/>
                <a:sym typeface="+mn-lt"/>
              </a:rPr>
              <a:t>，华</a:t>
            </a:r>
            <a:r>
              <a:rPr lang="zh-CN" altLang="en-US" sz="1400" dirty="0" smtClean="0">
                <a:cs typeface="+mn-ea"/>
                <a:sym typeface="+mn-lt"/>
              </a:rPr>
              <a:t>为正式推出云数据库</a:t>
            </a:r>
            <a:r>
              <a:rPr lang="en-US" altLang="zh-CN" sz="1400" dirty="0" err="1" smtClean="0">
                <a:cs typeface="+mn-ea"/>
                <a:sym typeface="+mn-lt"/>
              </a:rPr>
              <a:t>GaussDB</a:t>
            </a:r>
            <a:r>
              <a:rPr lang="zh-CN" altLang="en-US" sz="1400" dirty="0" smtClean="0">
                <a:cs typeface="+mn-ea"/>
                <a:sym typeface="+mn-lt"/>
              </a:rPr>
              <a:t>。</a:t>
            </a:r>
            <a:endParaRPr lang="en-US" altLang="zh-CN" sz="1400" dirty="0">
              <a:cs typeface="+mn-ea"/>
              <a:sym typeface="+mn-lt"/>
            </a:endParaRPr>
          </a:p>
        </p:txBody>
      </p:sp>
      <p:sp>
        <p:nvSpPr>
          <p:cNvPr id="7" name="文本框 6"/>
          <p:cNvSpPr txBox="1"/>
          <p:nvPr/>
        </p:nvSpPr>
        <p:spPr>
          <a:xfrm>
            <a:off x="5420982" y="6033391"/>
            <a:ext cx="1825575" cy="307777"/>
          </a:xfrm>
          <a:prstGeom prst="rect">
            <a:avLst/>
          </a:prstGeom>
          <a:noFill/>
        </p:spPr>
        <p:txBody>
          <a:bodyPr wrap="square" rtlCol="0">
            <a:spAutoFit/>
          </a:bodyPr>
          <a:lstStyle/>
          <a:p>
            <a:r>
              <a:rPr lang="zh-CN" altLang="en-US" sz="1400" dirty="0" smtClean="0"/>
              <a:t>分布式数据库中间件</a:t>
            </a:r>
            <a:endParaRPr lang="zh-CN" altLang="en-US" sz="1400" dirty="0"/>
          </a:p>
        </p:txBody>
      </p:sp>
      <p:sp>
        <p:nvSpPr>
          <p:cNvPr id="75" name="矩形 74"/>
          <p:cNvSpPr/>
          <p:nvPr/>
        </p:nvSpPr>
        <p:spPr>
          <a:xfrm>
            <a:off x="7166962" y="6031391"/>
            <a:ext cx="1463892" cy="307777"/>
          </a:xfrm>
          <a:prstGeom prst="rect">
            <a:avLst/>
          </a:prstGeom>
          <a:noFill/>
        </p:spPr>
        <p:txBody>
          <a:bodyPr wrap="square" rtlCol="0">
            <a:spAutoFit/>
          </a:bodyPr>
          <a:lstStyle/>
          <a:p>
            <a:r>
              <a:rPr lang="zh-CN" altLang="en-US" sz="1400" dirty="0">
                <a:sym typeface="+mn-lt"/>
              </a:rPr>
              <a:t>文档数据库</a:t>
            </a:r>
            <a:r>
              <a:rPr lang="zh-CN" altLang="en-US" sz="1400" dirty="0" smtClean="0">
                <a:sym typeface="+mn-lt"/>
              </a:rPr>
              <a:t>服务</a:t>
            </a:r>
            <a:endParaRPr lang="en-US" sz="1400" dirty="0">
              <a:sym typeface="+mn-lt"/>
            </a:endParaRPr>
          </a:p>
        </p:txBody>
      </p:sp>
      <p:grpSp>
        <p:nvGrpSpPr>
          <p:cNvPr id="55" name="组合 54"/>
          <p:cNvGrpSpPr/>
          <p:nvPr/>
        </p:nvGrpSpPr>
        <p:grpSpPr>
          <a:xfrm>
            <a:off x="7600828" y="5492220"/>
            <a:ext cx="433480" cy="488490"/>
            <a:chOff x="6996392" y="5473393"/>
            <a:chExt cx="312656" cy="352333"/>
          </a:xfrm>
        </p:grpSpPr>
        <p:sp>
          <p:nvSpPr>
            <p:cNvPr id="76" name="Freeform 76"/>
            <p:cNvSpPr>
              <a:spLocks noEditPoints="1"/>
            </p:cNvSpPr>
            <p:nvPr/>
          </p:nvSpPr>
          <p:spPr bwMode="auto">
            <a:xfrm>
              <a:off x="6996392" y="5473393"/>
              <a:ext cx="312656" cy="352333"/>
            </a:xfrm>
            <a:custGeom>
              <a:avLst/>
              <a:gdLst>
                <a:gd name="T0" fmla="*/ 151 w 160"/>
                <a:gd name="T1" fmla="*/ 37 h 177"/>
                <a:gd name="T2" fmla="*/ 90 w 160"/>
                <a:gd name="T3" fmla="*/ 3 h 177"/>
                <a:gd name="T4" fmla="*/ 71 w 160"/>
                <a:gd name="T5" fmla="*/ 3 h 177"/>
                <a:gd name="T6" fmla="*/ 10 w 160"/>
                <a:gd name="T7" fmla="*/ 37 h 177"/>
                <a:gd name="T8" fmla="*/ 0 w 160"/>
                <a:gd name="T9" fmla="*/ 53 h 177"/>
                <a:gd name="T10" fmla="*/ 0 w 160"/>
                <a:gd name="T11" fmla="*/ 125 h 177"/>
                <a:gd name="T12" fmla="*/ 10 w 160"/>
                <a:gd name="T13" fmla="*/ 140 h 177"/>
                <a:gd name="T14" fmla="*/ 71 w 160"/>
                <a:gd name="T15" fmla="*/ 174 h 177"/>
                <a:gd name="T16" fmla="*/ 80 w 160"/>
                <a:gd name="T17" fmla="*/ 177 h 177"/>
                <a:gd name="T18" fmla="*/ 90 w 160"/>
                <a:gd name="T19" fmla="*/ 174 h 177"/>
                <a:gd name="T20" fmla="*/ 151 w 160"/>
                <a:gd name="T21" fmla="*/ 140 h 177"/>
                <a:gd name="T22" fmla="*/ 160 w 160"/>
                <a:gd name="T23" fmla="*/ 125 h 177"/>
                <a:gd name="T24" fmla="*/ 160 w 160"/>
                <a:gd name="T25" fmla="*/ 53 h 177"/>
                <a:gd name="T26" fmla="*/ 151 w 160"/>
                <a:gd name="T27" fmla="*/ 37 h 177"/>
                <a:gd name="T28" fmla="*/ 152 w 160"/>
                <a:gd name="T29" fmla="*/ 125 h 177"/>
                <a:gd name="T30" fmla="*/ 147 w 160"/>
                <a:gd name="T31" fmla="*/ 133 h 177"/>
                <a:gd name="T32" fmla="*/ 86 w 160"/>
                <a:gd name="T33" fmla="*/ 167 h 177"/>
                <a:gd name="T34" fmla="*/ 75 w 160"/>
                <a:gd name="T35" fmla="*/ 167 h 177"/>
                <a:gd name="T36" fmla="*/ 14 w 160"/>
                <a:gd name="T37" fmla="*/ 133 h 177"/>
                <a:gd name="T38" fmla="*/ 9 w 160"/>
                <a:gd name="T39" fmla="*/ 125 h 177"/>
                <a:gd name="T40" fmla="*/ 9 w 160"/>
                <a:gd name="T41" fmla="*/ 53 h 177"/>
                <a:gd name="T42" fmla="*/ 14 w 160"/>
                <a:gd name="T43" fmla="*/ 44 h 177"/>
                <a:gd name="T44" fmla="*/ 75 w 160"/>
                <a:gd name="T45" fmla="*/ 10 h 177"/>
                <a:gd name="T46" fmla="*/ 80 w 160"/>
                <a:gd name="T47" fmla="*/ 9 h 177"/>
                <a:gd name="T48" fmla="*/ 86 w 160"/>
                <a:gd name="T49" fmla="*/ 10 h 177"/>
                <a:gd name="T50" fmla="*/ 147 w 160"/>
                <a:gd name="T51" fmla="*/ 44 h 177"/>
                <a:gd name="T52" fmla="*/ 152 w 160"/>
                <a:gd name="T53" fmla="*/ 53 h 177"/>
                <a:gd name="T54" fmla="*/ 152 w 160"/>
                <a:gd name="T55" fmla="*/ 12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77">
                  <a:moveTo>
                    <a:pt x="151" y="37"/>
                  </a:moveTo>
                  <a:cubicBezTo>
                    <a:pt x="90" y="3"/>
                    <a:pt x="90" y="3"/>
                    <a:pt x="90" y="3"/>
                  </a:cubicBezTo>
                  <a:cubicBezTo>
                    <a:pt x="85" y="0"/>
                    <a:pt x="76" y="0"/>
                    <a:pt x="71" y="3"/>
                  </a:cubicBezTo>
                  <a:cubicBezTo>
                    <a:pt x="10" y="37"/>
                    <a:pt x="10" y="37"/>
                    <a:pt x="10" y="37"/>
                  </a:cubicBezTo>
                  <a:cubicBezTo>
                    <a:pt x="5" y="40"/>
                    <a:pt x="0" y="47"/>
                    <a:pt x="0" y="53"/>
                  </a:cubicBezTo>
                  <a:cubicBezTo>
                    <a:pt x="0" y="125"/>
                    <a:pt x="0" y="125"/>
                    <a:pt x="0" y="125"/>
                  </a:cubicBezTo>
                  <a:cubicBezTo>
                    <a:pt x="0" y="131"/>
                    <a:pt x="5" y="138"/>
                    <a:pt x="10" y="140"/>
                  </a:cubicBezTo>
                  <a:cubicBezTo>
                    <a:pt x="71" y="174"/>
                    <a:pt x="71" y="174"/>
                    <a:pt x="71" y="174"/>
                  </a:cubicBezTo>
                  <a:cubicBezTo>
                    <a:pt x="74" y="176"/>
                    <a:pt x="77" y="177"/>
                    <a:pt x="80" y="177"/>
                  </a:cubicBezTo>
                  <a:cubicBezTo>
                    <a:pt x="84" y="177"/>
                    <a:pt x="87" y="176"/>
                    <a:pt x="90" y="174"/>
                  </a:cubicBezTo>
                  <a:cubicBezTo>
                    <a:pt x="151" y="140"/>
                    <a:pt x="151" y="140"/>
                    <a:pt x="151" y="140"/>
                  </a:cubicBezTo>
                  <a:cubicBezTo>
                    <a:pt x="156" y="138"/>
                    <a:pt x="160" y="131"/>
                    <a:pt x="160" y="125"/>
                  </a:cubicBezTo>
                  <a:cubicBezTo>
                    <a:pt x="160" y="53"/>
                    <a:pt x="160" y="53"/>
                    <a:pt x="160" y="53"/>
                  </a:cubicBezTo>
                  <a:cubicBezTo>
                    <a:pt x="160" y="47"/>
                    <a:pt x="156" y="40"/>
                    <a:pt x="151" y="37"/>
                  </a:cubicBezTo>
                  <a:moveTo>
                    <a:pt x="152" y="125"/>
                  </a:moveTo>
                  <a:cubicBezTo>
                    <a:pt x="152" y="128"/>
                    <a:pt x="150" y="132"/>
                    <a:pt x="147" y="133"/>
                  </a:cubicBezTo>
                  <a:cubicBezTo>
                    <a:pt x="86" y="167"/>
                    <a:pt x="86" y="167"/>
                    <a:pt x="86" y="167"/>
                  </a:cubicBezTo>
                  <a:cubicBezTo>
                    <a:pt x="83" y="169"/>
                    <a:pt x="78" y="169"/>
                    <a:pt x="75" y="167"/>
                  </a:cubicBezTo>
                  <a:cubicBezTo>
                    <a:pt x="14" y="133"/>
                    <a:pt x="14" y="133"/>
                    <a:pt x="14" y="133"/>
                  </a:cubicBezTo>
                  <a:cubicBezTo>
                    <a:pt x="11" y="132"/>
                    <a:pt x="9" y="128"/>
                    <a:pt x="9" y="125"/>
                  </a:cubicBezTo>
                  <a:cubicBezTo>
                    <a:pt x="9" y="53"/>
                    <a:pt x="9" y="53"/>
                    <a:pt x="9" y="53"/>
                  </a:cubicBezTo>
                  <a:cubicBezTo>
                    <a:pt x="9" y="50"/>
                    <a:pt x="11" y="46"/>
                    <a:pt x="14" y="44"/>
                  </a:cubicBezTo>
                  <a:cubicBezTo>
                    <a:pt x="75" y="10"/>
                    <a:pt x="75" y="10"/>
                    <a:pt x="75" y="10"/>
                  </a:cubicBezTo>
                  <a:cubicBezTo>
                    <a:pt x="77" y="9"/>
                    <a:pt x="78" y="9"/>
                    <a:pt x="80" y="9"/>
                  </a:cubicBezTo>
                  <a:cubicBezTo>
                    <a:pt x="82" y="9"/>
                    <a:pt x="84" y="9"/>
                    <a:pt x="86" y="10"/>
                  </a:cubicBezTo>
                  <a:cubicBezTo>
                    <a:pt x="147" y="44"/>
                    <a:pt x="147" y="44"/>
                    <a:pt x="147" y="44"/>
                  </a:cubicBezTo>
                  <a:cubicBezTo>
                    <a:pt x="150" y="46"/>
                    <a:pt x="152" y="50"/>
                    <a:pt x="152" y="53"/>
                  </a:cubicBezTo>
                  <a:lnTo>
                    <a:pt x="152" y="125"/>
                  </a:lnTo>
                  <a:close/>
                </a:path>
              </a:pathLst>
            </a:custGeom>
            <a:solidFill>
              <a:srgbClr val="080103"/>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cs typeface="+mn-ea"/>
                <a:sym typeface="+mn-lt"/>
              </a:endParaRPr>
            </a:p>
          </p:txBody>
        </p:sp>
        <p:sp>
          <p:nvSpPr>
            <p:cNvPr id="77" name="Freeform 77"/>
            <p:cNvSpPr>
              <a:spLocks noEditPoints="1"/>
            </p:cNvSpPr>
            <p:nvPr/>
          </p:nvSpPr>
          <p:spPr bwMode="auto">
            <a:xfrm>
              <a:off x="7086855" y="5527354"/>
              <a:ext cx="131728" cy="257108"/>
            </a:xfrm>
            <a:custGeom>
              <a:avLst/>
              <a:gdLst>
                <a:gd name="T0" fmla="*/ 33 w 67"/>
                <a:gd name="T1" fmla="*/ 0 h 129"/>
                <a:gd name="T2" fmla="*/ 0 w 67"/>
                <a:gd name="T3" fmla="*/ 58 h 129"/>
                <a:gd name="T4" fmla="*/ 31 w 67"/>
                <a:gd name="T5" fmla="*/ 107 h 129"/>
                <a:gd name="T6" fmla="*/ 31 w 67"/>
                <a:gd name="T7" fmla="*/ 127 h 129"/>
                <a:gd name="T8" fmla="*/ 33 w 67"/>
                <a:gd name="T9" fmla="*/ 129 h 129"/>
                <a:gd name="T10" fmla="*/ 36 w 67"/>
                <a:gd name="T11" fmla="*/ 127 h 129"/>
                <a:gd name="T12" fmla="*/ 36 w 67"/>
                <a:gd name="T13" fmla="*/ 107 h 129"/>
                <a:gd name="T14" fmla="*/ 67 w 67"/>
                <a:gd name="T15" fmla="*/ 58 h 129"/>
                <a:gd name="T16" fmla="*/ 33 w 67"/>
                <a:gd name="T17" fmla="*/ 0 h 129"/>
                <a:gd name="T18" fmla="*/ 4 w 67"/>
                <a:gd name="T19" fmla="*/ 58 h 129"/>
                <a:gd name="T20" fmla="*/ 31 w 67"/>
                <a:gd name="T21" fmla="*/ 8 h 129"/>
                <a:gd name="T22" fmla="*/ 31 w 67"/>
                <a:gd name="T23" fmla="*/ 103 h 129"/>
                <a:gd name="T24" fmla="*/ 4 w 67"/>
                <a:gd name="T25" fmla="*/ 58 h 129"/>
                <a:gd name="T26" fmla="*/ 36 w 67"/>
                <a:gd name="T27" fmla="*/ 103 h 129"/>
                <a:gd name="T28" fmla="*/ 36 w 67"/>
                <a:gd name="T29" fmla="*/ 8 h 129"/>
                <a:gd name="T30" fmla="*/ 63 w 67"/>
                <a:gd name="T31" fmla="*/ 58 h 129"/>
                <a:gd name="T32" fmla="*/ 36 w 67"/>
                <a:gd name="T33"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129">
                  <a:moveTo>
                    <a:pt x="33" y="0"/>
                  </a:moveTo>
                  <a:cubicBezTo>
                    <a:pt x="33" y="0"/>
                    <a:pt x="0" y="28"/>
                    <a:pt x="0" y="58"/>
                  </a:cubicBezTo>
                  <a:cubicBezTo>
                    <a:pt x="0" y="86"/>
                    <a:pt x="14" y="105"/>
                    <a:pt x="31" y="107"/>
                  </a:cubicBezTo>
                  <a:cubicBezTo>
                    <a:pt x="31" y="127"/>
                    <a:pt x="31" y="127"/>
                    <a:pt x="31" y="127"/>
                  </a:cubicBezTo>
                  <a:cubicBezTo>
                    <a:pt x="31" y="129"/>
                    <a:pt x="32" y="129"/>
                    <a:pt x="33" y="129"/>
                  </a:cubicBezTo>
                  <a:cubicBezTo>
                    <a:pt x="35" y="129"/>
                    <a:pt x="36" y="129"/>
                    <a:pt x="36" y="127"/>
                  </a:cubicBezTo>
                  <a:cubicBezTo>
                    <a:pt x="36" y="107"/>
                    <a:pt x="36" y="107"/>
                    <a:pt x="36" y="107"/>
                  </a:cubicBezTo>
                  <a:cubicBezTo>
                    <a:pt x="53" y="105"/>
                    <a:pt x="67" y="86"/>
                    <a:pt x="67" y="58"/>
                  </a:cubicBezTo>
                  <a:cubicBezTo>
                    <a:pt x="67" y="28"/>
                    <a:pt x="33" y="0"/>
                    <a:pt x="33" y="0"/>
                  </a:cubicBezTo>
                  <a:moveTo>
                    <a:pt x="4" y="58"/>
                  </a:moveTo>
                  <a:cubicBezTo>
                    <a:pt x="4" y="37"/>
                    <a:pt x="22" y="16"/>
                    <a:pt x="31" y="8"/>
                  </a:cubicBezTo>
                  <a:cubicBezTo>
                    <a:pt x="31" y="103"/>
                    <a:pt x="31" y="103"/>
                    <a:pt x="31" y="103"/>
                  </a:cubicBezTo>
                  <a:cubicBezTo>
                    <a:pt x="16" y="101"/>
                    <a:pt x="4" y="82"/>
                    <a:pt x="4" y="58"/>
                  </a:cubicBezTo>
                  <a:moveTo>
                    <a:pt x="36" y="103"/>
                  </a:moveTo>
                  <a:cubicBezTo>
                    <a:pt x="36" y="8"/>
                    <a:pt x="36" y="8"/>
                    <a:pt x="36" y="8"/>
                  </a:cubicBezTo>
                  <a:cubicBezTo>
                    <a:pt x="45" y="16"/>
                    <a:pt x="63" y="37"/>
                    <a:pt x="63" y="58"/>
                  </a:cubicBezTo>
                  <a:cubicBezTo>
                    <a:pt x="63" y="82"/>
                    <a:pt x="51" y="101"/>
                    <a:pt x="36" y="103"/>
                  </a:cubicBezTo>
                </a:path>
              </a:pathLst>
            </a:custGeom>
            <a:solidFill>
              <a:srgbClr val="080103"/>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cs typeface="+mn-ea"/>
                <a:sym typeface="+mn-lt"/>
              </a:endParaRPr>
            </a:p>
          </p:txBody>
        </p:sp>
      </p:grpSp>
      <p:pic>
        <p:nvPicPr>
          <p:cNvPr id="54" name="Picture 4" descr="C:\Users\hwx559043\AppData\Roaming\eSpace_Desktop\UserData\hwx559043\imagefiles\498AFCAD-65A4-487C-816E-9EBA7C779BDB.png"/>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9179702" y="5468189"/>
            <a:ext cx="553411" cy="528997"/>
          </a:xfrm>
          <a:prstGeom prst="rect">
            <a:avLst/>
          </a:prstGeom>
          <a:noFill/>
          <a:extLst>
            <a:ext uri="{909E8E84-426E-40DD-AFC4-6F175D3DCCD1}">
              <a14:hiddenFill xmlns:a14="http://schemas.microsoft.com/office/drawing/2010/main">
                <a:solidFill>
                  <a:srgbClr val="FFFFFF"/>
                </a:solidFill>
              </a14:hiddenFill>
            </a:ext>
          </a:extLst>
        </p:spPr>
      </p:pic>
      <p:sp>
        <p:nvSpPr>
          <p:cNvPr id="81" name="Freeform 80"/>
          <p:cNvSpPr>
            <a:spLocks noEditPoints="1"/>
          </p:cNvSpPr>
          <p:nvPr/>
        </p:nvSpPr>
        <p:spPr bwMode="auto">
          <a:xfrm>
            <a:off x="6081228" y="5484358"/>
            <a:ext cx="432903" cy="514690"/>
          </a:xfrm>
          <a:custGeom>
            <a:avLst/>
            <a:gdLst>
              <a:gd name="T0" fmla="*/ 80 w 160"/>
              <a:gd name="T1" fmla="*/ 71 h 177"/>
              <a:gd name="T2" fmla="*/ 96 w 160"/>
              <a:gd name="T3" fmla="*/ 60 h 177"/>
              <a:gd name="T4" fmla="*/ 82 w 160"/>
              <a:gd name="T5" fmla="*/ 35 h 177"/>
              <a:gd name="T6" fmla="*/ 64 w 160"/>
              <a:gd name="T7" fmla="*/ 46 h 177"/>
              <a:gd name="T8" fmla="*/ 68 w 160"/>
              <a:gd name="T9" fmla="*/ 46 h 177"/>
              <a:gd name="T10" fmla="*/ 92 w 160"/>
              <a:gd name="T11" fmla="*/ 60 h 177"/>
              <a:gd name="T12" fmla="*/ 68 w 160"/>
              <a:gd name="T13" fmla="*/ 46 h 177"/>
              <a:gd name="T14" fmla="*/ 24 w 160"/>
              <a:gd name="T15" fmla="*/ 115 h 177"/>
              <a:gd name="T16" fmla="*/ 44 w 160"/>
              <a:gd name="T17" fmla="*/ 135 h 177"/>
              <a:gd name="T18" fmla="*/ 44 w 160"/>
              <a:gd name="T19" fmla="*/ 106 h 177"/>
              <a:gd name="T20" fmla="*/ 44 w 160"/>
              <a:gd name="T21" fmla="*/ 131 h 177"/>
              <a:gd name="T22" fmla="*/ 28 w 160"/>
              <a:gd name="T23" fmla="*/ 115 h 177"/>
              <a:gd name="T24" fmla="*/ 48 w 160"/>
              <a:gd name="T25" fmla="*/ 115 h 177"/>
              <a:gd name="T26" fmla="*/ 78 w 160"/>
              <a:gd name="T27" fmla="*/ 77 h 177"/>
              <a:gd name="T28" fmla="*/ 82 w 160"/>
              <a:gd name="T29" fmla="*/ 100 h 177"/>
              <a:gd name="T30" fmla="*/ 151 w 160"/>
              <a:gd name="T31" fmla="*/ 37 h 177"/>
              <a:gd name="T32" fmla="*/ 10 w 160"/>
              <a:gd name="T33" fmla="*/ 37 h 177"/>
              <a:gd name="T34" fmla="*/ 10 w 160"/>
              <a:gd name="T35" fmla="*/ 140 h 177"/>
              <a:gd name="T36" fmla="*/ 90 w 160"/>
              <a:gd name="T37" fmla="*/ 174 h 177"/>
              <a:gd name="T38" fmla="*/ 160 w 160"/>
              <a:gd name="T39" fmla="*/ 53 h 177"/>
              <a:gd name="T40" fmla="*/ 147 w 160"/>
              <a:gd name="T41" fmla="*/ 133 h 177"/>
              <a:gd name="T42" fmla="*/ 14 w 160"/>
              <a:gd name="T43" fmla="*/ 133 h 177"/>
              <a:gd name="T44" fmla="*/ 14 w 160"/>
              <a:gd name="T45" fmla="*/ 44 h 177"/>
              <a:gd name="T46" fmla="*/ 85 w 160"/>
              <a:gd name="T47" fmla="*/ 10 h 177"/>
              <a:gd name="T48" fmla="*/ 152 w 160"/>
              <a:gd name="T49" fmla="*/ 125 h 177"/>
              <a:gd name="T50" fmla="*/ 108 w 160"/>
              <a:gd name="T51" fmla="*/ 115 h 177"/>
              <a:gd name="T52" fmla="*/ 128 w 160"/>
              <a:gd name="T53" fmla="*/ 135 h 177"/>
              <a:gd name="T54" fmla="*/ 128 w 160"/>
              <a:gd name="T55" fmla="*/ 106 h 177"/>
              <a:gd name="T56" fmla="*/ 117 w 160"/>
              <a:gd name="T57" fmla="*/ 131 h 177"/>
              <a:gd name="T58" fmla="*/ 117 w 160"/>
              <a:gd name="T59" fmla="*/ 110 h 177"/>
              <a:gd name="T60" fmla="*/ 132 w 160"/>
              <a:gd name="T61" fmla="*/ 126 h 177"/>
              <a:gd name="T62" fmla="*/ 124 w 160"/>
              <a:gd name="T63" fmla="*/ 99 h 177"/>
              <a:gd name="T64" fmla="*/ 95 w 160"/>
              <a:gd name="T65" fmla="*/ 75 h 177"/>
              <a:gd name="T66" fmla="*/ 86 w 160"/>
              <a:gd name="T67" fmla="*/ 106 h 177"/>
              <a:gd name="T68" fmla="*/ 66 w 160"/>
              <a:gd name="T69" fmla="*/ 126 h 177"/>
              <a:gd name="T70" fmla="*/ 94 w 160"/>
              <a:gd name="T71" fmla="*/ 126 h 177"/>
              <a:gd name="T72" fmla="*/ 90 w 160"/>
              <a:gd name="T73" fmla="*/ 126 h 177"/>
              <a:gd name="T74" fmla="*/ 75 w 160"/>
              <a:gd name="T75" fmla="*/ 131 h 177"/>
              <a:gd name="T76" fmla="*/ 75 w 160"/>
              <a:gd name="T77" fmla="*/ 110 h 177"/>
              <a:gd name="T78" fmla="*/ 90 w 160"/>
              <a:gd name="T79" fmla="*/ 126 h 177"/>
              <a:gd name="T80" fmla="*/ 37 w 160"/>
              <a:gd name="T81" fmla="*/ 102 h 177"/>
              <a:gd name="T82" fmla="*/ 65 w 160"/>
              <a:gd name="T83" fmla="*/ 7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77">
                <a:moveTo>
                  <a:pt x="66" y="63"/>
                </a:moveTo>
                <a:cubicBezTo>
                  <a:pt x="78" y="71"/>
                  <a:pt x="78" y="71"/>
                  <a:pt x="78" y="71"/>
                </a:cubicBezTo>
                <a:cubicBezTo>
                  <a:pt x="79" y="71"/>
                  <a:pt x="80" y="71"/>
                  <a:pt x="80" y="71"/>
                </a:cubicBezTo>
                <a:cubicBezTo>
                  <a:pt x="81" y="71"/>
                  <a:pt x="81" y="71"/>
                  <a:pt x="82" y="71"/>
                </a:cubicBezTo>
                <a:cubicBezTo>
                  <a:pt x="94" y="63"/>
                  <a:pt x="94" y="63"/>
                  <a:pt x="94" y="63"/>
                </a:cubicBezTo>
                <a:cubicBezTo>
                  <a:pt x="95" y="63"/>
                  <a:pt x="96" y="61"/>
                  <a:pt x="96" y="60"/>
                </a:cubicBezTo>
                <a:cubicBezTo>
                  <a:pt x="96" y="46"/>
                  <a:pt x="96" y="46"/>
                  <a:pt x="96" y="46"/>
                </a:cubicBezTo>
                <a:cubicBezTo>
                  <a:pt x="96" y="44"/>
                  <a:pt x="95" y="43"/>
                  <a:pt x="94" y="43"/>
                </a:cubicBezTo>
                <a:cubicBezTo>
                  <a:pt x="82" y="35"/>
                  <a:pt x="82" y="35"/>
                  <a:pt x="82" y="35"/>
                </a:cubicBezTo>
                <a:cubicBezTo>
                  <a:pt x="81" y="35"/>
                  <a:pt x="79" y="35"/>
                  <a:pt x="78" y="35"/>
                </a:cubicBezTo>
                <a:cubicBezTo>
                  <a:pt x="66" y="43"/>
                  <a:pt x="66" y="43"/>
                  <a:pt x="66" y="43"/>
                </a:cubicBezTo>
                <a:cubicBezTo>
                  <a:pt x="65" y="43"/>
                  <a:pt x="64" y="44"/>
                  <a:pt x="64" y="46"/>
                </a:cubicBezTo>
                <a:cubicBezTo>
                  <a:pt x="64" y="60"/>
                  <a:pt x="64" y="60"/>
                  <a:pt x="64" y="60"/>
                </a:cubicBezTo>
                <a:cubicBezTo>
                  <a:pt x="64" y="61"/>
                  <a:pt x="65" y="63"/>
                  <a:pt x="66" y="63"/>
                </a:cubicBezTo>
                <a:moveTo>
                  <a:pt x="68" y="46"/>
                </a:moveTo>
                <a:cubicBezTo>
                  <a:pt x="80" y="39"/>
                  <a:pt x="80" y="39"/>
                  <a:pt x="80" y="39"/>
                </a:cubicBezTo>
                <a:cubicBezTo>
                  <a:pt x="92" y="46"/>
                  <a:pt x="92" y="46"/>
                  <a:pt x="92" y="46"/>
                </a:cubicBezTo>
                <a:cubicBezTo>
                  <a:pt x="92" y="60"/>
                  <a:pt x="92" y="60"/>
                  <a:pt x="92" y="60"/>
                </a:cubicBezTo>
                <a:cubicBezTo>
                  <a:pt x="80" y="67"/>
                  <a:pt x="80" y="67"/>
                  <a:pt x="80" y="67"/>
                </a:cubicBezTo>
                <a:cubicBezTo>
                  <a:pt x="68" y="60"/>
                  <a:pt x="68" y="60"/>
                  <a:pt x="68" y="60"/>
                </a:cubicBezTo>
                <a:lnTo>
                  <a:pt x="68" y="46"/>
                </a:lnTo>
                <a:close/>
                <a:moveTo>
                  <a:pt x="44" y="106"/>
                </a:moveTo>
                <a:cubicBezTo>
                  <a:pt x="33" y="106"/>
                  <a:pt x="33" y="106"/>
                  <a:pt x="33" y="106"/>
                </a:cubicBezTo>
                <a:cubicBezTo>
                  <a:pt x="28" y="106"/>
                  <a:pt x="24" y="110"/>
                  <a:pt x="24" y="115"/>
                </a:cubicBezTo>
                <a:cubicBezTo>
                  <a:pt x="24" y="126"/>
                  <a:pt x="24" y="126"/>
                  <a:pt x="24" y="126"/>
                </a:cubicBezTo>
                <a:cubicBezTo>
                  <a:pt x="24" y="131"/>
                  <a:pt x="28" y="135"/>
                  <a:pt x="33" y="135"/>
                </a:cubicBezTo>
                <a:cubicBezTo>
                  <a:pt x="44" y="135"/>
                  <a:pt x="44" y="135"/>
                  <a:pt x="44" y="135"/>
                </a:cubicBezTo>
                <a:cubicBezTo>
                  <a:pt x="48" y="135"/>
                  <a:pt x="52" y="131"/>
                  <a:pt x="52" y="126"/>
                </a:cubicBezTo>
                <a:cubicBezTo>
                  <a:pt x="52" y="115"/>
                  <a:pt x="52" y="115"/>
                  <a:pt x="52" y="115"/>
                </a:cubicBezTo>
                <a:cubicBezTo>
                  <a:pt x="52" y="110"/>
                  <a:pt x="48" y="106"/>
                  <a:pt x="44" y="106"/>
                </a:cubicBezTo>
                <a:moveTo>
                  <a:pt x="48" y="126"/>
                </a:moveTo>
                <a:cubicBezTo>
                  <a:pt x="48" y="126"/>
                  <a:pt x="48" y="126"/>
                  <a:pt x="48" y="126"/>
                </a:cubicBezTo>
                <a:cubicBezTo>
                  <a:pt x="48" y="129"/>
                  <a:pt x="46" y="131"/>
                  <a:pt x="44" y="131"/>
                </a:cubicBezTo>
                <a:cubicBezTo>
                  <a:pt x="33" y="131"/>
                  <a:pt x="33" y="131"/>
                  <a:pt x="33" y="131"/>
                </a:cubicBezTo>
                <a:cubicBezTo>
                  <a:pt x="30" y="131"/>
                  <a:pt x="28" y="129"/>
                  <a:pt x="28" y="126"/>
                </a:cubicBezTo>
                <a:cubicBezTo>
                  <a:pt x="28" y="115"/>
                  <a:pt x="28" y="115"/>
                  <a:pt x="28" y="115"/>
                </a:cubicBezTo>
                <a:cubicBezTo>
                  <a:pt x="28" y="112"/>
                  <a:pt x="30" y="110"/>
                  <a:pt x="33" y="110"/>
                </a:cubicBezTo>
                <a:cubicBezTo>
                  <a:pt x="44" y="110"/>
                  <a:pt x="44" y="110"/>
                  <a:pt x="44" y="110"/>
                </a:cubicBezTo>
                <a:cubicBezTo>
                  <a:pt x="46" y="110"/>
                  <a:pt x="48" y="112"/>
                  <a:pt x="48" y="115"/>
                </a:cubicBezTo>
                <a:lnTo>
                  <a:pt x="48" y="126"/>
                </a:lnTo>
                <a:close/>
                <a:moveTo>
                  <a:pt x="80" y="75"/>
                </a:moveTo>
                <a:cubicBezTo>
                  <a:pt x="79" y="75"/>
                  <a:pt x="78" y="76"/>
                  <a:pt x="78" y="77"/>
                </a:cubicBezTo>
                <a:cubicBezTo>
                  <a:pt x="78" y="100"/>
                  <a:pt x="78" y="100"/>
                  <a:pt x="78" y="100"/>
                </a:cubicBezTo>
                <a:cubicBezTo>
                  <a:pt x="78" y="101"/>
                  <a:pt x="79" y="102"/>
                  <a:pt x="80" y="102"/>
                </a:cubicBezTo>
                <a:cubicBezTo>
                  <a:pt x="81" y="102"/>
                  <a:pt x="82" y="101"/>
                  <a:pt x="82" y="100"/>
                </a:cubicBezTo>
                <a:cubicBezTo>
                  <a:pt x="82" y="77"/>
                  <a:pt x="82" y="77"/>
                  <a:pt x="82" y="77"/>
                </a:cubicBezTo>
                <a:cubicBezTo>
                  <a:pt x="82" y="76"/>
                  <a:pt x="81" y="75"/>
                  <a:pt x="80" y="75"/>
                </a:cubicBezTo>
                <a:moveTo>
                  <a:pt x="151" y="37"/>
                </a:moveTo>
                <a:cubicBezTo>
                  <a:pt x="90" y="3"/>
                  <a:pt x="90" y="3"/>
                  <a:pt x="90" y="3"/>
                </a:cubicBezTo>
                <a:cubicBezTo>
                  <a:pt x="84" y="0"/>
                  <a:pt x="76" y="0"/>
                  <a:pt x="71" y="3"/>
                </a:cubicBezTo>
                <a:cubicBezTo>
                  <a:pt x="10" y="37"/>
                  <a:pt x="10" y="37"/>
                  <a:pt x="10" y="37"/>
                </a:cubicBezTo>
                <a:cubicBezTo>
                  <a:pt x="4" y="40"/>
                  <a:pt x="0" y="47"/>
                  <a:pt x="0" y="53"/>
                </a:cubicBezTo>
                <a:cubicBezTo>
                  <a:pt x="0" y="125"/>
                  <a:pt x="0" y="125"/>
                  <a:pt x="0" y="125"/>
                </a:cubicBezTo>
                <a:cubicBezTo>
                  <a:pt x="0" y="131"/>
                  <a:pt x="4" y="138"/>
                  <a:pt x="10" y="140"/>
                </a:cubicBezTo>
                <a:cubicBezTo>
                  <a:pt x="71" y="174"/>
                  <a:pt x="71" y="174"/>
                  <a:pt x="71" y="174"/>
                </a:cubicBezTo>
                <a:cubicBezTo>
                  <a:pt x="73" y="176"/>
                  <a:pt x="77" y="177"/>
                  <a:pt x="80" y="177"/>
                </a:cubicBezTo>
                <a:cubicBezTo>
                  <a:pt x="84" y="177"/>
                  <a:pt x="87" y="176"/>
                  <a:pt x="90" y="174"/>
                </a:cubicBezTo>
                <a:cubicBezTo>
                  <a:pt x="151" y="140"/>
                  <a:pt x="151" y="140"/>
                  <a:pt x="151" y="140"/>
                </a:cubicBezTo>
                <a:cubicBezTo>
                  <a:pt x="156" y="138"/>
                  <a:pt x="160" y="131"/>
                  <a:pt x="160" y="125"/>
                </a:cubicBezTo>
                <a:cubicBezTo>
                  <a:pt x="160" y="53"/>
                  <a:pt x="160" y="53"/>
                  <a:pt x="160" y="53"/>
                </a:cubicBezTo>
                <a:cubicBezTo>
                  <a:pt x="160" y="47"/>
                  <a:pt x="156" y="40"/>
                  <a:pt x="151" y="37"/>
                </a:cubicBezTo>
                <a:moveTo>
                  <a:pt x="152" y="125"/>
                </a:moveTo>
                <a:cubicBezTo>
                  <a:pt x="152" y="128"/>
                  <a:pt x="149" y="132"/>
                  <a:pt x="147" y="133"/>
                </a:cubicBezTo>
                <a:cubicBezTo>
                  <a:pt x="85" y="167"/>
                  <a:pt x="85" y="167"/>
                  <a:pt x="85" y="167"/>
                </a:cubicBezTo>
                <a:cubicBezTo>
                  <a:pt x="83" y="169"/>
                  <a:pt x="78" y="169"/>
                  <a:pt x="75" y="167"/>
                </a:cubicBezTo>
                <a:cubicBezTo>
                  <a:pt x="14" y="133"/>
                  <a:pt x="14" y="133"/>
                  <a:pt x="14" y="133"/>
                </a:cubicBezTo>
                <a:cubicBezTo>
                  <a:pt x="11" y="132"/>
                  <a:pt x="9" y="128"/>
                  <a:pt x="9" y="125"/>
                </a:cubicBezTo>
                <a:cubicBezTo>
                  <a:pt x="9" y="53"/>
                  <a:pt x="9" y="53"/>
                  <a:pt x="9" y="53"/>
                </a:cubicBezTo>
                <a:cubicBezTo>
                  <a:pt x="9" y="50"/>
                  <a:pt x="11" y="46"/>
                  <a:pt x="14" y="44"/>
                </a:cubicBezTo>
                <a:cubicBezTo>
                  <a:pt x="75" y="10"/>
                  <a:pt x="75" y="10"/>
                  <a:pt x="75" y="10"/>
                </a:cubicBezTo>
                <a:cubicBezTo>
                  <a:pt x="76" y="9"/>
                  <a:pt x="78" y="9"/>
                  <a:pt x="80" y="9"/>
                </a:cubicBezTo>
                <a:cubicBezTo>
                  <a:pt x="82" y="9"/>
                  <a:pt x="84" y="9"/>
                  <a:pt x="85" y="10"/>
                </a:cubicBezTo>
                <a:cubicBezTo>
                  <a:pt x="147" y="44"/>
                  <a:pt x="147" y="44"/>
                  <a:pt x="147" y="44"/>
                </a:cubicBezTo>
                <a:cubicBezTo>
                  <a:pt x="149" y="46"/>
                  <a:pt x="152" y="50"/>
                  <a:pt x="152" y="53"/>
                </a:cubicBezTo>
                <a:lnTo>
                  <a:pt x="152" y="125"/>
                </a:lnTo>
                <a:close/>
                <a:moveTo>
                  <a:pt x="128" y="106"/>
                </a:moveTo>
                <a:cubicBezTo>
                  <a:pt x="117" y="106"/>
                  <a:pt x="117" y="106"/>
                  <a:pt x="117" y="106"/>
                </a:cubicBezTo>
                <a:cubicBezTo>
                  <a:pt x="112" y="106"/>
                  <a:pt x="108" y="110"/>
                  <a:pt x="108" y="115"/>
                </a:cubicBezTo>
                <a:cubicBezTo>
                  <a:pt x="108" y="126"/>
                  <a:pt x="108" y="126"/>
                  <a:pt x="108" y="126"/>
                </a:cubicBezTo>
                <a:cubicBezTo>
                  <a:pt x="108" y="131"/>
                  <a:pt x="112" y="135"/>
                  <a:pt x="117" y="135"/>
                </a:cubicBezTo>
                <a:cubicBezTo>
                  <a:pt x="128" y="135"/>
                  <a:pt x="128" y="135"/>
                  <a:pt x="128" y="135"/>
                </a:cubicBezTo>
                <a:cubicBezTo>
                  <a:pt x="132" y="135"/>
                  <a:pt x="136" y="131"/>
                  <a:pt x="136" y="126"/>
                </a:cubicBezTo>
                <a:cubicBezTo>
                  <a:pt x="136" y="115"/>
                  <a:pt x="136" y="115"/>
                  <a:pt x="136" y="115"/>
                </a:cubicBezTo>
                <a:cubicBezTo>
                  <a:pt x="136" y="110"/>
                  <a:pt x="132" y="106"/>
                  <a:pt x="128" y="106"/>
                </a:cubicBezTo>
                <a:moveTo>
                  <a:pt x="132" y="126"/>
                </a:moveTo>
                <a:cubicBezTo>
                  <a:pt x="132" y="129"/>
                  <a:pt x="130" y="131"/>
                  <a:pt x="128" y="131"/>
                </a:cubicBezTo>
                <a:cubicBezTo>
                  <a:pt x="117" y="131"/>
                  <a:pt x="117" y="131"/>
                  <a:pt x="117" y="131"/>
                </a:cubicBezTo>
                <a:cubicBezTo>
                  <a:pt x="114" y="131"/>
                  <a:pt x="112" y="129"/>
                  <a:pt x="112" y="126"/>
                </a:cubicBezTo>
                <a:cubicBezTo>
                  <a:pt x="112" y="115"/>
                  <a:pt x="112" y="115"/>
                  <a:pt x="112" y="115"/>
                </a:cubicBezTo>
                <a:cubicBezTo>
                  <a:pt x="112" y="112"/>
                  <a:pt x="114" y="110"/>
                  <a:pt x="117" y="110"/>
                </a:cubicBezTo>
                <a:cubicBezTo>
                  <a:pt x="128" y="110"/>
                  <a:pt x="128" y="110"/>
                  <a:pt x="128" y="110"/>
                </a:cubicBezTo>
                <a:cubicBezTo>
                  <a:pt x="130" y="110"/>
                  <a:pt x="132" y="112"/>
                  <a:pt x="132" y="115"/>
                </a:cubicBezTo>
                <a:lnTo>
                  <a:pt x="132" y="126"/>
                </a:lnTo>
                <a:close/>
                <a:moveTo>
                  <a:pt x="122" y="102"/>
                </a:moveTo>
                <a:cubicBezTo>
                  <a:pt x="123" y="102"/>
                  <a:pt x="123" y="102"/>
                  <a:pt x="123" y="102"/>
                </a:cubicBezTo>
                <a:cubicBezTo>
                  <a:pt x="124" y="101"/>
                  <a:pt x="124" y="100"/>
                  <a:pt x="124" y="99"/>
                </a:cubicBezTo>
                <a:cubicBezTo>
                  <a:pt x="124" y="98"/>
                  <a:pt x="114" y="81"/>
                  <a:pt x="97" y="72"/>
                </a:cubicBezTo>
                <a:cubicBezTo>
                  <a:pt x="96" y="71"/>
                  <a:pt x="95" y="71"/>
                  <a:pt x="94" y="72"/>
                </a:cubicBezTo>
                <a:cubicBezTo>
                  <a:pt x="94" y="73"/>
                  <a:pt x="94" y="75"/>
                  <a:pt x="95" y="75"/>
                </a:cubicBezTo>
                <a:cubicBezTo>
                  <a:pt x="111" y="84"/>
                  <a:pt x="120" y="101"/>
                  <a:pt x="120" y="101"/>
                </a:cubicBezTo>
                <a:cubicBezTo>
                  <a:pt x="121" y="102"/>
                  <a:pt x="121" y="102"/>
                  <a:pt x="122" y="102"/>
                </a:cubicBezTo>
                <a:moveTo>
                  <a:pt x="86" y="106"/>
                </a:moveTo>
                <a:cubicBezTo>
                  <a:pt x="75" y="106"/>
                  <a:pt x="75" y="106"/>
                  <a:pt x="75" y="106"/>
                </a:cubicBezTo>
                <a:cubicBezTo>
                  <a:pt x="70" y="106"/>
                  <a:pt x="66" y="110"/>
                  <a:pt x="66" y="115"/>
                </a:cubicBezTo>
                <a:cubicBezTo>
                  <a:pt x="66" y="126"/>
                  <a:pt x="66" y="126"/>
                  <a:pt x="66" y="126"/>
                </a:cubicBezTo>
                <a:cubicBezTo>
                  <a:pt x="66" y="131"/>
                  <a:pt x="70" y="135"/>
                  <a:pt x="75" y="135"/>
                </a:cubicBezTo>
                <a:cubicBezTo>
                  <a:pt x="86" y="135"/>
                  <a:pt x="86" y="135"/>
                  <a:pt x="86" y="135"/>
                </a:cubicBezTo>
                <a:cubicBezTo>
                  <a:pt x="90" y="135"/>
                  <a:pt x="94" y="131"/>
                  <a:pt x="94" y="126"/>
                </a:cubicBezTo>
                <a:cubicBezTo>
                  <a:pt x="94" y="115"/>
                  <a:pt x="94" y="115"/>
                  <a:pt x="94" y="115"/>
                </a:cubicBezTo>
                <a:cubicBezTo>
                  <a:pt x="94" y="110"/>
                  <a:pt x="90" y="106"/>
                  <a:pt x="86" y="106"/>
                </a:cubicBezTo>
                <a:moveTo>
                  <a:pt x="90" y="126"/>
                </a:moveTo>
                <a:cubicBezTo>
                  <a:pt x="90" y="126"/>
                  <a:pt x="90" y="126"/>
                  <a:pt x="90" y="126"/>
                </a:cubicBezTo>
                <a:cubicBezTo>
                  <a:pt x="90" y="129"/>
                  <a:pt x="88" y="131"/>
                  <a:pt x="86" y="131"/>
                </a:cubicBezTo>
                <a:cubicBezTo>
                  <a:pt x="75" y="131"/>
                  <a:pt x="75" y="131"/>
                  <a:pt x="75" y="131"/>
                </a:cubicBezTo>
                <a:cubicBezTo>
                  <a:pt x="72" y="131"/>
                  <a:pt x="70" y="129"/>
                  <a:pt x="70" y="126"/>
                </a:cubicBezTo>
                <a:cubicBezTo>
                  <a:pt x="70" y="115"/>
                  <a:pt x="70" y="115"/>
                  <a:pt x="70" y="115"/>
                </a:cubicBezTo>
                <a:cubicBezTo>
                  <a:pt x="70" y="112"/>
                  <a:pt x="72" y="110"/>
                  <a:pt x="75" y="110"/>
                </a:cubicBezTo>
                <a:cubicBezTo>
                  <a:pt x="86" y="110"/>
                  <a:pt x="86" y="110"/>
                  <a:pt x="86" y="110"/>
                </a:cubicBezTo>
                <a:cubicBezTo>
                  <a:pt x="88" y="110"/>
                  <a:pt x="90" y="112"/>
                  <a:pt x="90" y="115"/>
                </a:cubicBezTo>
                <a:lnTo>
                  <a:pt x="90" y="126"/>
                </a:lnTo>
                <a:close/>
                <a:moveTo>
                  <a:pt x="63" y="72"/>
                </a:moveTo>
                <a:cubicBezTo>
                  <a:pt x="47" y="81"/>
                  <a:pt x="37" y="98"/>
                  <a:pt x="36" y="99"/>
                </a:cubicBezTo>
                <a:cubicBezTo>
                  <a:pt x="36" y="100"/>
                  <a:pt x="36" y="101"/>
                  <a:pt x="37" y="102"/>
                </a:cubicBezTo>
                <a:cubicBezTo>
                  <a:pt x="38" y="102"/>
                  <a:pt x="38" y="102"/>
                  <a:pt x="38" y="102"/>
                </a:cubicBezTo>
                <a:cubicBezTo>
                  <a:pt x="39" y="102"/>
                  <a:pt x="40" y="102"/>
                  <a:pt x="40" y="101"/>
                </a:cubicBezTo>
                <a:cubicBezTo>
                  <a:pt x="40" y="101"/>
                  <a:pt x="50" y="84"/>
                  <a:pt x="65" y="75"/>
                </a:cubicBezTo>
                <a:cubicBezTo>
                  <a:pt x="66" y="75"/>
                  <a:pt x="66" y="73"/>
                  <a:pt x="66" y="72"/>
                </a:cubicBezTo>
                <a:cubicBezTo>
                  <a:pt x="65" y="71"/>
                  <a:pt x="64" y="71"/>
                  <a:pt x="63" y="72"/>
                </a:cubicBezTo>
              </a:path>
            </a:pathLst>
          </a:custGeom>
          <a:solidFill>
            <a:srgbClr val="090204"/>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en-US" sz="1800">
              <a:cs typeface="+mn-ea"/>
              <a:sym typeface="+mn-lt"/>
            </a:endParaRPr>
          </a:p>
        </p:txBody>
      </p:sp>
      <p:sp>
        <p:nvSpPr>
          <p:cNvPr id="83" name="矩形 82"/>
          <p:cNvSpPr/>
          <p:nvPr/>
        </p:nvSpPr>
        <p:spPr>
          <a:xfrm>
            <a:off x="8689132" y="6046845"/>
            <a:ext cx="1656843" cy="307777"/>
          </a:xfrm>
          <a:prstGeom prst="rect">
            <a:avLst/>
          </a:prstGeom>
          <a:noFill/>
        </p:spPr>
        <p:txBody>
          <a:bodyPr wrap="square" rtlCol="0">
            <a:spAutoFit/>
          </a:bodyPr>
          <a:lstStyle/>
          <a:p>
            <a:r>
              <a:rPr lang="en-US" altLang="zh-CN" sz="1400" dirty="0" smtClean="0">
                <a:sym typeface="+mn-lt"/>
              </a:rPr>
              <a:t>NoSQL</a:t>
            </a:r>
            <a:r>
              <a:rPr lang="zh-CN" altLang="en-US" sz="1400" dirty="0" smtClean="0">
                <a:sym typeface="+mn-lt"/>
              </a:rPr>
              <a:t>数据库服务</a:t>
            </a:r>
            <a:r>
              <a:rPr lang="en-US" altLang="zh-CN" sz="1400" dirty="0" smtClean="0">
                <a:sym typeface="+mn-lt"/>
              </a:rPr>
              <a:t> </a:t>
            </a:r>
            <a:endParaRPr lang="en-US" sz="1400" dirty="0">
              <a:sym typeface="+mn-lt"/>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传统数据库 </a:t>
            </a:r>
            <a:r>
              <a:rPr lang="en-US" altLang="zh-CN" dirty="0" smtClean="0"/>
              <a:t>VS </a:t>
            </a:r>
            <a:r>
              <a:rPr lang="zh-CN" altLang="en-US" dirty="0" smtClean="0"/>
              <a:t>云数据库 </a:t>
            </a:r>
            <a:r>
              <a:rPr lang="en-US" altLang="zh-CN" dirty="0" smtClean="0"/>
              <a:t>(1)</a:t>
            </a:r>
            <a:endParaRPr lang="zh-CN" altLang="en-US" dirty="0"/>
          </a:p>
        </p:txBody>
      </p:sp>
      <p:sp>
        <p:nvSpPr>
          <p:cNvPr id="3" name="文本占位符 2"/>
          <p:cNvSpPr>
            <a:spLocks noGrp="1"/>
          </p:cNvSpPr>
          <p:nvPr>
            <p:ph type="body" sz="quarter" idx="10"/>
          </p:nvPr>
        </p:nvSpPr>
        <p:spPr/>
        <p:txBody>
          <a:bodyPr/>
          <a:lstStyle/>
          <a:p>
            <a:r>
              <a:rPr lang="en-US" altLang="zh-CN" sz="2200" dirty="0">
                <a:cs typeface="+mn-ea"/>
                <a:sym typeface="+mn-lt"/>
              </a:rPr>
              <a:t>Gartner </a:t>
            </a:r>
            <a:r>
              <a:rPr lang="zh-CN" altLang="en-US" sz="2200" dirty="0">
                <a:cs typeface="+mn-ea"/>
                <a:sym typeface="+mn-lt"/>
              </a:rPr>
              <a:t>的最新报告（</a:t>
            </a:r>
            <a:r>
              <a:rPr lang="en-US" altLang="zh-CN" sz="2200" dirty="0">
                <a:cs typeface="+mn-ea"/>
                <a:sym typeface="+mn-lt"/>
              </a:rPr>
              <a:t>2019</a:t>
            </a:r>
            <a:r>
              <a:rPr lang="zh-CN" altLang="en-US" sz="2200" dirty="0">
                <a:cs typeface="+mn-ea"/>
                <a:sym typeface="+mn-lt"/>
              </a:rPr>
              <a:t>年）指出，云将主导数据库市场的未来，到</a:t>
            </a:r>
            <a:r>
              <a:rPr lang="en-US" altLang="zh-CN" sz="2200" dirty="0">
                <a:cs typeface="+mn-ea"/>
                <a:sym typeface="+mn-lt"/>
              </a:rPr>
              <a:t>2022</a:t>
            </a:r>
            <a:r>
              <a:rPr lang="zh-CN" altLang="en-US" sz="2200" dirty="0">
                <a:cs typeface="+mn-ea"/>
                <a:sym typeface="+mn-lt"/>
              </a:rPr>
              <a:t>年，</a:t>
            </a:r>
            <a:r>
              <a:rPr lang="en-US" altLang="zh-CN" sz="2200" dirty="0">
                <a:cs typeface="+mn-ea"/>
                <a:sym typeface="+mn-lt"/>
              </a:rPr>
              <a:t>75% </a:t>
            </a:r>
            <a:r>
              <a:rPr lang="zh-CN" altLang="en-US" sz="2200" dirty="0">
                <a:cs typeface="+mn-ea"/>
                <a:sym typeface="+mn-lt"/>
              </a:rPr>
              <a:t>的数据库将被部署或迁移至云平台，只有</a:t>
            </a:r>
            <a:r>
              <a:rPr lang="en-US" altLang="zh-CN" sz="2200" dirty="0">
                <a:cs typeface="+mn-ea"/>
                <a:sym typeface="+mn-lt"/>
              </a:rPr>
              <a:t>5% </a:t>
            </a:r>
            <a:r>
              <a:rPr lang="zh-CN" altLang="en-US" sz="2200" dirty="0">
                <a:cs typeface="+mn-ea"/>
                <a:sym typeface="+mn-lt"/>
              </a:rPr>
              <a:t>的数据库会考虑部署在本地。</a:t>
            </a:r>
            <a:endParaRPr lang="en-US" altLang="zh-CN" sz="2200" dirty="0">
              <a:cs typeface="+mn-ea"/>
              <a:sym typeface="+mn-lt"/>
            </a:endParaRPr>
          </a:p>
        </p:txBody>
      </p:sp>
      <p:sp>
        <p:nvSpPr>
          <p:cNvPr id="4" name="矩形 3"/>
          <p:cNvSpPr/>
          <p:nvPr/>
        </p:nvSpPr>
        <p:spPr>
          <a:xfrm>
            <a:off x="6442585" y="2371092"/>
            <a:ext cx="5303328" cy="2862322"/>
          </a:xfrm>
          <a:prstGeom prst="rect">
            <a:avLst/>
          </a:prstGeom>
        </p:spPr>
        <p:txBody>
          <a:bodyPr wrap="square">
            <a:spAutoFit/>
          </a:bodyPr>
          <a:lstStyle/>
          <a:p>
            <a:pPr>
              <a:lnSpc>
                <a:spcPct val="150000"/>
              </a:lnSpc>
            </a:pPr>
            <a:r>
              <a:rPr lang="zh-CN" altLang="en-US" sz="2000" b="1" dirty="0" smtClean="0">
                <a:latin typeface="+mj-ea"/>
                <a:ea typeface="+mj-ea"/>
              </a:rPr>
              <a:t>云数据库：</a:t>
            </a:r>
            <a:endParaRPr lang="en-US" altLang="zh-CN" sz="2000" b="1" dirty="0">
              <a:latin typeface="+mj-ea"/>
              <a:ea typeface="+mj-ea"/>
            </a:endParaRPr>
          </a:p>
          <a:p>
            <a:pPr>
              <a:lnSpc>
                <a:spcPct val="150000"/>
              </a:lnSpc>
            </a:pPr>
            <a:r>
              <a:rPr lang="zh-CN" altLang="en-US" sz="2000" b="1" dirty="0" smtClean="0">
                <a:solidFill>
                  <a:srgbClr val="C00000"/>
                </a:solidFill>
                <a:latin typeface="+mj-ea"/>
                <a:ea typeface="+mj-ea"/>
              </a:rPr>
              <a:t>易 </a:t>
            </a:r>
            <a:r>
              <a:rPr lang="en-US" altLang="zh-CN" sz="2000" dirty="0" smtClean="0">
                <a:latin typeface="+mj-ea"/>
                <a:ea typeface="+mj-ea"/>
              </a:rPr>
              <a:t>- </a:t>
            </a:r>
            <a:r>
              <a:rPr lang="zh-CN" altLang="en-US" sz="2000" dirty="0" smtClean="0">
                <a:latin typeface="+mj-ea"/>
                <a:ea typeface="+mj-ea"/>
              </a:rPr>
              <a:t>易</a:t>
            </a:r>
            <a:r>
              <a:rPr lang="zh-CN" altLang="en-US" sz="2000" dirty="0">
                <a:latin typeface="+mj-ea"/>
                <a:ea typeface="+mj-ea"/>
              </a:rPr>
              <a:t>使用易管理，业务敏捷上线</a:t>
            </a:r>
            <a:endParaRPr lang="en-US" altLang="zh-CN" sz="2000" dirty="0">
              <a:latin typeface="+mj-ea"/>
              <a:ea typeface="+mj-ea"/>
            </a:endParaRPr>
          </a:p>
          <a:p>
            <a:pPr>
              <a:lnSpc>
                <a:spcPct val="150000"/>
              </a:lnSpc>
            </a:pPr>
            <a:r>
              <a:rPr lang="zh-CN" altLang="en-US" sz="2000" b="1" dirty="0" smtClean="0">
                <a:solidFill>
                  <a:srgbClr val="C00000"/>
                </a:solidFill>
                <a:latin typeface="+mj-ea"/>
                <a:ea typeface="+mj-ea"/>
              </a:rPr>
              <a:t>稳 </a:t>
            </a:r>
            <a:r>
              <a:rPr lang="en-US" altLang="zh-CN" sz="2000" dirty="0" smtClean="0">
                <a:latin typeface="+mj-ea"/>
                <a:ea typeface="+mj-ea"/>
              </a:rPr>
              <a:t>- </a:t>
            </a:r>
            <a:r>
              <a:rPr lang="zh-CN" altLang="en-US" sz="2000" dirty="0" smtClean="0">
                <a:latin typeface="+mj-ea"/>
                <a:ea typeface="+mj-ea"/>
              </a:rPr>
              <a:t>高可靠，业务零中断，跨地域容灾备份</a:t>
            </a:r>
            <a:endParaRPr lang="zh-CN" altLang="en-US" sz="2000" dirty="0" smtClean="0">
              <a:latin typeface="+mj-ea"/>
              <a:ea typeface="+mj-ea"/>
            </a:endParaRPr>
          </a:p>
          <a:p>
            <a:pPr>
              <a:lnSpc>
                <a:spcPct val="150000"/>
              </a:lnSpc>
            </a:pPr>
            <a:r>
              <a:rPr lang="zh-CN" altLang="en-US" sz="2000" b="1" dirty="0" smtClean="0">
                <a:solidFill>
                  <a:srgbClr val="C00000"/>
                </a:solidFill>
                <a:latin typeface="+mj-ea"/>
                <a:ea typeface="+mj-ea"/>
              </a:rPr>
              <a:t>快 </a:t>
            </a:r>
            <a:r>
              <a:rPr lang="en-US" altLang="zh-CN" sz="2000" b="1" dirty="0" smtClean="0">
                <a:solidFill>
                  <a:srgbClr val="C00000"/>
                </a:solidFill>
                <a:latin typeface="+mj-ea"/>
                <a:ea typeface="+mj-ea"/>
              </a:rPr>
              <a:t>- </a:t>
            </a:r>
            <a:r>
              <a:rPr lang="zh-CN" altLang="en-US" sz="2000" dirty="0" smtClean="0">
                <a:latin typeface="+mj-ea"/>
                <a:ea typeface="+mj-ea"/>
              </a:rPr>
              <a:t>数据读写时延低，快速响应业务需求</a:t>
            </a:r>
            <a:endParaRPr lang="en-US" altLang="zh-CN" sz="2000" dirty="0" smtClean="0">
              <a:latin typeface="+mj-ea"/>
              <a:ea typeface="+mj-ea"/>
            </a:endParaRPr>
          </a:p>
          <a:p>
            <a:pPr>
              <a:lnSpc>
                <a:spcPct val="150000"/>
              </a:lnSpc>
            </a:pPr>
            <a:r>
              <a:rPr lang="zh-CN" altLang="en-US" sz="2000" b="1" dirty="0" smtClean="0">
                <a:solidFill>
                  <a:srgbClr val="C00000"/>
                </a:solidFill>
                <a:latin typeface="+mj-ea"/>
                <a:ea typeface="+mj-ea"/>
              </a:rPr>
              <a:t>弹 </a:t>
            </a:r>
            <a:r>
              <a:rPr lang="en-US" altLang="zh-CN" sz="2000" dirty="0" smtClean="0">
                <a:latin typeface="+mj-ea"/>
                <a:ea typeface="+mj-ea"/>
              </a:rPr>
              <a:t>- </a:t>
            </a:r>
            <a:r>
              <a:rPr lang="zh-CN" altLang="en-US" sz="2000" dirty="0" smtClean="0">
                <a:latin typeface="+mj-ea"/>
                <a:ea typeface="+mj-ea"/>
              </a:rPr>
              <a:t>扩展性好，快速自动弹性伸缩</a:t>
            </a:r>
            <a:endParaRPr lang="en-US" altLang="zh-CN" sz="2000" dirty="0" smtClean="0">
              <a:latin typeface="+mj-ea"/>
              <a:ea typeface="+mj-ea"/>
            </a:endParaRPr>
          </a:p>
          <a:p>
            <a:pPr>
              <a:lnSpc>
                <a:spcPct val="150000"/>
              </a:lnSpc>
            </a:pPr>
            <a:r>
              <a:rPr lang="zh-CN" altLang="en-US" sz="2000" b="1" dirty="0" smtClean="0">
                <a:solidFill>
                  <a:srgbClr val="C00000"/>
                </a:solidFill>
                <a:latin typeface="+mj-ea"/>
                <a:ea typeface="+mj-ea"/>
              </a:rPr>
              <a:t>密 </a:t>
            </a:r>
            <a:r>
              <a:rPr lang="en-US" altLang="zh-CN" sz="2000" dirty="0" smtClean="0">
                <a:latin typeface="+mj-ea"/>
                <a:ea typeface="+mj-ea"/>
              </a:rPr>
              <a:t>- </a:t>
            </a:r>
            <a:r>
              <a:rPr lang="zh-CN" altLang="en-US" sz="2000" dirty="0" smtClean="0">
                <a:latin typeface="+mj-ea"/>
                <a:ea typeface="+mj-ea"/>
              </a:rPr>
              <a:t>数据安全性好，全同态加密</a:t>
            </a:r>
            <a:endParaRPr lang="zh-CN" altLang="en-US" sz="2000" dirty="0">
              <a:latin typeface="+mj-ea"/>
              <a:ea typeface="+mj-ea"/>
            </a:endParaRPr>
          </a:p>
        </p:txBody>
      </p:sp>
      <p:sp>
        <p:nvSpPr>
          <p:cNvPr id="5" name="矩形 4"/>
          <p:cNvSpPr/>
          <p:nvPr/>
        </p:nvSpPr>
        <p:spPr>
          <a:xfrm>
            <a:off x="953918" y="2375849"/>
            <a:ext cx="4979353" cy="3323987"/>
          </a:xfrm>
          <a:prstGeom prst="rect">
            <a:avLst/>
          </a:prstGeom>
        </p:spPr>
        <p:txBody>
          <a:bodyPr wrap="square">
            <a:spAutoFit/>
          </a:bodyPr>
          <a:lstStyle/>
          <a:p>
            <a:pPr>
              <a:lnSpc>
                <a:spcPct val="150000"/>
              </a:lnSpc>
            </a:pPr>
            <a:r>
              <a:rPr lang="zh-CN" altLang="en-US" sz="2000" b="1" dirty="0">
                <a:latin typeface="+mj-ea"/>
                <a:ea typeface="+mj-ea"/>
              </a:rPr>
              <a:t>传统</a:t>
            </a:r>
            <a:r>
              <a:rPr lang="zh-CN" altLang="en-US" sz="2000" b="1" dirty="0" smtClean="0">
                <a:latin typeface="+mj-ea"/>
                <a:ea typeface="+mj-ea"/>
              </a:rPr>
              <a:t>数据库：</a:t>
            </a:r>
            <a:endParaRPr lang="en-US" altLang="zh-CN" sz="2000" b="1" dirty="0">
              <a:latin typeface="+mj-ea"/>
              <a:ea typeface="+mj-ea"/>
            </a:endParaRPr>
          </a:p>
          <a:p>
            <a:pPr>
              <a:lnSpc>
                <a:spcPct val="150000"/>
              </a:lnSpc>
            </a:pPr>
            <a:r>
              <a:rPr lang="zh-CN" altLang="en-US" sz="2000" dirty="0">
                <a:latin typeface="+mj-ea"/>
              </a:rPr>
              <a:t>建设和运维成本</a:t>
            </a:r>
            <a:r>
              <a:rPr lang="zh-CN" altLang="en-US" sz="2000" dirty="0" smtClean="0">
                <a:latin typeface="+mj-ea"/>
              </a:rPr>
              <a:t>高</a:t>
            </a:r>
            <a:endParaRPr lang="en-US" altLang="zh-CN" sz="2000" dirty="0" smtClean="0">
              <a:latin typeface="+mj-ea"/>
              <a:ea typeface="+mj-ea"/>
            </a:endParaRPr>
          </a:p>
          <a:p>
            <a:pPr>
              <a:lnSpc>
                <a:spcPct val="150000"/>
              </a:lnSpc>
            </a:pPr>
            <a:r>
              <a:rPr lang="zh-CN" altLang="en-US" sz="2000" dirty="0" smtClean="0">
                <a:latin typeface="+mj-ea"/>
                <a:ea typeface="+mj-ea"/>
              </a:rPr>
              <a:t>扩展不灵活</a:t>
            </a:r>
            <a:endParaRPr lang="en-US" altLang="zh-CN" sz="2000" dirty="0">
              <a:latin typeface="+mj-ea"/>
              <a:ea typeface="+mj-ea"/>
            </a:endParaRPr>
          </a:p>
          <a:p>
            <a:pPr>
              <a:lnSpc>
                <a:spcPct val="150000"/>
              </a:lnSpc>
            </a:pPr>
            <a:r>
              <a:rPr lang="zh-CN" altLang="en-US" sz="2000" dirty="0" smtClean="0">
                <a:latin typeface="+mj-ea"/>
                <a:ea typeface="+mj-ea"/>
              </a:rPr>
              <a:t>性能冗余</a:t>
            </a:r>
            <a:endParaRPr lang="en-US" altLang="zh-CN" sz="2000" b="1" dirty="0">
              <a:solidFill>
                <a:srgbClr val="C00000"/>
              </a:solidFill>
              <a:latin typeface="+mj-ea"/>
              <a:ea typeface="+mj-ea"/>
            </a:endParaRPr>
          </a:p>
          <a:p>
            <a:pPr>
              <a:lnSpc>
                <a:spcPct val="150000"/>
              </a:lnSpc>
            </a:pPr>
            <a:r>
              <a:rPr lang="zh-CN" altLang="en-US" sz="2000" dirty="0">
                <a:latin typeface="+mj-ea"/>
                <a:ea typeface="+mj-ea"/>
              </a:rPr>
              <a:t>资源</a:t>
            </a:r>
            <a:r>
              <a:rPr lang="zh-CN" altLang="en-US" sz="2000" dirty="0" smtClean="0">
                <a:latin typeface="+mj-ea"/>
                <a:ea typeface="+mj-ea"/>
              </a:rPr>
              <a:t>隔离差</a:t>
            </a:r>
            <a:endParaRPr lang="en-US" altLang="zh-CN" sz="2000" dirty="0" smtClean="0">
              <a:latin typeface="+mj-ea"/>
              <a:ea typeface="+mj-ea"/>
            </a:endParaRPr>
          </a:p>
          <a:p>
            <a:pPr>
              <a:lnSpc>
                <a:spcPct val="150000"/>
              </a:lnSpc>
            </a:pPr>
            <a:r>
              <a:rPr lang="zh-CN" altLang="en-US" sz="2000" dirty="0" smtClean="0">
                <a:latin typeface="+mj-ea"/>
                <a:ea typeface="+mj-ea"/>
              </a:rPr>
              <a:t>集成性能差</a:t>
            </a:r>
            <a:endParaRPr lang="en-US" altLang="zh-CN" sz="2000" dirty="0" smtClean="0">
              <a:latin typeface="+mj-ea"/>
              <a:ea typeface="+mj-ea"/>
            </a:endParaRPr>
          </a:p>
          <a:p>
            <a:pPr>
              <a:lnSpc>
                <a:spcPct val="150000"/>
              </a:lnSpc>
            </a:pPr>
            <a:r>
              <a:rPr lang="en-US" altLang="zh-CN" sz="2000" dirty="0" smtClean="0">
                <a:latin typeface="+mj-ea"/>
                <a:ea typeface="+mj-ea"/>
              </a:rPr>
              <a:t>……</a:t>
            </a:r>
            <a:endParaRPr lang="en-US" altLang="zh-CN" sz="2000" dirty="0">
              <a:latin typeface="+mj-ea"/>
              <a:ea typeface="+mj-ea"/>
            </a:endParaRPr>
          </a:p>
        </p:txBody>
      </p:sp>
      <p:sp>
        <p:nvSpPr>
          <p:cNvPr id="6" name="右箭头 5"/>
          <p:cNvSpPr/>
          <p:nvPr/>
        </p:nvSpPr>
        <p:spPr>
          <a:xfrm>
            <a:off x="3922963" y="3672460"/>
            <a:ext cx="1935229" cy="58230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4324350" y="3389616"/>
            <a:ext cx="1314450" cy="400110"/>
          </a:xfrm>
          <a:prstGeom prst="rect">
            <a:avLst/>
          </a:prstGeom>
          <a:noFill/>
        </p:spPr>
        <p:txBody>
          <a:bodyPr wrap="square" rtlCol="0">
            <a:spAutoFit/>
          </a:bodyPr>
          <a:lstStyle/>
          <a:p>
            <a:r>
              <a:rPr lang="zh-CN" altLang="en-US" sz="2000" dirty="0" smtClean="0"/>
              <a:t>云计算</a:t>
            </a:r>
            <a:endParaRPr lang="zh-CN" altLang="en-US" sz="2000" dirty="0"/>
          </a:p>
        </p:txBody>
      </p:sp>
      <p:sp>
        <p:nvSpPr>
          <p:cNvPr id="10" name="矩形 9"/>
          <p:cNvSpPr/>
          <p:nvPr/>
        </p:nvSpPr>
        <p:spPr>
          <a:xfrm>
            <a:off x="1448497" y="5513340"/>
            <a:ext cx="9295005" cy="461665"/>
          </a:xfrm>
          <a:prstGeom prst="rect">
            <a:avLst/>
          </a:prstGeom>
          <a:solidFill>
            <a:schemeClr val="bg2"/>
          </a:solidFill>
        </p:spPr>
        <p:txBody>
          <a:bodyPr wrap="square">
            <a:spAutoFit/>
          </a:bodyPr>
          <a:lstStyle/>
          <a:p>
            <a:pPr defTabSz="1172210" eaLnBrk="0" hangingPunct="0"/>
            <a:r>
              <a:rPr lang="zh-CN" altLang="en-US" sz="24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易、稳、快、弹、密”</a:t>
            </a:r>
            <a:r>
              <a:rPr lang="zh-CN" altLang="en-US" sz="2400" b="1" kern="0" dirty="0" smtClean="0">
                <a:solidFill>
                  <a:srgbClr val="C00000"/>
                </a:solidFill>
                <a:latin typeface="微软雅黑" panose="020B0503020204020204" pitchFamily="34" charset="-122"/>
                <a:ea typeface="微软雅黑" panose="020B0503020204020204" pitchFamily="34" charset="-122"/>
                <a:cs typeface="Arial" panose="020B0604020202020204" pitchFamily="34" charset="0"/>
              </a:rPr>
              <a:t>是对</a:t>
            </a:r>
            <a:r>
              <a:rPr lang="en-US" altLang="zh-CN" sz="2400" b="1" kern="0" dirty="0" err="1">
                <a:solidFill>
                  <a:srgbClr val="C00000"/>
                </a:solidFill>
                <a:latin typeface="微软雅黑" panose="020B0503020204020204" pitchFamily="34" charset="-122"/>
                <a:ea typeface="微软雅黑" panose="020B0503020204020204" pitchFamily="34" charset="-122"/>
                <a:cs typeface="Arial" panose="020B0604020202020204" pitchFamily="34" charset="0"/>
              </a:rPr>
              <a:t>DBaaS</a:t>
            </a:r>
            <a:r>
              <a:rPr lang="zh-CN" altLang="en-US" sz="24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的需求，也是其演进方向</a:t>
            </a:r>
            <a:endParaRPr lang="zh-CN" altLang="en-US" sz="24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传统数据库 </a:t>
            </a:r>
            <a:r>
              <a:rPr lang="en-US" altLang="zh-CN" dirty="0"/>
              <a:t>VS </a:t>
            </a:r>
            <a:r>
              <a:rPr lang="zh-CN" altLang="en-US" dirty="0"/>
              <a:t>云数据库 </a:t>
            </a:r>
            <a:r>
              <a:rPr lang="en-US" altLang="zh-CN" dirty="0" smtClean="0"/>
              <a:t>(2)</a:t>
            </a:r>
            <a:endParaRPr lang="zh-CN" altLang="en-US" dirty="0"/>
          </a:p>
        </p:txBody>
      </p:sp>
      <p:graphicFrame>
        <p:nvGraphicFramePr>
          <p:cNvPr id="7" name="表格 6"/>
          <p:cNvGraphicFramePr>
            <a:graphicFrameLocks noGrp="1"/>
          </p:cNvGraphicFramePr>
          <p:nvPr/>
        </p:nvGraphicFramePr>
        <p:xfrm>
          <a:off x="579149" y="1344281"/>
          <a:ext cx="11046835" cy="4900284"/>
        </p:xfrm>
        <a:graphic>
          <a:graphicData uri="http://schemas.openxmlformats.org/drawingml/2006/table">
            <a:tbl>
              <a:tblPr/>
              <a:tblGrid>
                <a:gridCol w="1259500"/>
                <a:gridCol w="4858874"/>
                <a:gridCol w="4928461"/>
              </a:tblGrid>
              <a:tr h="318468">
                <a:tc>
                  <a:txBody>
                    <a:bodyPr/>
                    <a:lstStyle/>
                    <a:p>
                      <a:pPr algn="ctr"/>
                      <a:r>
                        <a:rPr lang="zh-CN" altLang="en-US" sz="1600" b="1" dirty="0"/>
                        <a:t>性能项目</a:t>
                      </a:r>
                      <a:endParaRPr lang="zh-CN" altLang="en-US" sz="1600" b="1" dirty="0"/>
                    </a:p>
                  </a:txBody>
                  <a:tcPr marL="90000" marR="90000" marT="46800" marB="4680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a:t>自购服务器搭建数据库服务</a:t>
                      </a:r>
                      <a:endParaRPr lang="zh-CN" altLang="en-US" sz="1600" b="1" dirty="0"/>
                    </a:p>
                  </a:txBody>
                  <a:tcPr marL="90000" marR="90000" marT="46800" marB="46800"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a:t>云</a:t>
                      </a:r>
                      <a:r>
                        <a:rPr lang="zh-CN" altLang="en-US" sz="1600" b="1" dirty="0" smtClean="0"/>
                        <a:t>数据库</a:t>
                      </a:r>
                      <a:endParaRPr lang="en-US" sz="1600" b="1" dirty="0"/>
                    </a:p>
                  </a:txBody>
                  <a:tcPr marL="90000" marR="90000" marT="46800" marB="4680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18468">
                <a:tc>
                  <a:txBody>
                    <a:bodyPr/>
                    <a:lstStyle/>
                    <a:p>
                      <a:pPr algn="ctr"/>
                      <a:r>
                        <a:rPr lang="zh-CN" altLang="en-US" sz="1600" dirty="0"/>
                        <a:t>服务可用性</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要购买额外设备，自建主从，自建</a:t>
                      </a:r>
                      <a:r>
                        <a:rPr lang="en-US" altLang="zh-CN" sz="1600" dirty="0"/>
                        <a:t>RAID</a:t>
                      </a:r>
                      <a:r>
                        <a:rPr lang="zh-CN" altLang="en-US" sz="1600" dirty="0"/>
                        <a:t>。</a:t>
                      </a:r>
                      <a:endParaRPr lang="zh-CN" altLang="en-US" sz="1600" dirty="0"/>
                    </a:p>
                  </a:txBody>
                  <a:tcPr marL="90000" marR="90000" marT="46800" marB="46800" anchor="ctr"/>
                </a:tc>
                <a:tc>
                  <a:txBody>
                    <a:bodyPr/>
                    <a:lstStyle/>
                    <a:p>
                      <a:r>
                        <a:rPr lang="zh-CN" altLang="en-US" sz="1600" dirty="0" smtClean="0"/>
                        <a:t>根据业务需求和策略，自动调整资源，高效匹配业务要求。</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318468">
                <a:tc>
                  <a:txBody>
                    <a:bodyPr/>
                    <a:lstStyle/>
                    <a:p>
                      <a:pPr algn="ctr"/>
                      <a:r>
                        <a:rPr lang="zh-CN" altLang="en-US" sz="1600" dirty="0"/>
                        <a:t>数据可靠性</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要购买额外设备，自建主从，自建</a:t>
                      </a:r>
                      <a:r>
                        <a:rPr lang="en-US" altLang="zh-CN" sz="1600" dirty="0"/>
                        <a:t>RAID</a:t>
                      </a:r>
                      <a:r>
                        <a:rPr lang="zh-CN" altLang="en-US" sz="1600" dirty="0"/>
                        <a:t>。</a:t>
                      </a:r>
                      <a:endParaRPr lang="zh-CN" altLang="en-US" sz="1600" dirty="0"/>
                    </a:p>
                  </a:txBody>
                  <a:tcPr marL="90000" marR="90000" marT="46800" marB="46800" anchor="ctr"/>
                </a:tc>
                <a:tc>
                  <a:txBody>
                    <a:bodyPr/>
                    <a:lstStyle/>
                    <a:p>
                      <a:r>
                        <a:rPr lang="zh-CN" altLang="en-US" sz="1600" dirty="0" smtClean="0"/>
                        <a:t>能够保证任何一个副本故障时快速进行数据迁移恢复。</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567679">
                <a:tc>
                  <a:txBody>
                    <a:bodyPr/>
                    <a:lstStyle/>
                    <a:p>
                      <a:pPr algn="ctr"/>
                      <a:r>
                        <a:rPr lang="zh-CN" altLang="en-US" sz="1600" dirty="0"/>
                        <a:t>系统安全性</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要购买昂贵的硬件设备和软件服务，需要自行检测和修复安全漏洞等。</a:t>
                      </a:r>
                      <a:endParaRPr lang="zh-CN" altLang="en-US" sz="1600" dirty="0"/>
                    </a:p>
                  </a:txBody>
                  <a:tcPr marL="90000" marR="90000" marT="46800" marB="46800" anchor="ctr"/>
                </a:tc>
                <a:tc>
                  <a:txBody>
                    <a:bodyPr/>
                    <a:lstStyle/>
                    <a:p>
                      <a:r>
                        <a:rPr lang="zh-CN" altLang="en-US" sz="1600" dirty="0"/>
                        <a:t>防</a:t>
                      </a:r>
                      <a:r>
                        <a:rPr lang="en-US" altLang="zh-CN" sz="1600" dirty="0"/>
                        <a:t>DDoS</a:t>
                      </a:r>
                      <a:r>
                        <a:rPr lang="zh-CN" altLang="en-US" sz="1600" dirty="0"/>
                        <a:t>攻击，流量清洗；及时修复各种数据库安全漏洞。</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413885">
                <a:tc>
                  <a:txBody>
                    <a:bodyPr/>
                    <a:lstStyle/>
                    <a:p>
                      <a:pPr algn="ctr"/>
                      <a:r>
                        <a:rPr lang="zh-CN" altLang="en-US" sz="1600" dirty="0"/>
                        <a:t>数据库备份</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要购买设备，并自行搭建设置和后期维护。</a:t>
                      </a:r>
                      <a:endParaRPr lang="zh-CN" altLang="en-US" sz="1600" dirty="0"/>
                    </a:p>
                  </a:txBody>
                  <a:tcPr marL="90000" marR="90000" marT="46800" marB="46800" anchor="ctr"/>
                </a:tc>
                <a:tc>
                  <a:txBody>
                    <a:bodyPr/>
                    <a:lstStyle/>
                    <a:p>
                      <a:r>
                        <a:rPr lang="zh-CN" altLang="en-US" sz="1600" dirty="0"/>
                        <a:t>支持自动备份，手动备份，自定义备份存储周期。</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567679">
                <a:tc>
                  <a:txBody>
                    <a:bodyPr/>
                    <a:lstStyle/>
                    <a:p>
                      <a:pPr algn="ctr"/>
                      <a:r>
                        <a:rPr lang="zh-CN" altLang="en-US" sz="1600" dirty="0"/>
                        <a:t>软硬件投入</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数据库服务器成本相对较高，对于</a:t>
                      </a:r>
                      <a:r>
                        <a:rPr lang="en-US" altLang="zh-CN" sz="1600" dirty="0"/>
                        <a:t>SQL Server</a:t>
                      </a:r>
                      <a:r>
                        <a:rPr lang="zh-CN" altLang="en-US" sz="1600" dirty="0"/>
                        <a:t>需支付许可证费用。</a:t>
                      </a:r>
                      <a:endParaRPr lang="zh-CN" altLang="en-US" sz="1600" dirty="0"/>
                    </a:p>
                  </a:txBody>
                  <a:tcPr marL="90000" marR="90000" marT="46800" marB="46800" anchor="ctr"/>
                </a:tc>
                <a:tc>
                  <a:txBody>
                    <a:bodyPr/>
                    <a:lstStyle/>
                    <a:p>
                      <a:r>
                        <a:rPr lang="zh-CN" altLang="en-US" sz="1600" dirty="0"/>
                        <a:t>无需投入软硬件成本，按需购买，弹性伸缩。</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567679">
                <a:tc>
                  <a:txBody>
                    <a:bodyPr/>
                    <a:lstStyle/>
                    <a:p>
                      <a:pPr algn="ctr"/>
                      <a:r>
                        <a:rPr lang="zh-CN" altLang="en-US" sz="1600" dirty="0"/>
                        <a:t>系统托管</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要自</a:t>
                      </a:r>
                      <a:r>
                        <a:rPr lang="zh-CN" altLang="en-US" sz="1600" dirty="0" smtClean="0"/>
                        <a:t>购服务器</a:t>
                      </a:r>
                      <a:r>
                        <a:rPr lang="zh-CN" altLang="en-US" sz="1600" dirty="0"/>
                        <a:t>设备，如需实现主从，购买两台服务器，并进行自建。</a:t>
                      </a:r>
                      <a:endParaRPr lang="zh-CN" altLang="en-US" sz="1600" dirty="0"/>
                    </a:p>
                  </a:txBody>
                  <a:tcPr marL="90000" marR="90000" marT="46800" marB="46800" anchor="ctr"/>
                </a:tc>
                <a:tc>
                  <a:txBody>
                    <a:bodyPr/>
                    <a:lstStyle/>
                    <a:p>
                      <a:r>
                        <a:rPr lang="zh-CN" altLang="en-US" sz="1600" dirty="0"/>
                        <a:t>无需托管。</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567679">
                <a:tc>
                  <a:txBody>
                    <a:bodyPr/>
                    <a:lstStyle/>
                    <a:p>
                      <a:pPr algn="ctr"/>
                      <a:r>
                        <a:rPr lang="zh-CN" altLang="en-US" sz="1600" dirty="0"/>
                        <a:t>维护成本</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要投入大量人力成本，招聘专业的</a:t>
                      </a:r>
                      <a:r>
                        <a:rPr lang="en-US" altLang="zh-CN" sz="1600" dirty="0"/>
                        <a:t>DBA</a:t>
                      </a:r>
                      <a:r>
                        <a:rPr lang="zh-CN" altLang="en-US" sz="1600" dirty="0"/>
                        <a:t>进行维护。</a:t>
                      </a:r>
                      <a:endParaRPr lang="zh-CN" altLang="en-US" sz="1600" dirty="0"/>
                    </a:p>
                  </a:txBody>
                  <a:tcPr marL="90000" marR="90000" marT="46800" marB="46800" anchor="ctr"/>
                </a:tc>
                <a:tc>
                  <a:txBody>
                    <a:bodyPr/>
                    <a:lstStyle/>
                    <a:p>
                      <a:r>
                        <a:rPr lang="zh-CN" altLang="en-US" sz="1600" dirty="0"/>
                        <a:t>无需运维。</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567679">
                <a:tc>
                  <a:txBody>
                    <a:bodyPr/>
                    <a:lstStyle/>
                    <a:p>
                      <a:pPr algn="ctr"/>
                      <a:r>
                        <a:rPr lang="zh-CN" altLang="en-US" sz="1600" dirty="0"/>
                        <a:t>部署扩容</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tcPr>
                </a:tc>
                <a:tc>
                  <a:txBody>
                    <a:bodyPr/>
                    <a:lstStyle/>
                    <a:p>
                      <a:r>
                        <a:rPr lang="zh-CN" altLang="en-US" sz="1600" dirty="0"/>
                        <a:t>需采购和原设备匹配的硬件，需托管机房的配合，需部署设备，整体周期较长。</a:t>
                      </a:r>
                      <a:endParaRPr lang="zh-CN" altLang="en-US" sz="1600" dirty="0"/>
                    </a:p>
                  </a:txBody>
                  <a:tcPr marL="90000" marR="90000" marT="46800" marB="46800" anchor="ctr"/>
                </a:tc>
                <a:tc>
                  <a:txBody>
                    <a:bodyPr/>
                    <a:lstStyle/>
                    <a:p>
                      <a:r>
                        <a:rPr lang="zh-CN" altLang="en-US" sz="1600" dirty="0"/>
                        <a:t>弹性扩容，快速升级，按需开通。</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tcPr>
                </a:tc>
              </a:tr>
              <a:tr h="318468">
                <a:tc>
                  <a:txBody>
                    <a:bodyPr/>
                    <a:lstStyle/>
                    <a:p>
                      <a:pPr algn="ctr"/>
                      <a:r>
                        <a:rPr lang="zh-CN" altLang="en-US" sz="1600" dirty="0"/>
                        <a:t>资源利用率</a:t>
                      </a:r>
                      <a:endParaRPr lang="zh-CN" altLang="en-US" sz="1600" dirty="0"/>
                    </a:p>
                  </a:txBody>
                  <a:tcPr marL="90000" marR="90000" marT="46800" marB="4680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zh-CN" altLang="en-US" sz="1600" dirty="0"/>
                        <a:t>考虑峰值，资源利用率低。</a:t>
                      </a:r>
                      <a:endParaRPr lang="zh-CN" altLang="en-US" sz="1600" dirty="0"/>
                    </a:p>
                  </a:txBody>
                  <a:tcPr marL="90000" marR="90000" marT="46800" marB="46800" anchor="ctr">
                    <a:lnB w="28575" cap="flat" cmpd="sng" algn="ctr">
                      <a:solidFill>
                        <a:schemeClr val="tx1"/>
                      </a:solidFill>
                      <a:prstDash val="solid"/>
                      <a:round/>
                      <a:headEnd type="none" w="med" len="med"/>
                      <a:tailEnd type="none" w="med" len="med"/>
                    </a:lnB>
                  </a:tcPr>
                </a:tc>
                <a:tc>
                  <a:txBody>
                    <a:bodyPr/>
                    <a:lstStyle/>
                    <a:p>
                      <a:r>
                        <a:rPr lang="zh-CN" altLang="en-US" sz="1600" dirty="0"/>
                        <a:t>按实际结算，</a:t>
                      </a:r>
                      <a:r>
                        <a:rPr lang="en-US" altLang="zh-CN" sz="1600" dirty="0"/>
                        <a:t>100%</a:t>
                      </a:r>
                      <a:r>
                        <a:rPr lang="zh-CN" altLang="en-US" sz="1600" dirty="0"/>
                        <a:t>利用率。</a:t>
                      </a:r>
                      <a:endParaRPr lang="zh-CN" altLang="en-US" sz="1600" dirty="0"/>
                    </a:p>
                  </a:txBody>
                  <a:tcPr marL="90000" marR="90000" marT="46800" marB="4680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数据库排名</a:t>
            </a:r>
            <a:endParaRPr lang="zh-CN" altLang="en-US" dirty="0"/>
          </a:p>
        </p:txBody>
      </p:sp>
      <p:sp>
        <p:nvSpPr>
          <p:cNvPr id="25" name="文本占位符 2"/>
          <p:cNvSpPr>
            <a:spLocks noGrp="1"/>
          </p:cNvSpPr>
          <p:nvPr>
            <p:ph type="body" sz="quarter" idx="10"/>
          </p:nvPr>
        </p:nvSpPr>
        <p:spPr/>
        <p:txBody>
          <a:bodyPr/>
          <a:lstStyle/>
          <a:p>
            <a:r>
              <a:rPr lang="en-US" altLang="zh-CN" smtClean="0"/>
              <a:t>DB-ENGINES</a:t>
            </a:r>
            <a:r>
              <a:rPr lang="zh-CN" altLang="en-US" smtClean="0"/>
              <a:t>会根据数据库管理系统的流行度进行排名。</a:t>
            </a:r>
            <a:endParaRPr lang="en-US" altLang="zh-CN" dirty="0" smtClean="0"/>
          </a:p>
        </p:txBody>
      </p:sp>
      <p:pic>
        <p:nvPicPr>
          <p:cNvPr id="3" name="图片 2"/>
          <p:cNvPicPr>
            <a:picLocks noChangeAspect="1"/>
          </p:cNvPicPr>
          <p:nvPr/>
        </p:nvPicPr>
        <p:blipFill>
          <a:blip r:embed="rId1"/>
          <a:stretch>
            <a:fillRect/>
          </a:stretch>
        </p:blipFill>
        <p:spPr>
          <a:xfrm>
            <a:off x="2459596" y="1844824"/>
            <a:ext cx="6871208" cy="4336133"/>
          </a:xfrm>
          <a:prstGeom prst="rect">
            <a:avLst/>
          </a:prstGeom>
          <a:ln w="12700">
            <a:solidFill>
              <a:schemeClr val="bg1">
                <a:lumMod val="85000"/>
              </a:schemeClr>
            </a:solidFill>
          </a:ln>
          <a:effectLst>
            <a:outerShdw blurRad="50800" dist="38100" dir="2700000" algn="tl" rotWithShape="0">
              <a:prstClr val="black">
                <a:alpha val="40000"/>
              </a:prstClr>
            </a:outerShdw>
          </a:effectLst>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a:solidFill>
                  <a:schemeClr val="bg1">
                    <a:lumMod val="50000"/>
                  </a:schemeClr>
                </a:solidFill>
                <a:cs typeface="+mn-ea"/>
                <a:sym typeface="+mn-lt"/>
              </a:rPr>
              <a:t>数据库技术概述</a:t>
            </a:r>
            <a:endParaRPr lang="zh-CN" altLang="en-US" dirty="0">
              <a:solidFill>
                <a:schemeClr val="bg1">
                  <a:lumMod val="50000"/>
                </a:schemeClr>
              </a:solidFill>
              <a:cs typeface="+mn-ea"/>
              <a:sym typeface="+mn-lt"/>
            </a:endParaRPr>
          </a:p>
          <a:p>
            <a:r>
              <a:rPr lang="zh-CN" altLang="en-US" dirty="0" smtClean="0">
                <a:solidFill>
                  <a:schemeClr val="bg1">
                    <a:lumMod val="50000"/>
                  </a:schemeClr>
                </a:solidFill>
                <a:cs typeface="+mn-ea"/>
                <a:sym typeface="+mn-lt"/>
              </a:rPr>
              <a:t>数据库</a:t>
            </a:r>
            <a:r>
              <a:rPr lang="zh-CN" altLang="en-US" dirty="0">
                <a:solidFill>
                  <a:schemeClr val="bg1">
                    <a:lumMod val="50000"/>
                  </a:schemeClr>
                </a:solidFill>
                <a:cs typeface="+mn-ea"/>
                <a:sym typeface="+mn-lt"/>
              </a:rPr>
              <a:t>技术发展史</a:t>
            </a:r>
            <a:endParaRPr lang="zh-CN" altLang="en-US" dirty="0">
              <a:solidFill>
                <a:schemeClr val="bg1">
                  <a:lumMod val="50000"/>
                </a:schemeClr>
              </a:solidFill>
              <a:cs typeface="+mn-ea"/>
              <a:sym typeface="+mn-lt"/>
            </a:endParaRPr>
          </a:p>
          <a:p>
            <a:r>
              <a:rPr lang="zh-CN" altLang="en-US" b="1" dirty="0">
                <a:cs typeface="+mn-ea"/>
                <a:sym typeface="+mn-lt"/>
              </a:rPr>
              <a:t>关系型数据库</a:t>
            </a:r>
            <a:r>
              <a:rPr lang="zh-CN" altLang="en-US" b="1" dirty="0" smtClean="0">
                <a:cs typeface="+mn-ea"/>
                <a:sym typeface="+mn-lt"/>
              </a:rPr>
              <a:t>架构</a:t>
            </a:r>
            <a:r>
              <a:rPr lang="zh-CN" altLang="en-US" b="1" dirty="0">
                <a:cs typeface="+mn-ea"/>
                <a:sym typeface="+mn-lt"/>
              </a:rPr>
              <a:t>介绍</a:t>
            </a:r>
            <a:endParaRPr lang="en-US" altLang="zh-CN" b="1" dirty="0">
              <a:cs typeface="+mn-ea"/>
              <a:sym typeface="+mn-lt"/>
            </a:endParaRPr>
          </a:p>
          <a:p>
            <a:r>
              <a:rPr lang="zh-CN" altLang="en-US" dirty="0" smtClean="0">
                <a:solidFill>
                  <a:schemeClr val="bg1">
                    <a:lumMod val="50000"/>
                  </a:schemeClr>
                </a:solidFill>
                <a:cs typeface="+mn-ea"/>
                <a:sym typeface="+mn-lt"/>
              </a:rPr>
              <a:t>关系型数据库主流应用场景</a:t>
            </a:r>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type="body" sz="quarter" idx="10"/>
          </p:nvPr>
        </p:nvSpPr>
        <p:spPr>
          <a:prstGeom prst="rect">
            <a:avLst/>
          </a:prstGeom>
        </p:spPr>
        <p:txBody>
          <a:bodyPr/>
          <a:lstStyle/>
          <a:p>
            <a:r>
              <a:rPr lang="zh-CN" altLang="en-US" dirty="0" smtClean="0">
                <a:latin typeface="+mn-lt"/>
                <a:ea typeface="+mn-ea"/>
                <a:cs typeface="+mn-ea"/>
                <a:sym typeface="+mn-lt"/>
              </a:rPr>
              <a:t>学完本课程后，您将能够：</a:t>
            </a:r>
            <a:endParaRPr lang="zh-CN" altLang="en-US" dirty="0" smtClean="0">
              <a:latin typeface="+mn-lt"/>
              <a:ea typeface="+mn-ea"/>
              <a:cs typeface="+mn-ea"/>
              <a:sym typeface="+mn-lt"/>
            </a:endParaRPr>
          </a:p>
          <a:p>
            <a:pPr lvl="1"/>
            <a:r>
              <a:rPr lang="zh-CN" altLang="en-US" dirty="0" smtClean="0">
                <a:latin typeface="+mn-lt"/>
                <a:ea typeface="+mn-ea"/>
                <a:cs typeface="+mn-ea"/>
                <a:sym typeface="+mn-lt"/>
              </a:rPr>
              <a:t>描述数据库技术相关概念；</a:t>
            </a:r>
            <a:endParaRPr lang="en-US" altLang="zh-CN" dirty="0">
              <a:latin typeface="+mn-lt"/>
              <a:ea typeface="+mn-ea"/>
              <a:cs typeface="+mn-ea"/>
              <a:sym typeface="+mn-lt"/>
            </a:endParaRPr>
          </a:p>
          <a:p>
            <a:pPr lvl="1"/>
            <a:r>
              <a:rPr lang="zh-CN" altLang="en-US" dirty="0" smtClean="0">
                <a:latin typeface="+mn-lt"/>
                <a:ea typeface="+mn-ea"/>
                <a:cs typeface="+mn-ea"/>
                <a:sym typeface="+mn-lt"/>
              </a:rPr>
              <a:t>列举主要的关系型数据库；</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区分不同的关系型数据架构；</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描述并识别关系型数据库的主要应用场景。</a:t>
            </a:r>
            <a:endParaRPr lang="en-US" altLang="zh-CN" dirty="0">
              <a:latin typeface="+mn-lt"/>
              <a:ea typeface="+mn-ea"/>
              <a:cs typeface="+mn-ea"/>
              <a:sym typeface="+mn-lt"/>
            </a:endParaRPr>
          </a:p>
          <a:p>
            <a:pPr lvl="1"/>
            <a:endParaRPr lang="en-US" altLang="zh-CN" dirty="0">
              <a:latin typeface="+mn-lt"/>
              <a:ea typeface="+mn-ea"/>
              <a:cs typeface="+mn-ea"/>
              <a:sym typeface="+mn-lt"/>
            </a:endParaRPr>
          </a:p>
          <a:p>
            <a:pPr lvl="1"/>
            <a:endParaRPr lang="zh-CN" altLang="en-US" dirty="0" smtClean="0">
              <a:latin typeface="+mn-lt"/>
              <a:ea typeface="+mn-ea"/>
              <a:cs typeface="+mn-ea"/>
              <a:sym typeface="+mn-lt"/>
            </a:endParaRPr>
          </a:p>
          <a:p>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架构发展</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normAutofit/>
          </a:bodyPr>
          <a:lstStyle/>
          <a:p>
            <a:r>
              <a:rPr lang="zh-CN" altLang="en-US" sz="2000" dirty="0" smtClean="0">
                <a:latin typeface="+mn-lt"/>
                <a:ea typeface="+mn-ea"/>
                <a:cs typeface="+mn-ea"/>
                <a:sym typeface="+mn-lt"/>
              </a:rPr>
              <a:t>数据库架构变化</a:t>
            </a:r>
            <a:endParaRPr lang="en-US" altLang="zh-CN" sz="2000" dirty="0" smtClean="0">
              <a:latin typeface="+mn-lt"/>
              <a:ea typeface="+mn-ea"/>
              <a:cs typeface="+mn-ea"/>
              <a:sym typeface="+mn-lt"/>
            </a:endParaRPr>
          </a:p>
          <a:p>
            <a:pPr lvl="1"/>
            <a:r>
              <a:rPr lang="zh-CN" altLang="en-US" sz="1800" kern="1200" dirty="0" smtClean="0">
                <a:latin typeface="+mn-lt"/>
                <a:ea typeface="+mn-ea"/>
                <a:cs typeface="+mn-ea"/>
                <a:sym typeface="+mn-lt"/>
              </a:rPr>
              <a:t>随着业务规模增大，数据库存储的数据量和承载的业务压力也不断增加，数据库的架构需要随之变化，为上层应用提供稳定和高效的数据服务。</a:t>
            </a:r>
            <a:endParaRPr lang="en-US" altLang="zh-CN" sz="1800" kern="1200" dirty="0">
              <a:latin typeface="+mn-lt"/>
              <a:ea typeface="+mn-ea"/>
              <a:cs typeface="+mn-ea"/>
              <a:sym typeface="+mn-lt"/>
            </a:endParaRPr>
          </a:p>
          <a:p>
            <a:pPr lvl="1"/>
            <a:endParaRPr lang="en-US" altLang="zh-CN" sz="1600"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86" name="Rectangle 18"/>
          <p:cNvSpPr>
            <a:spLocks noChangeArrowheads="1"/>
          </p:cNvSpPr>
          <p:nvPr/>
        </p:nvSpPr>
        <p:spPr bwMode="auto">
          <a:xfrm>
            <a:off x="2273103" y="4072594"/>
            <a:ext cx="1084049" cy="521282"/>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数据库架构</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sp>
        <p:nvSpPr>
          <p:cNvPr id="89" name="Rectangle 18"/>
          <p:cNvSpPr>
            <a:spLocks noChangeArrowheads="1"/>
          </p:cNvSpPr>
          <p:nvPr/>
        </p:nvSpPr>
        <p:spPr bwMode="auto">
          <a:xfrm>
            <a:off x="4625180" y="3328453"/>
            <a:ext cx="1084049" cy="420105"/>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单机架构</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sp>
        <p:nvSpPr>
          <p:cNvPr id="90" name="Rectangle 18"/>
          <p:cNvSpPr>
            <a:spLocks noChangeArrowheads="1"/>
          </p:cNvSpPr>
          <p:nvPr/>
        </p:nvSpPr>
        <p:spPr bwMode="auto">
          <a:xfrm>
            <a:off x="4628628" y="4880475"/>
            <a:ext cx="1084049" cy="420105"/>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多机架构</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sp>
        <p:nvSpPr>
          <p:cNvPr id="91" name="Rectangle 18"/>
          <p:cNvSpPr>
            <a:spLocks noChangeArrowheads="1"/>
          </p:cNvSpPr>
          <p:nvPr/>
        </p:nvSpPr>
        <p:spPr bwMode="auto">
          <a:xfrm>
            <a:off x="6276020" y="2963216"/>
            <a:ext cx="1084049" cy="420105"/>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单主机</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sp>
        <p:nvSpPr>
          <p:cNvPr id="92" name="Rectangle 18"/>
          <p:cNvSpPr>
            <a:spLocks noChangeArrowheads="1"/>
          </p:cNvSpPr>
          <p:nvPr/>
        </p:nvSpPr>
        <p:spPr bwMode="auto">
          <a:xfrm>
            <a:off x="6276020" y="3737796"/>
            <a:ext cx="1084049" cy="420105"/>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独立主机</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sp>
        <p:nvSpPr>
          <p:cNvPr id="93" name="Rectangle 18"/>
          <p:cNvSpPr>
            <a:spLocks noChangeArrowheads="1"/>
          </p:cNvSpPr>
          <p:nvPr/>
        </p:nvSpPr>
        <p:spPr bwMode="auto">
          <a:xfrm>
            <a:off x="6276020" y="4512376"/>
            <a:ext cx="1084049" cy="420105"/>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分组</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sp>
        <p:nvSpPr>
          <p:cNvPr id="94" name="Rectangle 18"/>
          <p:cNvSpPr>
            <a:spLocks noChangeArrowheads="1"/>
          </p:cNvSpPr>
          <p:nvPr/>
        </p:nvSpPr>
        <p:spPr bwMode="auto">
          <a:xfrm>
            <a:off x="6276020" y="5286955"/>
            <a:ext cx="1084049" cy="420105"/>
          </a:xfrm>
          <a:prstGeom prst="rect">
            <a:avLst/>
          </a:prstGeom>
          <a:solidFill>
            <a:srgbClr val="FFFFFF">
              <a:lumMod val="85000"/>
            </a:srgbClr>
          </a:solidFill>
          <a:ln w="28575"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600" b="1" i="0" u="none" strike="noStrike" kern="0" cap="none" spc="0" normalizeH="0" baseline="0" noProof="0" dirty="0" smtClean="0">
                <a:ln>
                  <a:noFill/>
                </a:ln>
                <a:solidFill>
                  <a:srgbClr val="000000"/>
                </a:solidFill>
                <a:effectLst/>
                <a:uLnTx/>
                <a:uFillTx/>
                <a:cs typeface="+mn-ea"/>
                <a:sym typeface="+mn-lt"/>
              </a:rPr>
              <a:t>分片</a:t>
            </a:r>
            <a:endParaRPr kumimoji="1" lang="en-US" altLang="zh-CN" sz="1600" b="1" i="0" u="none" strike="noStrike" kern="0" cap="none" spc="0" normalizeH="0" baseline="0" noProof="0" dirty="0" smtClean="0">
              <a:ln>
                <a:noFill/>
              </a:ln>
              <a:solidFill>
                <a:srgbClr val="000000"/>
              </a:solidFill>
              <a:effectLst/>
              <a:uLnTx/>
              <a:uFillTx/>
              <a:cs typeface="+mn-ea"/>
              <a:sym typeface="+mn-lt"/>
            </a:endParaRPr>
          </a:p>
        </p:txBody>
      </p:sp>
      <p:cxnSp>
        <p:nvCxnSpPr>
          <p:cNvPr id="95" name="肘形连接符 94"/>
          <p:cNvCxnSpPr>
            <a:stCxn id="86" idx="3"/>
            <a:endCxn id="89" idx="1"/>
          </p:cNvCxnSpPr>
          <p:nvPr/>
        </p:nvCxnSpPr>
        <p:spPr bwMode="auto">
          <a:xfrm flipV="1">
            <a:off x="3357152" y="3538506"/>
            <a:ext cx="1268028" cy="794729"/>
          </a:xfrm>
          <a:prstGeom prst="bentConnector3">
            <a:avLst/>
          </a:prstGeom>
          <a:solidFill>
            <a:srgbClr val="FFFFFF">
              <a:lumMod val="85000"/>
            </a:srgbClr>
          </a:solidFill>
          <a:ln w="28575" algn="ctr">
            <a:solidFill>
              <a:srgbClr val="800000"/>
            </a:solidFill>
            <a:miter lim="800000"/>
          </a:ln>
          <a:effectLst/>
        </p:spPr>
      </p:cxnSp>
      <p:cxnSp>
        <p:nvCxnSpPr>
          <p:cNvPr id="96" name="肘形连接符 95"/>
          <p:cNvCxnSpPr>
            <a:stCxn id="86" idx="3"/>
            <a:endCxn id="90" idx="1"/>
          </p:cNvCxnSpPr>
          <p:nvPr/>
        </p:nvCxnSpPr>
        <p:spPr bwMode="auto">
          <a:xfrm>
            <a:off x="3357152" y="4333235"/>
            <a:ext cx="1271476" cy="757293"/>
          </a:xfrm>
          <a:prstGeom prst="bentConnector3">
            <a:avLst/>
          </a:prstGeom>
          <a:solidFill>
            <a:srgbClr val="FFFFFF">
              <a:lumMod val="85000"/>
            </a:srgbClr>
          </a:solidFill>
          <a:ln w="28575" algn="ctr">
            <a:solidFill>
              <a:srgbClr val="800000"/>
            </a:solidFill>
            <a:miter lim="800000"/>
          </a:ln>
          <a:effectLst/>
        </p:spPr>
      </p:cxnSp>
      <p:cxnSp>
        <p:nvCxnSpPr>
          <p:cNvPr id="97" name="肘形连接符 96"/>
          <p:cNvCxnSpPr>
            <a:stCxn id="89" idx="3"/>
            <a:endCxn id="91" idx="1"/>
          </p:cNvCxnSpPr>
          <p:nvPr/>
        </p:nvCxnSpPr>
        <p:spPr bwMode="auto">
          <a:xfrm flipV="1">
            <a:off x="5709229" y="3173269"/>
            <a:ext cx="566791" cy="365237"/>
          </a:xfrm>
          <a:prstGeom prst="bentConnector3">
            <a:avLst>
              <a:gd name="adj1" fmla="val 50000"/>
            </a:avLst>
          </a:prstGeom>
          <a:solidFill>
            <a:srgbClr val="FFFFFF">
              <a:lumMod val="85000"/>
            </a:srgbClr>
          </a:solidFill>
          <a:ln w="28575" algn="ctr">
            <a:solidFill>
              <a:srgbClr val="800000"/>
            </a:solidFill>
            <a:miter lim="800000"/>
          </a:ln>
          <a:effectLst/>
        </p:spPr>
      </p:cxnSp>
      <p:cxnSp>
        <p:nvCxnSpPr>
          <p:cNvPr id="98" name="肘形连接符 97"/>
          <p:cNvCxnSpPr>
            <a:stCxn id="89" idx="3"/>
            <a:endCxn id="92" idx="1"/>
          </p:cNvCxnSpPr>
          <p:nvPr/>
        </p:nvCxnSpPr>
        <p:spPr bwMode="auto">
          <a:xfrm>
            <a:off x="5709229" y="3538506"/>
            <a:ext cx="566791" cy="409343"/>
          </a:xfrm>
          <a:prstGeom prst="bentConnector3">
            <a:avLst>
              <a:gd name="adj1" fmla="val 50000"/>
            </a:avLst>
          </a:prstGeom>
          <a:solidFill>
            <a:srgbClr val="FFFFFF">
              <a:lumMod val="85000"/>
            </a:srgbClr>
          </a:solidFill>
          <a:ln w="28575" algn="ctr">
            <a:solidFill>
              <a:srgbClr val="800000"/>
            </a:solidFill>
            <a:miter lim="800000"/>
          </a:ln>
          <a:effectLst/>
        </p:spPr>
      </p:cxnSp>
      <p:cxnSp>
        <p:nvCxnSpPr>
          <p:cNvPr id="99" name="肘形连接符 98"/>
          <p:cNvCxnSpPr>
            <a:stCxn id="90" idx="3"/>
            <a:endCxn id="93" idx="1"/>
          </p:cNvCxnSpPr>
          <p:nvPr/>
        </p:nvCxnSpPr>
        <p:spPr bwMode="auto">
          <a:xfrm flipV="1">
            <a:off x="5712677" y="4722429"/>
            <a:ext cx="563343" cy="368099"/>
          </a:xfrm>
          <a:prstGeom prst="bentConnector3">
            <a:avLst>
              <a:gd name="adj1" fmla="val 50000"/>
            </a:avLst>
          </a:prstGeom>
          <a:solidFill>
            <a:srgbClr val="FFFFFF">
              <a:lumMod val="85000"/>
            </a:srgbClr>
          </a:solidFill>
          <a:ln w="28575" algn="ctr">
            <a:solidFill>
              <a:srgbClr val="800000"/>
            </a:solidFill>
            <a:miter lim="800000"/>
          </a:ln>
          <a:effectLst/>
        </p:spPr>
      </p:cxnSp>
      <p:cxnSp>
        <p:nvCxnSpPr>
          <p:cNvPr id="100" name="肘形连接符 99"/>
          <p:cNvCxnSpPr>
            <a:stCxn id="90" idx="3"/>
            <a:endCxn id="94" idx="1"/>
          </p:cNvCxnSpPr>
          <p:nvPr/>
        </p:nvCxnSpPr>
        <p:spPr bwMode="auto">
          <a:xfrm>
            <a:off x="5712677" y="5090528"/>
            <a:ext cx="563343" cy="406480"/>
          </a:xfrm>
          <a:prstGeom prst="bentConnector3">
            <a:avLst>
              <a:gd name="adj1" fmla="val 50000"/>
            </a:avLst>
          </a:prstGeom>
          <a:solidFill>
            <a:srgbClr val="FFFFFF">
              <a:lumMod val="85000"/>
            </a:srgbClr>
          </a:solidFill>
          <a:ln w="28575" algn="ctr">
            <a:solidFill>
              <a:srgbClr val="800000"/>
            </a:solidFill>
            <a:miter lim="800000"/>
          </a:ln>
          <a:effectLst/>
        </p:spPr>
      </p:cxnSp>
      <p:grpSp>
        <p:nvGrpSpPr>
          <p:cNvPr id="101" name="Database"/>
          <p:cNvGrpSpPr/>
          <p:nvPr>
            <p:custDataLst>
              <p:tags r:id="rId47"/>
            </p:custDataLst>
          </p:nvPr>
        </p:nvGrpSpPr>
        <p:grpSpPr>
          <a:xfrm>
            <a:off x="3896371" y="3034831"/>
            <a:ext cx="324036" cy="420105"/>
            <a:chOff x="-1607704" y="4375315"/>
            <a:chExt cx="357909" cy="378772"/>
          </a:xfrm>
          <a:solidFill>
            <a:srgbClr val="99CCFF"/>
          </a:solidFill>
        </p:grpSpPr>
        <p:sp>
          <p:nvSpPr>
            <p:cNvPr id="102"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3"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4"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nvGrpSpPr>
          <p:cNvPr id="105" name="组合 104"/>
          <p:cNvGrpSpPr/>
          <p:nvPr/>
        </p:nvGrpSpPr>
        <p:grpSpPr>
          <a:xfrm>
            <a:off x="3719416" y="5286955"/>
            <a:ext cx="734375" cy="426454"/>
            <a:chOff x="2981655" y="4718795"/>
            <a:chExt cx="734375" cy="426454"/>
          </a:xfrm>
        </p:grpSpPr>
        <p:grpSp>
          <p:nvGrpSpPr>
            <p:cNvPr id="106" name="Database"/>
            <p:cNvGrpSpPr/>
            <p:nvPr>
              <p:custDataLst>
                <p:tags r:id="rId48"/>
              </p:custDataLst>
            </p:nvPr>
          </p:nvGrpSpPr>
          <p:grpSpPr>
            <a:xfrm>
              <a:off x="2981655" y="4725144"/>
              <a:ext cx="324036" cy="420105"/>
              <a:chOff x="-1607704" y="4375315"/>
              <a:chExt cx="357909" cy="378772"/>
            </a:xfrm>
            <a:solidFill>
              <a:srgbClr val="99CCFF"/>
            </a:solidFill>
          </p:grpSpPr>
          <p:sp>
            <p:nvSpPr>
              <p:cNvPr id="112"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13"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14"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nvGrpSpPr>
            <p:cNvPr id="107" name="Database"/>
            <p:cNvGrpSpPr/>
            <p:nvPr>
              <p:custDataLst>
                <p:tags r:id="rId49"/>
              </p:custDataLst>
            </p:nvPr>
          </p:nvGrpSpPr>
          <p:grpSpPr>
            <a:xfrm>
              <a:off x="3391994" y="4725144"/>
              <a:ext cx="324036" cy="420105"/>
              <a:chOff x="-1607704" y="4375315"/>
              <a:chExt cx="357909" cy="378772"/>
            </a:xfrm>
            <a:solidFill>
              <a:srgbClr val="99CCFF"/>
            </a:solidFill>
          </p:grpSpPr>
          <p:sp>
            <p:nvSpPr>
              <p:cNvPr id="109"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10"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11"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cxnSp>
          <p:nvCxnSpPr>
            <p:cNvPr id="108" name="肘形连接符 107"/>
            <p:cNvCxnSpPr>
              <a:stCxn id="114" idx="1"/>
              <a:endCxn id="111" idx="1"/>
            </p:cNvCxnSpPr>
            <p:nvPr/>
          </p:nvCxnSpPr>
          <p:spPr bwMode="auto">
            <a:xfrm rot="5400000" flipH="1" flipV="1">
              <a:off x="3348842" y="4519975"/>
              <a:ext cx="12700" cy="410339"/>
            </a:xfrm>
            <a:prstGeom prst="bentConnector3">
              <a:avLst>
                <a:gd name="adj1" fmla="val 799984"/>
              </a:avLst>
            </a:prstGeom>
            <a:solidFill>
              <a:srgbClr val="CCFF99"/>
            </a:solidFill>
            <a:ln w="19050" cap="flat" cmpd="sng" algn="ctr">
              <a:solidFill>
                <a:srgbClr val="000000"/>
              </a:solidFill>
              <a:prstDash val="solid"/>
              <a:round/>
              <a:headEnd type="none" w="med" len="med"/>
              <a:tailEnd type="none" w="med" len="med"/>
            </a:ln>
            <a:effectLst/>
          </p:spPr>
        </p:cxnSp>
      </p:grpSp>
      <p:sp>
        <p:nvSpPr>
          <p:cNvPr id="115" name="Rectangle 18"/>
          <p:cNvSpPr>
            <a:spLocks noChangeArrowheads="1"/>
          </p:cNvSpPr>
          <p:nvPr/>
        </p:nvSpPr>
        <p:spPr bwMode="auto">
          <a:xfrm>
            <a:off x="7923413" y="4216778"/>
            <a:ext cx="656864" cy="263341"/>
          </a:xfrm>
          <a:prstGeom prst="rect">
            <a:avLst/>
          </a:prstGeom>
          <a:solidFill>
            <a:srgbClr val="FFFFFF">
              <a:lumMod val="85000"/>
            </a:srgbClr>
          </a:solidFill>
          <a:ln w="19050"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400" b="1" i="0" u="none" strike="noStrike" kern="0" cap="none" spc="0" normalizeH="0" baseline="0" noProof="0" dirty="0" smtClean="0">
                <a:ln>
                  <a:noFill/>
                </a:ln>
                <a:solidFill>
                  <a:srgbClr val="000000"/>
                </a:solidFill>
                <a:effectLst/>
                <a:uLnTx/>
                <a:uFillTx/>
                <a:cs typeface="+mn-ea"/>
                <a:sym typeface="+mn-lt"/>
              </a:rPr>
              <a:t>主备</a:t>
            </a:r>
            <a:endParaRPr kumimoji="1" lang="en-US" altLang="zh-CN" sz="1400" b="1" i="0" u="none" strike="noStrike" kern="0" cap="none" spc="0" normalizeH="0" baseline="0" noProof="0" dirty="0" smtClean="0">
              <a:ln>
                <a:noFill/>
              </a:ln>
              <a:solidFill>
                <a:srgbClr val="000000"/>
              </a:solidFill>
              <a:effectLst/>
              <a:uLnTx/>
              <a:uFillTx/>
              <a:cs typeface="+mn-ea"/>
              <a:sym typeface="+mn-lt"/>
            </a:endParaRPr>
          </a:p>
        </p:txBody>
      </p:sp>
      <p:sp>
        <p:nvSpPr>
          <p:cNvPr id="116" name="Rectangle 18"/>
          <p:cNvSpPr>
            <a:spLocks noChangeArrowheads="1"/>
          </p:cNvSpPr>
          <p:nvPr/>
        </p:nvSpPr>
        <p:spPr bwMode="auto">
          <a:xfrm>
            <a:off x="7923413" y="4609320"/>
            <a:ext cx="656864" cy="263341"/>
          </a:xfrm>
          <a:prstGeom prst="rect">
            <a:avLst/>
          </a:prstGeom>
          <a:solidFill>
            <a:srgbClr val="FFFFFF">
              <a:lumMod val="85000"/>
            </a:srgbClr>
          </a:solidFill>
          <a:ln w="19050"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400" b="1" i="0" u="none" strike="noStrike" kern="0" cap="none" spc="0" normalizeH="0" baseline="0" noProof="0" dirty="0" smtClean="0">
                <a:ln>
                  <a:noFill/>
                </a:ln>
                <a:solidFill>
                  <a:srgbClr val="000000"/>
                </a:solidFill>
                <a:effectLst/>
                <a:uLnTx/>
                <a:uFillTx/>
                <a:cs typeface="+mn-ea"/>
                <a:sym typeface="+mn-lt"/>
              </a:rPr>
              <a:t>主从</a:t>
            </a:r>
            <a:endParaRPr kumimoji="1" lang="en-US" altLang="zh-CN" sz="1400" b="1" i="0" u="none" strike="noStrike" kern="0" cap="none" spc="0" normalizeH="0" baseline="0" noProof="0" dirty="0" smtClean="0">
              <a:ln>
                <a:noFill/>
              </a:ln>
              <a:solidFill>
                <a:srgbClr val="000000"/>
              </a:solidFill>
              <a:effectLst/>
              <a:uLnTx/>
              <a:uFillTx/>
              <a:cs typeface="+mn-ea"/>
              <a:sym typeface="+mn-lt"/>
            </a:endParaRPr>
          </a:p>
        </p:txBody>
      </p:sp>
      <p:sp>
        <p:nvSpPr>
          <p:cNvPr id="117" name="Rectangle 18"/>
          <p:cNvSpPr>
            <a:spLocks noChangeArrowheads="1"/>
          </p:cNvSpPr>
          <p:nvPr/>
        </p:nvSpPr>
        <p:spPr bwMode="auto">
          <a:xfrm>
            <a:off x="7923413" y="5001863"/>
            <a:ext cx="656864" cy="263341"/>
          </a:xfrm>
          <a:prstGeom prst="rect">
            <a:avLst/>
          </a:prstGeom>
          <a:solidFill>
            <a:srgbClr val="FFFFFF">
              <a:lumMod val="85000"/>
            </a:srgbClr>
          </a:solidFill>
          <a:ln w="19050" algn="ctr">
            <a:solidFill>
              <a:srgbClr val="800000"/>
            </a:solidFill>
            <a:miter lim="800000"/>
          </a:ln>
          <a:effectLst/>
        </p:spPr>
        <p:txBody>
          <a:bodyPr wrap="none" lIns="91422" tIns="45711" rIns="91422" bIns="45711" anchor="ct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400" b="1" i="0" u="none" strike="noStrike" kern="0" cap="none" spc="0" normalizeH="0" baseline="0" noProof="0" dirty="0" smtClean="0">
                <a:ln>
                  <a:noFill/>
                </a:ln>
                <a:solidFill>
                  <a:srgbClr val="000000"/>
                </a:solidFill>
                <a:effectLst/>
                <a:uLnTx/>
                <a:uFillTx/>
                <a:cs typeface="+mn-ea"/>
                <a:sym typeface="+mn-lt"/>
              </a:rPr>
              <a:t>多主</a:t>
            </a:r>
            <a:endParaRPr kumimoji="1" lang="en-US" altLang="zh-CN" sz="1400" b="1" i="0" u="none" strike="noStrike" kern="0" cap="none" spc="0" normalizeH="0" baseline="0" noProof="0" dirty="0" smtClean="0">
              <a:ln>
                <a:noFill/>
              </a:ln>
              <a:solidFill>
                <a:srgbClr val="000000"/>
              </a:solidFill>
              <a:effectLst/>
              <a:uLnTx/>
              <a:uFillTx/>
              <a:cs typeface="+mn-ea"/>
              <a:sym typeface="+mn-lt"/>
            </a:endParaRPr>
          </a:p>
        </p:txBody>
      </p:sp>
      <p:cxnSp>
        <p:nvCxnSpPr>
          <p:cNvPr id="118" name="肘形连接符 117"/>
          <p:cNvCxnSpPr>
            <a:stCxn id="93" idx="3"/>
            <a:endCxn id="115" idx="1"/>
          </p:cNvCxnSpPr>
          <p:nvPr/>
        </p:nvCxnSpPr>
        <p:spPr bwMode="auto">
          <a:xfrm flipV="1">
            <a:off x="7360069" y="4348449"/>
            <a:ext cx="563344" cy="373980"/>
          </a:xfrm>
          <a:prstGeom prst="bentConnector3">
            <a:avLst>
              <a:gd name="adj1" fmla="val 50000"/>
            </a:avLst>
          </a:prstGeom>
          <a:solidFill>
            <a:srgbClr val="FFFFFF">
              <a:lumMod val="85000"/>
            </a:srgbClr>
          </a:solidFill>
          <a:ln w="19050" algn="ctr">
            <a:solidFill>
              <a:srgbClr val="800000"/>
            </a:solidFill>
            <a:miter lim="800000"/>
          </a:ln>
          <a:effectLst/>
        </p:spPr>
      </p:cxnSp>
      <p:cxnSp>
        <p:nvCxnSpPr>
          <p:cNvPr id="119" name="肘形连接符 118"/>
          <p:cNvCxnSpPr>
            <a:stCxn id="93" idx="3"/>
            <a:endCxn id="116" idx="1"/>
          </p:cNvCxnSpPr>
          <p:nvPr/>
        </p:nvCxnSpPr>
        <p:spPr bwMode="auto">
          <a:xfrm>
            <a:off x="7360069" y="4722429"/>
            <a:ext cx="563344" cy="18562"/>
          </a:xfrm>
          <a:prstGeom prst="bentConnector3">
            <a:avLst>
              <a:gd name="adj1" fmla="val 50000"/>
            </a:avLst>
          </a:prstGeom>
          <a:solidFill>
            <a:srgbClr val="FFFFFF">
              <a:lumMod val="85000"/>
            </a:srgbClr>
          </a:solidFill>
          <a:ln w="19050" algn="ctr">
            <a:solidFill>
              <a:srgbClr val="800000"/>
            </a:solidFill>
            <a:miter lim="800000"/>
          </a:ln>
          <a:effectLst/>
        </p:spPr>
      </p:cxnSp>
      <p:cxnSp>
        <p:nvCxnSpPr>
          <p:cNvPr id="120" name="肘形连接符 119"/>
          <p:cNvCxnSpPr>
            <a:stCxn id="93" idx="3"/>
            <a:endCxn id="117" idx="1"/>
          </p:cNvCxnSpPr>
          <p:nvPr/>
        </p:nvCxnSpPr>
        <p:spPr bwMode="auto">
          <a:xfrm>
            <a:off x="7360069" y="4722429"/>
            <a:ext cx="563344" cy="411105"/>
          </a:xfrm>
          <a:prstGeom prst="bentConnector3">
            <a:avLst>
              <a:gd name="adj1" fmla="val 50000"/>
            </a:avLst>
          </a:prstGeom>
          <a:solidFill>
            <a:srgbClr val="FFFFFF">
              <a:lumMod val="85000"/>
            </a:srgbClr>
          </a:solidFill>
          <a:ln w="19050" algn="ctr">
            <a:solidFill>
              <a:srgbClr val="800000"/>
            </a:solidFill>
            <a:miter lim="800000"/>
          </a:ln>
          <a:effectLst/>
        </p:spPr>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单机架构</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6504836" cy="4680000"/>
          </a:xfrm>
        </p:spPr>
        <p:txBody>
          <a:bodyPr/>
          <a:lstStyle/>
          <a:p>
            <a:r>
              <a:rPr lang="zh-CN" altLang="en-US" sz="1450" dirty="0" smtClean="0">
                <a:latin typeface="+mn-lt"/>
                <a:ea typeface="+mn-ea"/>
                <a:cs typeface="+mn-ea"/>
                <a:sym typeface="+mn-lt"/>
              </a:rPr>
              <a:t>单机架构：</a:t>
            </a:r>
            <a:endParaRPr lang="en-US" altLang="zh-CN" sz="1450" dirty="0" smtClean="0">
              <a:latin typeface="+mn-lt"/>
              <a:ea typeface="+mn-ea"/>
              <a:cs typeface="+mn-ea"/>
              <a:sym typeface="+mn-lt"/>
            </a:endParaRPr>
          </a:p>
          <a:p>
            <a:pPr lvl="1"/>
            <a:r>
              <a:rPr lang="zh-CN" altLang="en-US" sz="1400" dirty="0" smtClean="0">
                <a:latin typeface="+mn-lt"/>
                <a:ea typeface="+mn-ea"/>
                <a:cs typeface="+mn-ea"/>
                <a:sym typeface="+mn-lt"/>
              </a:rPr>
              <a:t>为了避免应用服务和数据库服务对资源的竞争，单机架构也从早期的单主机模式发展到数据库独立主机模式，把应用和数据服务分开。应用服务可以增加服务器数量，进行负载均衡，增大系统并发能力。</a:t>
            </a:r>
            <a:endParaRPr lang="en-US" altLang="zh-CN" sz="1400" dirty="0" smtClean="0">
              <a:latin typeface="+mn-lt"/>
              <a:ea typeface="+mn-ea"/>
              <a:cs typeface="+mn-ea"/>
              <a:sym typeface="+mn-lt"/>
            </a:endParaRPr>
          </a:p>
          <a:p>
            <a:r>
              <a:rPr lang="zh-CN" altLang="en-US" sz="1450" dirty="0" smtClean="0">
                <a:latin typeface="+mn-lt"/>
                <a:ea typeface="+mn-ea"/>
                <a:cs typeface="+mn-ea"/>
                <a:sym typeface="+mn-lt"/>
              </a:rPr>
              <a:t>优点</a:t>
            </a:r>
            <a:endParaRPr lang="en-US" altLang="zh-CN" sz="1450" dirty="0" smtClean="0">
              <a:latin typeface="+mn-lt"/>
              <a:ea typeface="+mn-ea"/>
              <a:cs typeface="+mn-ea"/>
              <a:sym typeface="+mn-lt"/>
            </a:endParaRPr>
          </a:p>
          <a:p>
            <a:pPr lvl="1">
              <a:lnSpc>
                <a:spcPct val="150000"/>
              </a:lnSpc>
              <a:spcBef>
                <a:spcPts val="0"/>
              </a:spcBef>
            </a:pPr>
            <a:r>
              <a:rPr lang="zh-CN" altLang="en-US" sz="1450" dirty="0" smtClean="0">
                <a:latin typeface="+mn-lt"/>
                <a:ea typeface="+mn-ea"/>
                <a:cs typeface="+mn-ea"/>
                <a:sym typeface="+mn-lt"/>
              </a:rPr>
              <a:t>部署集中，运维方便。</a:t>
            </a:r>
            <a:endParaRPr lang="en-US" altLang="zh-CN" sz="1450" dirty="0" smtClean="0">
              <a:latin typeface="+mn-lt"/>
              <a:ea typeface="+mn-ea"/>
              <a:cs typeface="+mn-ea"/>
              <a:sym typeface="+mn-lt"/>
            </a:endParaRPr>
          </a:p>
          <a:p>
            <a:r>
              <a:rPr lang="zh-CN" altLang="en-US" sz="1450" dirty="0" smtClean="0">
                <a:latin typeface="+mn-lt"/>
                <a:ea typeface="+mn-ea"/>
                <a:cs typeface="+mn-ea"/>
                <a:sym typeface="+mn-lt"/>
              </a:rPr>
              <a:t>缺点</a:t>
            </a:r>
            <a:endParaRPr lang="en-US" altLang="zh-CN" sz="1450" dirty="0" smtClean="0">
              <a:latin typeface="+mn-lt"/>
              <a:ea typeface="+mn-ea"/>
              <a:cs typeface="+mn-ea"/>
              <a:sym typeface="+mn-lt"/>
            </a:endParaRPr>
          </a:p>
          <a:p>
            <a:pPr lvl="1"/>
            <a:r>
              <a:rPr lang="zh-CN" altLang="en-US" sz="1450" dirty="0" smtClean="0">
                <a:latin typeface="+mn-lt"/>
                <a:ea typeface="+mn-ea"/>
                <a:cs typeface="+mn-ea"/>
                <a:sym typeface="+mn-lt"/>
              </a:rPr>
              <a:t>可扩展性：</a:t>
            </a:r>
            <a:endParaRPr lang="en-US" altLang="zh-CN" sz="1450" dirty="0" smtClean="0">
              <a:latin typeface="+mn-lt"/>
              <a:ea typeface="+mn-ea"/>
              <a:cs typeface="+mn-ea"/>
              <a:sym typeface="+mn-lt"/>
            </a:endParaRPr>
          </a:p>
          <a:p>
            <a:pPr lvl="2">
              <a:lnSpc>
                <a:spcPct val="150000"/>
              </a:lnSpc>
              <a:spcBef>
                <a:spcPts val="0"/>
              </a:spcBef>
            </a:pPr>
            <a:r>
              <a:rPr lang="zh-CN" altLang="en-US" sz="1450" dirty="0">
                <a:latin typeface="+mn-lt"/>
                <a:ea typeface="+mn-ea"/>
                <a:cs typeface="+mn-ea"/>
                <a:sym typeface="+mn-lt"/>
              </a:rPr>
              <a:t>数据库单机架构扩展性只有纵向扩展 </a:t>
            </a:r>
            <a:r>
              <a:rPr lang="en-US" altLang="zh-CN" sz="1450" dirty="0">
                <a:latin typeface="+mn-lt"/>
                <a:ea typeface="+mn-ea"/>
                <a:cs typeface="+mn-ea"/>
                <a:sym typeface="+mn-lt"/>
              </a:rPr>
              <a:t>(Scale-up)</a:t>
            </a:r>
            <a:r>
              <a:rPr lang="zh-CN" altLang="en-US" sz="1450" dirty="0">
                <a:latin typeface="+mn-lt"/>
                <a:ea typeface="+mn-ea"/>
                <a:cs typeface="+mn-ea"/>
                <a:sym typeface="+mn-lt"/>
              </a:rPr>
              <a:t>。通过增加硬件配置来提升性能，但单台主机的硬件可配置的资源会遇到上限。</a:t>
            </a:r>
            <a:endParaRPr lang="en-US" altLang="zh-CN" sz="1450" dirty="0">
              <a:latin typeface="+mn-lt"/>
              <a:ea typeface="+mn-ea"/>
              <a:cs typeface="+mn-ea"/>
              <a:sym typeface="+mn-lt"/>
            </a:endParaRPr>
          </a:p>
          <a:p>
            <a:pPr lvl="1"/>
            <a:r>
              <a:rPr lang="zh-CN" altLang="en-US" sz="1450" dirty="0" smtClean="0">
                <a:latin typeface="+mn-lt"/>
                <a:ea typeface="+mn-ea"/>
                <a:cs typeface="+mn-ea"/>
                <a:sym typeface="+mn-lt"/>
              </a:rPr>
              <a:t>存在单点故障</a:t>
            </a:r>
            <a:endParaRPr lang="en-US" altLang="zh-CN" sz="1450" dirty="0" smtClean="0">
              <a:latin typeface="+mn-lt"/>
              <a:ea typeface="+mn-ea"/>
              <a:cs typeface="+mn-ea"/>
              <a:sym typeface="+mn-lt"/>
            </a:endParaRPr>
          </a:p>
          <a:p>
            <a:pPr lvl="2">
              <a:lnSpc>
                <a:spcPct val="150000"/>
              </a:lnSpc>
              <a:spcBef>
                <a:spcPts val="0"/>
              </a:spcBef>
            </a:pPr>
            <a:r>
              <a:rPr lang="zh-CN" altLang="en-US" sz="1450" dirty="0" smtClean="0">
                <a:latin typeface="+mn-lt"/>
                <a:ea typeface="+mn-ea"/>
                <a:cs typeface="+mn-ea"/>
                <a:sym typeface="+mn-lt"/>
              </a:rPr>
              <a:t>扩容的时候往往需要停机扩容，服务停止。</a:t>
            </a:r>
            <a:endParaRPr lang="en-US" altLang="zh-CN" sz="1450" dirty="0" smtClean="0">
              <a:latin typeface="+mn-lt"/>
              <a:ea typeface="+mn-ea"/>
              <a:cs typeface="+mn-ea"/>
              <a:sym typeface="+mn-lt"/>
            </a:endParaRPr>
          </a:p>
          <a:p>
            <a:pPr lvl="2">
              <a:lnSpc>
                <a:spcPct val="150000"/>
              </a:lnSpc>
              <a:spcBef>
                <a:spcPts val="0"/>
              </a:spcBef>
            </a:pPr>
            <a:r>
              <a:rPr lang="zh-CN" altLang="en-US" sz="1450" dirty="0" smtClean="0">
                <a:latin typeface="+mn-lt"/>
                <a:ea typeface="+mn-ea"/>
                <a:cs typeface="+mn-ea"/>
                <a:sym typeface="+mn-lt"/>
              </a:rPr>
              <a:t>硬件故障导致整个服务不可用，甚至数据丢失。</a:t>
            </a:r>
            <a:endParaRPr lang="en-US" altLang="zh-CN" sz="1450" dirty="0" smtClean="0">
              <a:latin typeface="+mn-lt"/>
              <a:ea typeface="+mn-ea"/>
              <a:cs typeface="+mn-ea"/>
              <a:sym typeface="+mn-lt"/>
            </a:endParaRPr>
          </a:p>
          <a:p>
            <a:pPr lvl="1"/>
            <a:r>
              <a:rPr lang="zh-CN" altLang="en-US" sz="1450" dirty="0" smtClean="0">
                <a:latin typeface="+mn-lt"/>
                <a:ea typeface="+mn-ea"/>
                <a:cs typeface="+mn-ea"/>
                <a:sym typeface="+mn-lt"/>
              </a:rPr>
              <a:t>单机会遇到性能瓶颈。</a:t>
            </a:r>
            <a:endParaRPr lang="en-US" altLang="zh-CN" sz="1450" dirty="0">
              <a:latin typeface="+mn-lt"/>
              <a:ea typeface="+mn-ea"/>
              <a:cs typeface="+mn-ea"/>
              <a:sym typeface="+mn-lt"/>
            </a:endParaRPr>
          </a:p>
        </p:txBody>
      </p:sp>
      <p:sp>
        <p:nvSpPr>
          <p:cNvPr id="165" name="流程图: 可选过程 164"/>
          <p:cNvSpPr/>
          <p:nvPr/>
        </p:nvSpPr>
        <p:spPr bwMode="auto">
          <a:xfrm>
            <a:off x="9408958" y="3095598"/>
            <a:ext cx="1606191" cy="852454"/>
          </a:xfrm>
          <a:prstGeom prst="flowChartAlternateProcess">
            <a:avLst/>
          </a:prstGeom>
          <a:solidFill>
            <a:srgbClr val="FFFF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t"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dirty="0" smtClean="0">
              <a:ln>
                <a:noFill/>
              </a:ln>
              <a:solidFill>
                <a:srgbClr val="000000"/>
              </a:solidFill>
              <a:effectLst/>
              <a:uLnTx/>
              <a:uFillTx/>
              <a:cs typeface="+mn-ea"/>
              <a:sym typeface="+mn-lt"/>
            </a:endParaRPr>
          </a:p>
        </p:txBody>
      </p:sp>
      <p:grpSp>
        <p:nvGrpSpPr>
          <p:cNvPr id="166" name="Community_Gathering"/>
          <p:cNvGrpSpPr>
            <a:grpSpLocks noChangeAspect="1"/>
          </p:cNvGrpSpPr>
          <p:nvPr>
            <p:custDataLst>
              <p:tags r:id="rId1"/>
            </p:custDataLst>
          </p:nvPr>
        </p:nvGrpSpPr>
        <p:grpSpPr bwMode="auto">
          <a:xfrm>
            <a:off x="7750824" y="1386576"/>
            <a:ext cx="474701" cy="363194"/>
            <a:chOff x="22" y="71"/>
            <a:chExt cx="447" cy="342"/>
          </a:xfrm>
          <a:solidFill>
            <a:srgbClr val="990000"/>
          </a:solidFill>
          <a:effectLst>
            <a:outerShdw blurRad="50800" dist="38100" dir="2700000" algn="tl" rotWithShape="0">
              <a:prstClr val="black">
                <a:alpha val="40000"/>
              </a:prstClr>
            </a:outerShdw>
          </a:effectLst>
        </p:grpSpPr>
        <p:sp>
          <p:nvSpPr>
            <p:cNvPr id="167" name="Community_Gathering"/>
            <p:cNvSpPr>
              <a:spLocks noEditPoints="1"/>
            </p:cNvSpPr>
            <p:nvPr>
              <p:custDataLst>
                <p:tags r:id="rId2"/>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68" name="Community_Gathering"/>
            <p:cNvSpPr/>
            <p:nvPr>
              <p:custDataLst>
                <p:tags r:id="rId3"/>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69" name="Community_Gathering"/>
            <p:cNvSpPr>
              <a:spLocks noEditPoints="1"/>
            </p:cNvSpPr>
            <p:nvPr>
              <p:custDataLst>
                <p:tags r:id="rId4"/>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70" name="Community_Gathering"/>
            <p:cNvSpPr/>
            <p:nvPr>
              <p:custDataLst>
                <p:tags r:id="rId5"/>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71" name="Community_Gathering"/>
            <p:cNvSpPr>
              <a:spLocks noEditPoints="1"/>
            </p:cNvSpPr>
            <p:nvPr>
              <p:custDataLst>
                <p:tags r:id="rId6"/>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72" name="Community_Gathering"/>
            <p:cNvSpPr>
              <a:spLocks noEditPoints="1"/>
            </p:cNvSpPr>
            <p:nvPr>
              <p:custDataLst>
                <p:tags r:id="rId7"/>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grpSp>
      <p:sp>
        <p:nvSpPr>
          <p:cNvPr id="173" name="文本框 172"/>
          <p:cNvSpPr txBox="1"/>
          <p:nvPr/>
        </p:nvSpPr>
        <p:spPr bwMode="auto">
          <a:xfrm>
            <a:off x="8289243" y="1492798"/>
            <a:ext cx="413378"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a:solidFill>
                  <a:srgbClr val="C00000"/>
                </a:solidFill>
                <a:cs typeface="+mn-ea"/>
                <a:sym typeface="+mn-lt"/>
              </a:rPr>
              <a:t>用户</a:t>
            </a:r>
            <a:endParaRPr kumimoji="1" lang="zh-CN" altLang="en-US" sz="1200" b="1" dirty="0">
              <a:solidFill>
                <a:srgbClr val="C00000"/>
              </a:solidFill>
              <a:cs typeface="+mn-ea"/>
              <a:sym typeface="+mn-lt"/>
            </a:endParaRPr>
          </a:p>
        </p:txBody>
      </p:sp>
      <p:grpSp>
        <p:nvGrpSpPr>
          <p:cNvPr id="174" name="组合 173"/>
          <p:cNvGrpSpPr/>
          <p:nvPr/>
        </p:nvGrpSpPr>
        <p:grpSpPr>
          <a:xfrm>
            <a:off x="7236932" y="2053296"/>
            <a:ext cx="1523364" cy="1878090"/>
            <a:chOff x="6911804" y="1831394"/>
            <a:chExt cx="1523364" cy="1878090"/>
          </a:xfrm>
        </p:grpSpPr>
        <p:sp>
          <p:nvSpPr>
            <p:cNvPr id="175" name="流程图: 可选过程 174"/>
            <p:cNvSpPr/>
            <p:nvPr/>
          </p:nvSpPr>
          <p:spPr bwMode="auto">
            <a:xfrm>
              <a:off x="6911804" y="1831394"/>
              <a:ext cx="1523364" cy="1878090"/>
            </a:xfrm>
            <a:prstGeom prst="flowChartAlternateProcess">
              <a:avLst/>
            </a:prstGeom>
            <a:solidFill>
              <a:srgbClr val="FFFF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t"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dirty="0" smtClean="0">
                <a:ln>
                  <a:noFill/>
                </a:ln>
                <a:solidFill>
                  <a:srgbClr val="000000"/>
                </a:solidFill>
                <a:effectLst/>
                <a:uLnTx/>
                <a:uFillTx/>
                <a:cs typeface="+mn-ea"/>
                <a:sym typeface="+mn-lt"/>
              </a:endParaRPr>
            </a:p>
          </p:txBody>
        </p:sp>
        <p:sp>
          <p:nvSpPr>
            <p:cNvPr id="176" name="文本框 175"/>
            <p:cNvSpPr txBox="1"/>
            <p:nvPr/>
          </p:nvSpPr>
          <p:spPr bwMode="auto">
            <a:xfrm>
              <a:off x="7183339" y="3388822"/>
              <a:ext cx="1009920"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200" b="1" i="0" u="none" strike="noStrike" kern="0" cap="none" spc="0" normalizeH="0" baseline="0" noProof="0" dirty="0" smtClean="0">
                  <a:ln>
                    <a:noFill/>
                  </a:ln>
                  <a:solidFill>
                    <a:srgbClr val="006699"/>
                  </a:solidFill>
                  <a:effectLst/>
                  <a:uLnTx/>
                  <a:uFillTx/>
                  <a:cs typeface="+mn-ea"/>
                  <a:sym typeface="+mn-lt"/>
                </a:rPr>
                <a:t>操作系统</a:t>
              </a:r>
              <a:r>
                <a:rPr kumimoji="1" lang="en-US" altLang="zh-CN" sz="1200" b="1" i="0" u="none" strike="noStrike" kern="0" cap="none" spc="0" normalizeH="0" baseline="0" noProof="0" dirty="0" smtClean="0">
                  <a:ln>
                    <a:noFill/>
                  </a:ln>
                  <a:solidFill>
                    <a:srgbClr val="006699"/>
                  </a:solidFill>
                  <a:effectLst/>
                  <a:uLnTx/>
                  <a:uFillTx/>
                  <a:cs typeface="+mn-ea"/>
                  <a:sym typeface="+mn-lt"/>
                </a:rPr>
                <a:t>OS</a:t>
              </a:r>
              <a:endParaRPr kumimoji="1" lang="zh-CN" altLang="en-US" sz="1200" b="1" i="0" u="none" strike="noStrike" kern="0" cap="none" spc="0" normalizeH="0" baseline="0" noProof="0" dirty="0" smtClean="0">
                <a:ln>
                  <a:noFill/>
                </a:ln>
                <a:solidFill>
                  <a:srgbClr val="006699"/>
                </a:solidFill>
                <a:effectLst/>
                <a:uLnTx/>
                <a:uFillTx/>
                <a:cs typeface="+mn-ea"/>
                <a:sym typeface="+mn-lt"/>
              </a:endParaRPr>
            </a:p>
          </p:txBody>
        </p:sp>
        <p:grpSp>
          <p:nvGrpSpPr>
            <p:cNvPr id="177" name="组合 176"/>
            <p:cNvGrpSpPr/>
            <p:nvPr/>
          </p:nvGrpSpPr>
          <p:grpSpPr>
            <a:xfrm>
              <a:off x="7092470" y="2234425"/>
              <a:ext cx="1162033" cy="874414"/>
              <a:chOff x="7092470" y="2234425"/>
              <a:chExt cx="1162033" cy="874414"/>
            </a:xfrm>
          </p:grpSpPr>
          <p:sp>
            <p:nvSpPr>
              <p:cNvPr id="178" name="流程图: 过程 177"/>
              <p:cNvSpPr/>
              <p:nvPr/>
            </p:nvSpPr>
            <p:spPr bwMode="auto">
              <a:xfrm>
                <a:off x="7092470" y="2234425"/>
                <a:ext cx="1162032" cy="271462"/>
              </a:xfrm>
              <a:prstGeom prst="flowChartProcess">
                <a:avLst/>
              </a:prstGeom>
              <a:solidFill>
                <a:srgbClr val="99CC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lvl="0" indent="0" algn="ctr" defTabSz="914400" eaLnBrk="1" fontAlgn="t"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cs typeface="+mn-ea"/>
                    <a:sym typeface="+mn-lt"/>
                  </a:rPr>
                  <a:t>Application</a:t>
                </a:r>
                <a:endParaRPr kumimoji="0" lang="zh-CN" altLang="en-US" sz="1200" b="0" i="0" u="none" strike="noStrike" kern="0" cap="none" spc="0" normalizeH="0" baseline="0" noProof="0" dirty="0" smtClean="0">
                  <a:ln>
                    <a:noFill/>
                  </a:ln>
                  <a:solidFill>
                    <a:srgbClr val="000000"/>
                  </a:solidFill>
                  <a:effectLst/>
                  <a:uLnTx/>
                  <a:uFillTx/>
                  <a:cs typeface="+mn-ea"/>
                  <a:sym typeface="+mn-lt"/>
                </a:endParaRPr>
              </a:p>
            </p:txBody>
          </p:sp>
          <p:sp>
            <p:nvSpPr>
              <p:cNvPr id="179" name="流程图: 过程 178"/>
              <p:cNvSpPr/>
              <p:nvPr/>
            </p:nvSpPr>
            <p:spPr bwMode="auto">
              <a:xfrm>
                <a:off x="7092470" y="2837377"/>
                <a:ext cx="1162033" cy="271462"/>
              </a:xfrm>
              <a:prstGeom prst="flowChartProcess">
                <a:avLst/>
              </a:prstGeom>
              <a:solidFill>
                <a:srgbClr val="CCCC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lvl="0" indent="0" algn="ctr" defTabSz="914400" eaLnBrk="1" fontAlgn="t"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cs typeface="+mn-ea"/>
                    <a:sym typeface="+mn-lt"/>
                  </a:rPr>
                  <a:t>Database</a:t>
                </a:r>
                <a:endParaRPr kumimoji="0" lang="zh-CN" altLang="en-US" sz="1200" b="0" i="0" u="none" strike="noStrike" kern="0" cap="none" spc="0" normalizeH="0" baseline="0" noProof="0" dirty="0" smtClean="0">
                  <a:ln>
                    <a:noFill/>
                  </a:ln>
                  <a:solidFill>
                    <a:srgbClr val="000000"/>
                  </a:solidFill>
                  <a:effectLst/>
                  <a:uLnTx/>
                  <a:uFillTx/>
                  <a:cs typeface="+mn-ea"/>
                  <a:sym typeface="+mn-lt"/>
                </a:endParaRPr>
              </a:p>
            </p:txBody>
          </p:sp>
          <p:cxnSp>
            <p:nvCxnSpPr>
              <p:cNvPr id="180" name="直接箭头连接符 179"/>
              <p:cNvCxnSpPr/>
              <p:nvPr/>
            </p:nvCxnSpPr>
            <p:spPr bwMode="auto">
              <a:xfrm>
                <a:off x="7945566" y="2511671"/>
                <a:ext cx="1" cy="331490"/>
              </a:xfrm>
              <a:prstGeom prst="straightConnector1">
                <a:avLst/>
              </a:prstGeom>
              <a:solidFill>
                <a:srgbClr val="CCFF99"/>
              </a:solidFill>
              <a:ln w="25400" cap="flat" cmpd="sng" algn="ctr">
                <a:solidFill>
                  <a:srgbClr val="006699"/>
                </a:solidFill>
                <a:prstDash val="solid"/>
                <a:round/>
                <a:headEnd type="triangle" w="med" len="med"/>
                <a:tailEnd type="triangle" w="med" len="med"/>
              </a:ln>
              <a:effectLst>
                <a:outerShdw blurRad="50800" dist="38100" dir="2700000" algn="tl" rotWithShape="0">
                  <a:prstClr val="black">
                    <a:alpha val="40000"/>
                  </a:prstClr>
                </a:outerShdw>
              </a:effectLst>
            </p:spPr>
          </p:cxnSp>
          <p:cxnSp>
            <p:nvCxnSpPr>
              <p:cNvPr id="181" name="直接箭头连接符 180"/>
              <p:cNvCxnSpPr/>
              <p:nvPr/>
            </p:nvCxnSpPr>
            <p:spPr bwMode="auto">
              <a:xfrm>
                <a:off x="7428148" y="2511671"/>
                <a:ext cx="1" cy="331490"/>
              </a:xfrm>
              <a:prstGeom prst="straightConnector1">
                <a:avLst/>
              </a:prstGeom>
              <a:solidFill>
                <a:srgbClr val="CCFF99"/>
              </a:solidFill>
              <a:ln w="25400" cap="flat" cmpd="sng" algn="ctr">
                <a:solidFill>
                  <a:srgbClr val="006699"/>
                </a:solidFill>
                <a:prstDash val="solid"/>
                <a:round/>
                <a:headEnd type="triangle" w="med" len="med"/>
                <a:tailEnd type="triangle" w="med" len="med"/>
              </a:ln>
              <a:effectLst>
                <a:outerShdw blurRad="50800" dist="38100" dir="2700000" algn="tl" rotWithShape="0">
                  <a:prstClr val="black">
                    <a:alpha val="40000"/>
                  </a:prstClr>
                </a:outerShdw>
              </a:effectLst>
            </p:spPr>
          </p:cxnSp>
          <p:cxnSp>
            <p:nvCxnSpPr>
              <p:cNvPr id="182" name="直接箭头连接符 181"/>
              <p:cNvCxnSpPr/>
              <p:nvPr/>
            </p:nvCxnSpPr>
            <p:spPr bwMode="auto">
              <a:xfrm>
                <a:off x="7686857" y="2511671"/>
                <a:ext cx="1" cy="331490"/>
              </a:xfrm>
              <a:prstGeom prst="straightConnector1">
                <a:avLst/>
              </a:prstGeom>
              <a:solidFill>
                <a:srgbClr val="CCFF99"/>
              </a:solidFill>
              <a:ln w="25400" cap="flat" cmpd="sng" algn="ctr">
                <a:solidFill>
                  <a:srgbClr val="006699"/>
                </a:solidFill>
                <a:prstDash val="solid"/>
                <a:round/>
                <a:headEnd type="triangle" w="med" len="med"/>
                <a:tailEnd type="triangle" w="med" len="med"/>
              </a:ln>
              <a:effectLst>
                <a:outerShdw blurRad="50800" dist="38100" dir="2700000" algn="tl" rotWithShape="0">
                  <a:prstClr val="black">
                    <a:alpha val="40000"/>
                  </a:prstClr>
                </a:outerShdw>
              </a:effectLst>
            </p:spPr>
          </p:cxnSp>
        </p:grpSp>
      </p:grpSp>
      <p:sp>
        <p:nvSpPr>
          <p:cNvPr id="183" name="文本框 182"/>
          <p:cNvSpPr txBox="1"/>
          <p:nvPr/>
        </p:nvSpPr>
        <p:spPr bwMode="auto">
          <a:xfrm>
            <a:off x="7493654" y="4072426"/>
            <a:ext cx="1009920"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单主机</a:t>
            </a:r>
            <a:endParaRPr kumimoji="1" lang="zh-CN" altLang="en-US" sz="1200" b="1" dirty="0">
              <a:solidFill>
                <a:srgbClr val="000000"/>
              </a:solidFill>
              <a:cs typeface="+mn-ea"/>
              <a:sym typeface="+mn-lt"/>
            </a:endParaRPr>
          </a:p>
        </p:txBody>
      </p:sp>
      <p:grpSp>
        <p:nvGrpSpPr>
          <p:cNvPr id="184" name="Community_Gathering"/>
          <p:cNvGrpSpPr>
            <a:grpSpLocks noChangeAspect="1"/>
          </p:cNvGrpSpPr>
          <p:nvPr>
            <p:custDataLst>
              <p:tags r:id="rId8"/>
            </p:custDataLst>
          </p:nvPr>
        </p:nvGrpSpPr>
        <p:grpSpPr bwMode="auto">
          <a:xfrm>
            <a:off x="9936249" y="1379537"/>
            <a:ext cx="474701" cy="363194"/>
            <a:chOff x="22" y="71"/>
            <a:chExt cx="447" cy="342"/>
          </a:xfrm>
          <a:solidFill>
            <a:srgbClr val="990000"/>
          </a:solidFill>
          <a:effectLst>
            <a:outerShdw blurRad="50800" dist="38100" dir="2700000" algn="tl" rotWithShape="0">
              <a:prstClr val="black">
                <a:alpha val="40000"/>
              </a:prstClr>
            </a:outerShdw>
          </a:effectLst>
        </p:grpSpPr>
        <p:sp>
          <p:nvSpPr>
            <p:cNvPr id="185" name="Community_Gathering"/>
            <p:cNvSpPr>
              <a:spLocks noEditPoints="1"/>
            </p:cNvSpPr>
            <p:nvPr>
              <p:custDataLst>
                <p:tags r:id="rId9"/>
              </p:custDataLst>
            </p:nvPr>
          </p:nvSpPr>
          <p:spPr bwMode="auto">
            <a:xfrm>
              <a:off x="179" y="83"/>
              <a:ext cx="133" cy="133"/>
            </a:xfrm>
            <a:custGeom>
              <a:avLst/>
              <a:gdLst>
                <a:gd name="T0" fmla="*/ 630 w 1258"/>
                <a:gd name="T1" fmla="*/ 1258 h 1258"/>
                <a:gd name="T2" fmla="*/ 628 w 1258"/>
                <a:gd name="T3" fmla="*/ 1258 h 1258"/>
                <a:gd name="T4" fmla="*/ 0 w 1258"/>
                <a:gd name="T5" fmla="*/ 630 h 1258"/>
                <a:gd name="T6" fmla="*/ 0 w 1258"/>
                <a:gd name="T7" fmla="*/ 628 h 1258"/>
                <a:gd name="T8" fmla="*/ 628 w 1258"/>
                <a:gd name="T9" fmla="*/ 0 h 1258"/>
                <a:gd name="T10" fmla="*/ 630 w 1258"/>
                <a:gd name="T11" fmla="*/ 0 h 1258"/>
                <a:gd name="T12" fmla="*/ 1258 w 1258"/>
                <a:gd name="T13" fmla="*/ 628 h 1258"/>
                <a:gd name="T14" fmla="*/ 1258 w 1258"/>
                <a:gd name="T15" fmla="*/ 630 h 1258"/>
                <a:gd name="T16" fmla="*/ 630 w 1258"/>
                <a:gd name="T17" fmla="*/ 1258 h 1258"/>
                <a:gd name="T18" fmla="*/ 628 w 1258"/>
                <a:gd name="T19" fmla="*/ 113 h 1258"/>
                <a:gd name="T20" fmla="*/ 113 w 1258"/>
                <a:gd name="T21" fmla="*/ 628 h 1258"/>
                <a:gd name="T22" fmla="*/ 113 w 1258"/>
                <a:gd name="T23" fmla="*/ 630 h 1258"/>
                <a:gd name="T24" fmla="*/ 628 w 1258"/>
                <a:gd name="T25" fmla="*/ 1146 h 1258"/>
                <a:gd name="T26" fmla="*/ 630 w 1258"/>
                <a:gd name="T27" fmla="*/ 1146 h 1258"/>
                <a:gd name="T28" fmla="*/ 1146 w 1258"/>
                <a:gd name="T29" fmla="*/ 630 h 1258"/>
                <a:gd name="T30" fmla="*/ 1146 w 1258"/>
                <a:gd name="T31" fmla="*/ 628 h 1258"/>
                <a:gd name="T32" fmla="*/ 630 w 1258"/>
                <a:gd name="T33" fmla="*/ 113 h 1258"/>
                <a:gd name="T34" fmla="*/ 628 w 1258"/>
                <a:gd name="T35" fmla="*/ 113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8" h="1258">
                  <a:moveTo>
                    <a:pt x="630" y="1258"/>
                  </a:moveTo>
                  <a:lnTo>
                    <a:pt x="628" y="1258"/>
                  </a:lnTo>
                  <a:cubicBezTo>
                    <a:pt x="281" y="1258"/>
                    <a:pt x="1" y="977"/>
                    <a:pt x="0" y="630"/>
                  </a:cubicBezTo>
                  <a:lnTo>
                    <a:pt x="0" y="628"/>
                  </a:lnTo>
                  <a:cubicBezTo>
                    <a:pt x="0" y="281"/>
                    <a:pt x="281" y="1"/>
                    <a:pt x="628" y="0"/>
                  </a:cubicBezTo>
                  <a:lnTo>
                    <a:pt x="630" y="0"/>
                  </a:lnTo>
                  <a:cubicBezTo>
                    <a:pt x="977" y="1"/>
                    <a:pt x="1258" y="281"/>
                    <a:pt x="1258" y="628"/>
                  </a:cubicBezTo>
                  <a:lnTo>
                    <a:pt x="1258" y="630"/>
                  </a:lnTo>
                  <a:cubicBezTo>
                    <a:pt x="1258" y="977"/>
                    <a:pt x="977" y="1258"/>
                    <a:pt x="630" y="1258"/>
                  </a:cubicBezTo>
                  <a:close/>
                  <a:moveTo>
                    <a:pt x="628" y="113"/>
                  </a:moveTo>
                  <a:cubicBezTo>
                    <a:pt x="344" y="113"/>
                    <a:pt x="113" y="344"/>
                    <a:pt x="113" y="628"/>
                  </a:cubicBezTo>
                  <a:lnTo>
                    <a:pt x="113" y="630"/>
                  </a:lnTo>
                  <a:cubicBezTo>
                    <a:pt x="113" y="915"/>
                    <a:pt x="343" y="1145"/>
                    <a:pt x="628" y="1146"/>
                  </a:cubicBezTo>
                  <a:lnTo>
                    <a:pt x="630" y="1146"/>
                  </a:lnTo>
                  <a:cubicBezTo>
                    <a:pt x="915" y="1145"/>
                    <a:pt x="1145" y="915"/>
                    <a:pt x="1146" y="630"/>
                  </a:cubicBezTo>
                  <a:lnTo>
                    <a:pt x="1146" y="628"/>
                  </a:lnTo>
                  <a:cubicBezTo>
                    <a:pt x="1145" y="344"/>
                    <a:pt x="915" y="113"/>
                    <a:pt x="630" y="113"/>
                  </a:cubicBezTo>
                  <a:lnTo>
                    <a:pt x="628" y="113"/>
                  </a:ln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86" name="Community_Gathering"/>
            <p:cNvSpPr/>
            <p:nvPr>
              <p:custDataLst>
                <p:tags r:id="rId10"/>
              </p:custDataLst>
            </p:nvPr>
          </p:nvSpPr>
          <p:spPr bwMode="auto">
            <a:xfrm>
              <a:off x="22" y="181"/>
              <a:ext cx="171" cy="125"/>
            </a:xfrm>
            <a:custGeom>
              <a:avLst/>
              <a:gdLst>
                <a:gd name="T0" fmla="*/ 1083 w 1621"/>
                <a:gd name="T1" fmla="*/ 1181 h 1181"/>
                <a:gd name="T2" fmla="*/ 56 w 1621"/>
                <a:gd name="T3" fmla="*/ 1181 h 1181"/>
                <a:gd name="T4" fmla="*/ 0 w 1621"/>
                <a:gd name="T5" fmla="*/ 1124 h 1181"/>
                <a:gd name="T6" fmla="*/ 0 w 1621"/>
                <a:gd name="T7" fmla="*/ 811 h 1181"/>
                <a:gd name="T8" fmla="*/ 811 w 1621"/>
                <a:gd name="T9" fmla="*/ 0 h 1181"/>
                <a:gd name="T10" fmla="*/ 1606 w 1621"/>
                <a:gd name="T11" fmla="*/ 664 h 1181"/>
                <a:gd name="T12" fmla="*/ 1496 w 1621"/>
                <a:gd name="T13" fmla="*/ 686 h 1181"/>
                <a:gd name="T14" fmla="*/ 811 w 1621"/>
                <a:gd name="T15" fmla="*/ 111 h 1181"/>
                <a:gd name="T16" fmla="*/ 112 w 1621"/>
                <a:gd name="T17" fmla="*/ 810 h 1181"/>
                <a:gd name="T18" fmla="*/ 112 w 1621"/>
                <a:gd name="T19" fmla="*/ 1068 h 1181"/>
                <a:gd name="T20" fmla="*/ 1083 w 1621"/>
                <a:gd name="T21" fmla="*/ 1068 h 1181"/>
                <a:gd name="T22" fmla="*/ 1083 w 1621"/>
                <a:gd name="T23"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1" h="1181">
                  <a:moveTo>
                    <a:pt x="1083" y="1181"/>
                  </a:moveTo>
                  <a:lnTo>
                    <a:pt x="56" y="1181"/>
                  </a:lnTo>
                  <a:cubicBezTo>
                    <a:pt x="25" y="1181"/>
                    <a:pt x="0" y="1155"/>
                    <a:pt x="0" y="1124"/>
                  </a:cubicBezTo>
                  <a:lnTo>
                    <a:pt x="0" y="811"/>
                  </a:lnTo>
                  <a:cubicBezTo>
                    <a:pt x="1" y="363"/>
                    <a:pt x="363" y="0"/>
                    <a:pt x="811" y="0"/>
                  </a:cubicBezTo>
                  <a:cubicBezTo>
                    <a:pt x="1193" y="0"/>
                    <a:pt x="1527" y="279"/>
                    <a:pt x="1606" y="664"/>
                  </a:cubicBezTo>
                  <a:cubicBezTo>
                    <a:pt x="1621" y="737"/>
                    <a:pt x="1511" y="760"/>
                    <a:pt x="1496" y="686"/>
                  </a:cubicBezTo>
                  <a:cubicBezTo>
                    <a:pt x="1428" y="354"/>
                    <a:pt x="1140" y="111"/>
                    <a:pt x="811" y="111"/>
                  </a:cubicBezTo>
                  <a:cubicBezTo>
                    <a:pt x="425" y="112"/>
                    <a:pt x="113" y="425"/>
                    <a:pt x="112" y="810"/>
                  </a:cubicBezTo>
                  <a:lnTo>
                    <a:pt x="112" y="1068"/>
                  </a:lnTo>
                  <a:lnTo>
                    <a:pt x="1083" y="1068"/>
                  </a:lnTo>
                  <a:cubicBezTo>
                    <a:pt x="1158" y="1068"/>
                    <a:pt x="1158" y="1181"/>
                    <a:pt x="1083" y="1181"/>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87" name="Community_Gathering"/>
            <p:cNvSpPr>
              <a:spLocks noEditPoints="1"/>
            </p:cNvSpPr>
            <p:nvPr>
              <p:custDataLst>
                <p:tags r:id="rId11"/>
              </p:custDataLst>
            </p:nvPr>
          </p:nvSpPr>
          <p:spPr bwMode="auto">
            <a:xfrm>
              <a:off x="58" y="71"/>
              <a:ext cx="95" cy="95"/>
            </a:xfrm>
            <a:custGeom>
              <a:avLst/>
              <a:gdLst>
                <a:gd name="T0" fmla="*/ 466 w 898"/>
                <a:gd name="T1" fmla="*/ 897 h 897"/>
                <a:gd name="T2" fmla="*/ 67 w 898"/>
                <a:gd name="T3" fmla="*/ 631 h 897"/>
                <a:gd name="T4" fmla="*/ 161 w 898"/>
                <a:gd name="T5" fmla="*/ 160 h 897"/>
                <a:gd name="T6" fmla="*/ 631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1" y="897"/>
                    <a:pt x="134" y="792"/>
                    <a:pt x="67" y="631"/>
                  </a:cubicBezTo>
                  <a:cubicBezTo>
                    <a:pt x="0" y="469"/>
                    <a:pt x="37" y="284"/>
                    <a:pt x="161" y="160"/>
                  </a:cubicBezTo>
                  <a:cubicBezTo>
                    <a:pt x="284" y="37"/>
                    <a:pt x="470" y="0"/>
                    <a:pt x="631" y="67"/>
                  </a:cubicBezTo>
                  <a:cubicBezTo>
                    <a:pt x="793" y="133"/>
                    <a:pt x="898" y="291"/>
                    <a:pt x="898" y="466"/>
                  </a:cubicBezTo>
                  <a:cubicBezTo>
                    <a:pt x="898" y="704"/>
                    <a:pt x="705" y="897"/>
                    <a:pt x="466" y="897"/>
                  </a:cubicBezTo>
                  <a:close/>
                  <a:moveTo>
                    <a:pt x="466" y="146"/>
                  </a:moveTo>
                  <a:cubicBezTo>
                    <a:pt x="182" y="146"/>
                    <a:pt x="39" y="490"/>
                    <a:pt x="240" y="691"/>
                  </a:cubicBezTo>
                  <a:cubicBezTo>
                    <a:pt x="441" y="893"/>
                    <a:pt x="786" y="750"/>
                    <a:pt x="786" y="466"/>
                  </a:cubicBezTo>
                  <a:cubicBezTo>
                    <a:pt x="785" y="289"/>
                    <a:pt x="642" y="146"/>
                    <a:pt x="466" y="146"/>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88" name="Community_Gathering"/>
            <p:cNvSpPr/>
            <p:nvPr>
              <p:custDataLst>
                <p:tags r:id="rId12"/>
              </p:custDataLst>
            </p:nvPr>
          </p:nvSpPr>
          <p:spPr bwMode="auto">
            <a:xfrm>
              <a:off x="297" y="181"/>
              <a:ext cx="172" cy="125"/>
            </a:xfrm>
            <a:custGeom>
              <a:avLst/>
              <a:gdLst>
                <a:gd name="T0" fmla="*/ 1570 w 1627"/>
                <a:gd name="T1" fmla="*/ 1181 h 1181"/>
                <a:gd name="T2" fmla="*/ 545 w 1627"/>
                <a:gd name="T3" fmla="*/ 1181 h 1181"/>
                <a:gd name="T4" fmla="*/ 545 w 1627"/>
                <a:gd name="T5" fmla="*/ 1068 h 1181"/>
                <a:gd name="T6" fmla="*/ 1514 w 1627"/>
                <a:gd name="T7" fmla="*/ 1068 h 1181"/>
                <a:gd name="T8" fmla="*/ 1514 w 1627"/>
                <a:gd name="T9" fmla="*/ 701 h 1181"/>
                <a:gd name="T10" fmla="*/ 925 w 1627"/>
                <a:gd name="T11" fmla="*/ 112 h 1181"/>
                <a:gd name="T12" fmla="*/ 707 w 1627"/>
                <a:gd name="T13" fmla="*/ 112 h 1181"/>
                <a:gd name="T14" fmla="*/ 118 w 1627"/>
                <a:gd name="T15" fmla="*/ 663 h 1181"/>
                <a:gd name="T16" fmla="*/ 5 w 1627"/>
                <a:gd name="T17" fmla="*/ 656 h 1181"/>
                <a:gd name="T18" fmla="*/ 707 w 1627"/>
                <a:gd name="T19" fmla="*/ 0 h 1181"/>
                <a:gd name="T20" fmla="*/ 925 w 1627"/>
                <a:gd name="T21" fmla="*/ 0 h 1181"/>
                <a:gd name="T22" fmla="*/ 1627 w 1627"/>
                <a:gd name="T23" fmla="*/ 701 h 1181"/>
                <a:gd name="T24" fmla="*/ 1627 w 1627"/>
                <a:gd name="T25" fmla="*/ 1125 h 1181"/>
                <a:gd name="T26" fmla="*/ 1570 w 1627"/>
                <a:gd name="T27"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7" h="1181">
                  <a:moveTo>
                    <a:pt x="1570" y="1181"/>
                  </a:moveTo>
                  <a:lnTo>
                    <a:pt x="545" y="1181"/>
                  </a:lnTo>
                  <a:cubicBezTo>
                    <a:pt x="470" y="1181"/>
                    <a:pt x="470" y="1068"/>
                    <a:pt x="545" y="1068"/>
                  </a:cubicBezTo>
                  <a:lnTo>
                    <a:pt x="1514" y="1068"/>
                  </a:lnTo>
                  <a:lnTo>
                    <a:pt x="1514" y="701"/>
                  </a:lnTo>
                  <a:cubicBezTo>
                    <a:pt x="1514" y="375"/>
                    <a:pt x="1250" y="112"/>
                    <a:pt x="925" y="112"/>
                  </a:cubicBezTo>
                  <a:lnTo>
                    <a:pt x="707" y="112"/>
                  </a:lnTo>
                  <a:cubicBezTo>
                    <a:pt x="396" y="112"/>
                    <a:pt x="139" y="353"/>
                    <a:pt x="118" y="663"/>
                  </a:cubicBezTo>
                  <a:cubicBezTo>
                    <a:pt x="113" y="738"/>
                    <a:pt x="0" y="730"/>
                    <a:pt x="5" y="656"/>
                  </a:cubicBezTo>
                  <a:cubicBezTo>
                    <a:pt x="31" y="287"/>
                    <a:pt x="337" y="0"/>
                    <a:pt x="707" y="0"/>
                  </a:cubicBezTo>
                  <a:lnTo>
                    <a:pt x="925" y="0"/>
                  </a:lnTo>
                  <a:cubicBezTo>
                    <a:pt x="1312" y="0"/>
                    <a:pt x="1626" y="314"/>
                    <a:pt x="1627" y="701"/>
                  </a:cubicBezTo>
                  <a:lnTo>
                    <a:pt x="1627" y="1125"/>
                  </a:lnTo>
                  <a:cubicBezTo>
                    <a:pt x="1627" y="1156"/>
                    <a:pt x="1601" y="1181"/>
                    <a:pt x="1570" y="1181"/>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89" name="Community_Gathering"/>
            <p:cNvSpPr>
              <a:spLocks noEditPoints="1"/>
            </p:cNvSpPr>
            <p:nvPr>
              <p:custDataLst>
                <p:tags r:id="rId13"/>
              </p:custDataLst>
            </p:nvPr>
          </p:nvSpPr>
          <p:spPr bwMode="auto">
            <a:xfrm>
              <a:off x="334" y="71"/>
              <a:ext cx="94" cy="95"/>
            </a:xfrm>
            <a:custGeom>
              <a:avLst/>
              <a:gdLst>
                <a:gd name="T0" fmla="*/ 466 w 898"/>
                <a:gd name="T1" fmla="*/ 897 h 897"/>
                <a:gd name="T2" fmla="*/ 67 w 898"/>
                <a:gd name="T3" fmla="*/ 631 h 897"/>
                <a:gd name="T4" fmla="*/ 161 w 898"/>
                <a:gd name="T5" fmla="*/ 160 h 897"/>
                <a:gd name="T6" fmla="*/ 632 w 898"/>
                <a:gd name="T7" fmla="*/ 67 h 897"/>
                <a:gd name="T8" fmla="*/ 898 w 898"/>
                <a:gd name="T9" fmla="*/ 466 h 897"/>
                <a:gd name="T10" fmla="*/ 466 w 898"/>
                <a:gd name="T11" fmla="*/ 897 h 897"/>
                <a:gd name="T12" fmla="*/ 466 w 898"/>
                <a:gd name="T13" fmla="*/ 146 h 897"/>
                <a:gd name="T14" fmla="*/ 240 w 898"/>
                <a:gd name="T15" fmla="*/ 691 h 897"/>
                <a:gd name="T16" fmla="*/ 786 w 898"/>
                <a:gd name="T17" fmla="*/ 466 h 897"/>
                <a:gd name="T18" fmla="*/ 466 w 898"/>
                <a:gd name="T19" fmla="*/ 14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8" h="897">
                  <a:moveTo>
                    <a:pt x="466" y="897"/>
                  </a:moveTo>
                  <a:cubicBezTo>
                    <a:pt x="292" y="897"/>
                    <a:pt x="134" y="792"/>
                    <a:pt x="67" y="631"/>
                  </a:cubicBezTo>
                  <a:cubicBezTo>
                    <a:pt x="0" y="469"/>
                    <a:pt x="37" y="284"/>
                    <a:pt x="161" y="160"/>
                  </a:cubicBezTo>
                  <a:cubicBezTo>
                    <a:pt x="284" y="37"/>
                    <a:pt x="470" y="0"/>
                    <a:pt x="632" y="67"/>
                  </a:cubicBezTo>
                  <a:cubicBezTo>
                    <a:pt x="793" y="133"/>
                    <a:pt x="898" y="291"/>
                    <a:pt x="898" y="466"/>
                  </a:cubicBezTo>
                  <a:cubicBezTo>
                    <a:pt x="898" y="704"/>
                    <a:pt x="705" y="897"/>
                    <a:pt x="466" y="897"/>
                  </a:cubicBezTo>
                  <a:close/>
                  <a:moveTo>
                    <a:pt x="466" y="146"/>
                  </a:moveTo>
                  <a:cubicBezTo>
                    <a:pt x="182" y="146"/>
                    <a:pt x="39" y="490"/>
                    <a:pt x="240" y="691"/>
                  </a:cubicBezTo>
                  <a:cubicBezTo>
                    <a:pt x="442" y="893"/>
                    <a:pt x="786" y="750"/>
                    <a:pt x="786" y="466"/>
                  </a:cubicBezTo>
                  <a:cubicBezTo>
                    <a:pt x="785" y="289"/>
                    <a:pt x="643" y="146"/>
                    <a:pt x="466" y="146"/>
                  </a:cubicBez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190" name="Community_Gathering"/>
            <p:cNvSpPr>
              <a:spLocks noEditPoints="1"/>
            </p:cNvSpPr>
            <p:nvPr>
              <p:custDataLst>
                <p:tags r:id="rId14"/>
              </p:custDataLst>
            </p:nvPr>
          </p:nvSpPr>
          <p:spPr bwMode="auto">
            <a:xfrm>
              <a:off x="120" y="231"/>
              <a:ext cx="252" cy="182"/>
            </a:xfrm>
            <a:custGeom>
              <a:avLst/>
              <a:gdLst>
                <a:gd name="T0" fmla="*/ 2332 w 2388"/>
                <a:gd name="T1" fmla="*/ 1722 h 1722"/>
                <a:gd name="T2" fmla="*/ 57 w 2388"/>
                <a:gd name="T3" fmla="*/ 1722 h 1722"/>
                <a:gd name="T4" fmla="*/ 0 w 2388"/>
                <a:gd name="T5" fmla="*/ 1666 h 1722"/>
                <a:gd name="T6" fmla="*/ 0 w 2388"/>
                <a:gd name="T7" fmla="*/ 1193 h 1722"/>
                <a:gd name="T8" fmla="*/ 1194 w 2388"/>
                <a:gd name="T9" fmla="*/ 0 h 1722"/>
                <a:gd name="T10" fmla="*/ 2388 w 2388"/>
                <a:gd name="T11" fmla="*/ 1193 h 1722"/>
                <a:gd name="T12" fmla="*/ 2388 w 2388"/>
                <a:gd name="T13" fmla="*/ 1666 h 1722"/>
                <a:gd name="T14" fmla="*/ 2332 w 2388"/>
                <a:gd name="T15" fmla="*/ 1722 h 1722"/>
                <a:gd name="T16" fmla="*/ 113 w 2388"/>
                <a:gd name="T17" fmla="*/ 1610 h 1722"/>
                <a:gd name="T18" fmla="*/ 2275 w 2388"/>
                <a:gd name="T19" fmla="*/ 1610 h 1722"/>
                <a:gd name="T20" fmla="*/ 2275 w 2388"/>
                <a:gd name="T21" fmla="*/ 1193 h 1722"/>
                <a:gd name="T22" fmla="*/ 1194 w 2388"/>
                <a:gd name="T23" fmla="*/ 112 h 1722"/>
                <a:gd name="T24" fmla="*/ 113 w 2388"/>
                <a:gd name="T25" fmla="*/ 1193 h 1722"/>
                <a:gd name="T26" fmla="*/ 113 w 2388"/>
                <a:gd name="T27" fmla="*/ 161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8" h="1722">
                  <a:moveTo>
                    <a:pt x="2332" y="1722"/>
                  </a:moveTo>
                  <a:lnTo>
                    <a:pt x="57" y="1722"/>
                  </a:lnTo>
                  <a:cubicBezTo>
                    <a:pt x="26" y="1722"/>
                    <a:pt x="0" y="1697"/>
                    <a:pt x="0" y="1666"/>
                  </a:cubicBezTo>
                  <a:lnTo>
                    <a:pt x="0" y="1193"/>
                  </a:lnTo>
                  <a:cubicBezTo>
                    <a:pt x="0" y="534"/>
                    <a:pt x="535" y="0"/>
                    <a:pt x="1194" y="0"/>
                  </a:cubicBezTo>
                  <a:cubicBezTo>
                    <a:pt x="1853" y="0"/>
                    <a:pt x="2388" y="534"/>
                    <a:pt x="2388" y="1193"/>
                  </a:cubicBezTo>
                  <a:lnTo>
                    <a:pt x="2388" y="1666"/>
                  </a:lnTo>
                  <a:cubicBezTo>
                    <a:pt x="2388" y="1697"/>
                    <a:pt x="2363" y="1722"/>
                    <a:pt x="2332" y="1722"/>
                  </a:cubicBezTo>
                  <a:close/>
                  <a:moveTo>
                    <a:pt x="113" y="1610"/>
                  </a:moveTo>
                  <a:lnTo>
                    <a:pt x="2275" y="1610"/>
                  </a:lnTo>
                  <a:lnTo>
                    <a:pt x="2275" y="1193"/>
                  </a:lnTo>
                  <a:cubicBezTo>
                    <a:pt x="2275" y="596"/>
                    <a:pt x="1791" y="112"/>
                    <a:pt x="1194" y="112"/>
                  </a:cubicBezTo>
                  <a:cubicBezTo>
                    <a:pt x="597" y="112"/>
                    <a:pt x="113" y="596"/>
                    <a:pt x="113" y="1193"/>
                  </a:cubicBezTo>
                  <a:lnTo>
                    <a:pt x="113" y="1610"/>
                  </a:lnTo>
                  <a:close/>
                </a:path>
              </a:pathLst>
            </a:custGeom>
            <a:grpFill/>
            <a:ln w="0">
              <a:solidFill>
                <a:srgbClr val="990000"/>
              </a:solidFill>
              <a:prstDash val="solid"/>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grpSp>
      <p:sp>
        <p:nvSpPr>
          <p:cNvPr id="191" name="文本框 190"/>
          <p:cNvSpPr txBox="1"/>
          <p:nvPr/>
        </p:nvSpPr>
        <p:spPr bwMode="auto">
          <a:xfrm>
            <a:off x="10474668" y="1485759"/>
            <a:ext cx="413378"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a:solidFill>
                  <a:srgbClr val="C00000"/>
                </a:solidFill>
                <a:cs typeface="+mn-ea"/>
                <a:sym typeface="+mn-lt"/>
              </a:rPr>
              <a:t>用户</a:t>
            </a:r>
            <a:endParaRPr kumimoji="1" lang="zh-CN" altLang="en-US" sz="1200" b="1" dirty="0">
              <a:solidFill>
                <a:srgbClr val="C00000"/>
              </a:solidFill>
              <a:cs typeface="+mn-ea"/>
              <a:sym typeface="+mn-lt"/>
            </a:endParaRPr>
          </a:p>
        </p:txBody>
      </p:sp>
      <p:sp>
        <p:nvSpPr>
          <p:cNvPr id="192" name="流程图: 可选过程 191"/>
          <p:cNvSpPr/>
          <p:nvPr/>
        </p:nvSpPr>
        <p:spPr bwMode="auto">
          <a:xfrm>
            <a:off x="9422356" y="2046257"/>
            <a:ext cx="1606191" cy="852454"/>
          </a:xfrm>
          <a:prstGeom prst="flowChartAlternateProcess">
            <a:avLst/>
          </a:prstGeom>
          <a:solidFill>
            <a:srgbClr val="FFFF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marL="0" marR="0" lvl="0" indent="0" algn="ctr" defTabSz="914400" eaLnBrk="1" fontAlgn="t"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dirty="0" smtClean="0">
              <a:ln>
                <a:noFill/>
              </a:ln>
              <a:solidFill>
                <a:srgbClr val="000000"/>
              </a:solidFill>
              <a:effectLst/>
              <a:uLnTx/>
              <a:uFillTx/>
              <a:cs typeface="+mn-ea"/>
              <a:sym typeface="+mn-lt"/>
            </a:endParaRPr>
          </a:p>
        </p:txBody>
      </p:sp>
      <p:sp>
        <p:nvSpPr>
          <p:cNvPr id="193" name="文本框 192"/>
          <p:cNvSpPr txBox="1"/>
          <p:nvPr/>
        </p:nvSpPr>
        <p:spPr bwMode="auto">
          <a:xfrm>
            <a:off x="9984432" y="3714231"/>
            <a:ext cx="1009920"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6699"/>
                </a:solidFill>
                <a:cs typeface="+mn-ea"/>
                <a:sym typeface="+mn-lt"/>
              </a:rPr>
              <a:t>数据库服务器</a:t>
            </a:r>
            <a:endParaRPr kumimoji="1" lang="zh-CN" altLang="en-US" sz="1200" b="1" dirty="0">
              <a:solidFill>
                <a:srgbClr val="006699"/>
              </a:solidFill>
              <a:cs typeface="+mn-ea"/>
              <a:sym typeface="+mn-lt"/>
            </a:endParaRPr>
          </a:p>
        </p:txBody>
      </p:sp>
      <p:sp>
        <p:nvSpPr>
          <p:cNvPr id="194" name="流程图: 过程 193"/>
          <p:cNvSpPr/>
          <p:nvPr/>
        </p:nvSpPr>
        <p:spPr bwMode="auto">
          <a:xfrm>
            <a:off x="9616394" y="2315057"/>
            <a:ext cx="1162032" cy="271462"/>
          </a:xfrm>
          <a:prstGeom prst="flowChartProcess">
            <a:avLst/>
          </a:prstGeom>
          <a:solidFill>
            <a:srgbClr val="99CC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lvl="0" indent="0" algn="ctr" defTabSz="914400" eaLnBrk="1" fontAlgn="t"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cs typeface="+mn-ea"/>
                <a:sym typeface="+mn-lt"/>
              </a:rPr>
              <a:t>Application</a:t>
            </a:r>
            <a:endParaRPr kumimoji="0" lang="zh-CN" altLang="en-US" sz="1200" b="0" i="0" u="none" strike="noStrike" kern="0" cap="none" spc="0" normalizeH="0" baseline="0" noProof="0" dirty="0" smtClean="0">
              <a:ln>
                <a:noFill/>
              </a:ln>
              <a:solidFill>
                <a:srgbClr val="000000"/>
              </a:solidFill>
              <a:effectLst/>
              <a:uLnTx/>
              <a:uFillTx/>
              <a:cs typeface="+mn-ea"/>
              <a:sym typeface="+mn-lt"/>
            </a:endParaRPr>
          </a:p>
        </p:txBody>
      </p:sp>
      <p:sp>
        <p:nvSpPr>
          <p:cNvPr id="195" name="流程图: 过程 194"/>
          <p:cNvSpPr/>
          <p:nvPr/>
        </p:nvSpPr>
        <p:spPr bwMode="auto">
          <a:xfrm>
            <a:off x="9603023" y="3307432"/>
            <a:ext cx="1162033" cy="271462"/>
          </a:xfrm>
          <a:prstGeom prst="flowChartProcess">
            <a:avLst/>
          </a:prstGeom>
          <a:solidFill>
            <a:srgbClr val="CCCC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lvl="0" indent="0" algn="ctr" defTabSz="914400" eaLnBrk="1" fontAlgn="t" latinLnBrk="0" hangingPunct="1">
              <a:lnSpc>
                <a:spcPct val="100000"/>
              </a:lnSpc>
              <a:spcBef>
                <a:spcPct val="0"/>
              </a:spcBef>
              <a:spcAft>
                <a:spcPct val="0"/>
              </a:spcAft>
              <a:buClrTx/>
              <a:buSzTx/>
              <a:buFontTx/>
              <a:buNone/>
              <a:defRPr/>
            </a:pPr>
            <a:r>
              <a:rPr kumimoji="0" lang="en-US" altLang="zh-CN" sz="1200" b="0" i="0" u="none" strike="noStrike" kern="0" cap="none" spc="0" normalizeH="0" baseline="0" noProof="0" dirty="0" smtClean="0">
                <a:ln>
                  <a:noFill/>
                </a:ln>
                <a:solidFill>
                  <a:srgbClr val="000000"/>
                </a:solidFill>
                <a:effectLst/>
                <a:uLnTx/>
                <a:uFillTx/>
                <a:cs typeface="+mn-ea"/>
                <a:sym typeface="+mn-lt"/>
              </a:rPr>
              <a:t>Database</a:t>
            </a:r>
            <a:endParaRPr kumimoji="0" lang="zh-CN" altLang="en-US" sz="1200" b="0" i="0" u="none" strike="noStrike" kern="0" cap="none" spc="0" normalizeH="0" baseline="0" noProof="0" dirty="0" smtClean="0">
              <a:ln>
                <a:noFill/>
              </a:ln>
              <a:solidFill>
                <a:srgbClr val="000000"/>
              </a:solidFill>
              <a:effectLst/>
              <a:uLnTx/>
              <a:uFillTx/>
              <a:cs typeface="+mn-ea"/>
              <a:sym typeface="+mn-lt"/>
            </a:endParaRPr>
          </a:p>
        </p:txBody>
      </p:sp>
      <p:cxnSp>
        <p:nvCxnSpPr>
          <p:cNvPr id="196" name="直接箭头连接符 195"/>
          <p:cNvCxnSpPr/>
          <p:nvPr/>
        </p:nvCxnSpPr>
        <p:spPr bwMode="auto">
          <a:xfrm flipH="1">
            <a:off x="10456120" y="2586519"/>
            <a:ext cx="0" cy="726697"/>
          </a:xfrm>
          <a:prstGeom prst="straightConnector1">
            <a:avLst/>
          </a:prstGeom>
          <a:solidFill>
            <a:srgbClr val="CCFF99"/>
          </a:solidFill>
          <a:ln w="25400" cap="flat" cmpd="sng" algn="ctr">
            <a:solidFill>
              <a:srgbClr val="006699"/>
            </a:solidFill>
            <a:prstDash val="solid"/>
            <a:round/>
            <a:headEnd type="triangle" w="med" len="med"/>
            <a:tailEnd type="triangle" w="med" len="med"/>
          </a:ln>
          <a:effectLst>
            <a:outerShdw blurRad="50800" dist="38100" dir="2700000" algn="tl" rotWithShape="0">
              <a:prstClr val="black">
                <a:alpha val="40000"/>
              </a:prstClr>
            </a:outerShdw>
          </a:effectLst>
        </p:spPr>
      </p:cxnSp>
      <p:cxnSp>
        <p:nvCxnSpPr>
          <p:cNvPr id="197" name="直接箭头连接符 196"/>
          <p:cNvCxnSpPr/>
          <p:nvPr/>
        </p:nvCxnSpPr>
        <p:spPr bwMode="auto">
          <a:xfrm flipH="1">
            <a:off x="9938702" y="2586519"/>
            <a:ext cx="0" cy="726697"/>
          </a:xfrm>
          <a:prstGeom prst="straightConnector1">
            <a:avLst/>
          </a:prstGeom>
          <a:solidFill>
            <a:srgbClr val="CCFF99"/>
          </a:solidFill>
          <a:ln w="25400" cap="flat" cmpd="sng" algn="ctr">
            <a:solidFill>
              <a:srgbClr val="006699"/>
            </a:solidFill>
            <a:prstDash val="solid"/>
            <a:round/>
            <a:headEnd type="triangle" w="med" len="med"/>
            <a:tailEnd type="triangle" w="med" len="med"/>
          </a:ln>
          <a:effectLst>
            <a:outerShdw blurRad="50800" dist="38100" dir="2700000" algn="tl" rotWithShape="0">
              <a:prstClr val="black">
                <a:alpha val="40000"/>
              </a:prstClr>
            </a:outerShdw>
          </a:effectLst>
        </p:spPr>
      </p:cxnSp>
      <p:cxnSp>
        <p:nvCxnSpPr>
          <p:cNvPr id="198" name="直接箭头连接符 197"/>
          <p:cNvCxnSpPr>
            <a:stCxn id="194" idx="2"/>
          </p:cNvCxnSpPr>
          <p:nvPr/>
        </p:nvCxnSpPr>
        <p:spPr bwMode="auto">
          <a:xfrm>
            <a:off x="10197410" y="2586519"/>
            <a:ext cx="1" cy="726697"/>
          </a:xfrm>
          <a:prstGeom prst="straightConnector1">
            <a:avLst/>
          </a:prstGeom>
          <a:solidFill>
            <a:srgbClr val="CCFF99"/>
          </a:solidFill>
          <a:ln w="25400" cap="flat" cmpd="sng" algn="ctr">
            <a:solidFill>
              <a:srgbClr val="006699"/>
            </a:solidFill>
            <a:prstDash val="solid"/>
            <a:round/>
            <a:headEnd type="triangle" w="med" len="med"/>
            <a:tailEnd type="triangle" w="med" len="med"/>
          </a:ln>
          <a:effectLst>
            <a:outerShdw blurRad="50800" dist="38100" dir="2700000" algn="tl" rotWithShape="0">
              <a:prstClr val="black">
                <a:alpha val="40000"/>
              </a:prstClr>
            </a:outerShdw>
          </a:effectLst>
        </p:spPr>
      </p:cxnSp>
      <p:sp>
        <p:nvSpPr>
          <p:cNvPr id="199" name="文本框 198"/>
          <p:cNvSpPr txBox="1"/>
          <p:nvPr/>
        </p:nvSpPr>
        <p:spPr bwMode="auto">
          <a:xfrm>
            <a:off x="9679079" y="4065387"/>
            <a:ext cx="1009920"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smtClean="0">
                <a:solidFill>
                  <a:srgbClr val="000000"/>
                </a:solidFill>
                <a:cs typeface="+mn-ea"/>
                <a:sym typeface="+mn-lt"/>
              </a:rPr>
              <a:t>DB</a:t>
            </a:r>
            <a:r>
              <a:rPr kumimoji="1" lang="zh-CN" altLang="en-US" sz="1200" b="1" dirty="0" smtClean="0">
                <a:solidFill>
                  <a:srgbClr val="000000"/>
                </a:solidFill>
                <a:cs typeface="+mn-ea"/>
                <a:sym typeface="+mn-lt"/>
              </a:rPr>
              <a:t>独立主机</a:t>
            </a:r>
            <a:endParaRPr kumimoji="1" lang="zh-CN" altLang="en-US" sz="1200" b="1" dirty="0">
              <a:solidFill>
                <a:srgbClr val="000000"/>
              </a:solidFill>
              <a:cs typeface="+mn-ea"/>
              <a:sym typeface="+mn-lt"/>
            </a:endParaRPr>
          </a:p>
        </p:txBody>
      </p:sp>
      <p:sp>
        <p:nvSpPr>
          <p:cNvPr id="200" name="上下箭头 199"/>
          <p:cNvSpPr/>
          <p:nvPr/>
        </p:nvSpPr>
        <p:spPr bwMode="auto">
          <a:xfrm>
            <a:off x="10102978" y="1849370"/>
            <a:ext cx="214518" cy="426341"/>
          </a:xfrm>
          <a:prstGeom prst="upDownArrow">
            <a:avLst/>
          </a:prstGeom>
          <a:solidFill>
            <a:srgbClr val="990000"/>
          </a:solidFill>
          <a:ln w="25400" cap="flat" cmpd="sng" algn="ctr">
            <a:solidFill>
              <a:srgbClr val="C00000"/>
            </a:solidFill>
            <a:prstDash val="solid"/>
            <a:round/>
            <a:headEnd type="triangle" w="med" len="med"/>
            <a:tailEnd type="triangl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defTabSz="914400" fontAlgn="t">
              <a:spcBef>
                <a:spcPct val="0"/>
              </a:spcBef>
              <a:spcAft>
                <a:spcPct val="0"/>
              </a:spcAft>
            </a:pPr>
            <a:endParaRPr lang="zh-CN" altLang="en-US" sz="1000" smtClean="0">
              <a:solidFill>
                <a:srgbClr val="000000"/>
              </a:solidFill>
              <a:cs typeface="+mn-ea"/>
              <a:sym typeface="+mn-lt"/>
            </a:endParaRPr>
          </a:p>
        </p:txBody>
      </p:sp>
      <p:sp>
        <p:nvSpPr>
          <p:cNvPr id="201" name="上下箭头 200"/>
          <p:cNvSpPr/>
          <p:nvPr/>
        </p:nvSpPr>
        <p:spPr bwMode="auto">
          <a:xfrm>
            <a:off x="7917553" y="1856409"/>
            <a:ext cx="214518" cy="426341"/>
          </a:xfrm>
          <a:prstGeom prst="upDownArrow">
            <a:avLst/>
          </a:prstGeom>
          <a:solidFill>
            <a:srgbClr val="990000"/>
          </a:solidFill>
          <a:ln w="25400" cap="flat" cmpd="sng" algn="ctr">
            <a:solidFill>
              <a:srgbClr val="C00000"/>
            </a:solidFill>
            <a:prstDash val="solid"/>
            <a:round/>
            <a:headEnd type="triangle" w="med" len="med"/>
            <a:tailEnd type="triangl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defTabSz="914400" fontAlgn="t">
              <a:spcBef>
                <a:spcPct val="0"/>
              </a:spcBef>
              <a:spcAft>
                <a:spcPct val="0"/>
              </a:spcAft>
            </a:pPr>
            <a:endParaRPr lang="zh-CN" altLang="en-US" sz="1000" smtClean="0">
              <a:solidFill>
                <a:srgbClr val="000000"/>
              </a:solidFill>
              <a:cs typeface="+mn-ea"/>
              <a:sym typeface="+mn-lt"/>
            </a:endParaRPr>
          </a:p>
        </p:txBody>
      </p:sp>
      <p:sp>
        <p:nvSpPr>
          <p:cNvPr id="202" name="文本框 201"/>
          <p:cNvSpPr txBox="1"/>
          <p:nvPr/>
        </p:nvSpPr>
        <p:spPr bwMode="auto">
          <a:xfrm>
            <a:off x="10024923" y="2667271"/>
            <a:ext cx="1009920" cy="184666"/>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6699"/>
                </a:solidFill>
                <a:cs typeface="+mn-ea"/>
                <a:sym typeface="+mn-lt"/>
              </a:rPr>
              <a:t>应用服务器</a:t>
            </a:r>
            <a:endParaRPr kumimoji="1" lang="zh-CN" altLang="en-US" sz="1200" b="1" dirty="0">
              <a:solidFill>
                <a:srgbClr val="006699"/>
              </a:solidFill>
              <a:cs typeface="+mn-ea"/>
              <a:sym typeface="+mn-lt"/>
            </a:endParaRPr>
          </a:p>
        </p:txBody>
      </p:sp>
      <p:grpSp>
        <p:nvGrpSpPr>
          <p:cNvPr id="203" name="组合 202"/>
          <p:cNvGrpSpPr/>
          <p:nvPr/>
        </p:nvGrpSpPr>
        <p:grpSpPr>
          <a:xfrm>
            <a:off x="7238071" y="4590798"/>
            <a:ext cx="1115390" cy="1475175"/>
            <a:chOff x="7063056" y="5194185"/>
            <a:chExt cx="654682" cy="1008824"/>
          </a:xfrm>
        </p:grpSpPr>
        <p:grpSp>
          <p:nvGrpSpPr>
            <p:cNvPr id="204" name="Server"/>
            <p:cNvGrpSpPr>
              <a:grpSpLocks noChangeAspect="1"/>
            </p:cNvGrpSpPr>
            <p:nvPr>
              <p:custDataLst>
                <p:tags r:id="rId15"/>
              </p:custDataLst>
            </p:nvPr>
          </p:nvGrpSpPr>
          <p:grpSpPr>
            <a:xfrm>
              <a:off x="7063056" y="5194185"/>
              <a:ext cx="654682" cy="936104"/>
              <a:chOff x="4754879" y="1097281"/>
              <a:chExt cx="3331031" cy="4762911"/>
            </a:xfrm>
          </p:grpSpPr>
          <p:sp>
            <p:nvSpPr>
              <p:cNvPr id="209"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10"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11"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205" name="Database"/>
            <p:cNvGrpSpPr/>
            <p:nvPr>
              <p:custDataLst>
                <p:tags r:id="rId16"/>
              </p:custDataLst>
            </p:nvPr>
          </p:nvGrpSpPr>
          <p:grpSpPr>
            <a:xfrm>
              <a:off x="7348157" y="5782904"/>
              <a:ext cx="324036" cy="420105"/>
              <a:chOff x="-1607704" y="4375315"/>
              <a:chExt cx="357909" cy="378772"/>
            </a:xfrm>
            <a:solidFill>
              <a:srgbClr val="99CCFF"/>
            </a:solidFill>
          </p:grpSpPr>
          <p:sp>
            <p:nvSpPr>
              <p:cNvPr id="206"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07"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08"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nvGrpSpPr>
          <p:cNvPr id="212" name="组合 211"/>
          <p:cNvGrpSpPr/>
          <p:nvPr/>
        </p:nvGrpSpPr>
        <p:grpSpPr>
          <a:xfrm>
            <a:off x="9135323" y="4913810"/>
            <a:ext cx="1453609" cy="747438"/>
            <a:chOff x="9516380" y="5009883"/>
            <a:chExt cx="1453609" cy="747438"/>
          </a:xfrm>
        </p:grpSpPr>
        <p:sp>
          <p:nvSpPr>
            <p:cNvPr id="213" name="下弧形箭头 212"/>
            <p:cNvSpPr/>
            <p:nvPr/>
          </p:nvSpPr>
          <p:spPr bwMode="auto">
            <a:xfrm>
              <a:off x="9517034" y="5009883"/>
              <a:ext cx="1452955" cy="713195"/>
            </a:xfrm>
            <a:prstGeom prst="curvedUpArrow">
              <a:avLst>
                <a:gd name="adj1" fmla="val 25000"/>
                <a:gd name="adj2" fmla="val 60157"/>
                <a:gd name="adj3" fmla="val 25000"/>
              </a:avLst>
            </a:prstGeom>
            <a:solidFill>
              <a:srgbClr val="C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t" latinLnBrk="0" hangingPunct="1">
                <a:lnSpc>
                  <a:spcPct val="100000"/>
                </a:lnSpc>
                <a:spcBef>
                  <a:spcPct val="0"/>
                </a:spcBef>
                <a:spcAft>
                  <a:spcPct val="0"/>
                </a:spcAft>
                <a:buClrTx/>
                <a:buSzTx/>
                <a:buFontTx/>
                <a:buNone/>
                <a:defRPr/>
              </a:pPr>
              <a:endParaRPr kumimoji="0" lang="zh-CN" altLang="en-US" sz="1000" b="0" i="0" u="none" strike="noStrike" kern="0" cap="none" spc="0" normalizeH="0" baseline="0" noProof="0" smtClean="0">
                <a:ln>
                  <a:noFill/>
                </a:ln>
                <a:solidFill>
                  <a:srgbClr val="000000"/>
                </a:solidFill>
                <a:effectLst/>
                <a:uLnTx/>
                <a:uFillTx/>
                <a:cs typeface="+mn-ea"/>
                <a:sym typeface="+mn-lt"/>
              </a:endParaRPr>
            </a:p>
          </p:txBody>
        </p:sp>
        <p:sp>
          <p:nvSpPr>
            <p:cNvPr id="214" name="矩形 213"/>
            <p:cNvSpPr/>
            <p:nvPr/>
          </p:nvSpPr>
          <p:spPr bwMode="auto">
            <a:xfrm>
              <a:off x="9516380" y="5041696"/>
              <a:ext cx="693203" cy="715625"/>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t" latinLnBrk="0" hangingPunct="1">
                <a:lnSpc>
                  <a:spcPct val="100000"/>
                </a:lnSpc>
                <a:spcBef>
                  <a:spcPct val="0"/>
                </a:spcBef>
                <a:spcAft>
                  <a:spcPct val="0"/>
                </a:spcAft>
                <a:buClrTx/>
                <a:buSzTx/>
                <a:buFontTx/>
                <a:buNone/>
                <a:defRPr/>
              </a:pPr>
              <a:endParaRPr kumimoji="0" lang="zh-CN" altLang="en-US" sz="1000" b="0" i="0" u="none" strike="noStrike" kern="0" cap="none" spc="0" normalizeH="0" baseline="0" noProof="0" smtClean="0">
                <a:ln>
                  <a:noFill/>
                </a:ln>
                <a:solidFill>
                  <a:srgbClr val="000000"/>
                </a:solidFill>
                <a:effectLst/>
                <a:uLnTx/>
                <a:uFillTx/>
                <a:cs typeface="+mn-ea"/>
                <a:sym typeface="+mn-lt"/>
              </a:endParaRPr>
            </a:p>
          </p:txBody>
        </p:sp>
      </p:grpSp>
      <p:sp>
        <p:nvSpPr>
          <p:cNvPr id="215" name="文本框 214"/>
          <p:cNvSpPr txBox="1"/>
          <p:nvPr/>
        </p:nvSpPr>
        <p:spPr bwMode="auto">
          <a:xfrm>
            <a:off x="10550619" y="5173048"/>
            <a:ext cx="801965" cy="369332"/>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smtClean="0">
                <a:solidFill>
                  <a:srgbClr val="000000"/>
                </a:solidFill>
                <a:cs typeface="+mn-ea"/>
                <a:sym typeface="+mn-lt"/>
              </a:rPr>
              <a:t>Scale up</a:t>
            </a:r>
            <a:endParaRPr kumimoji="1" lang="en-US" altLang="zh-CN" sz="1200" b="1" dirty="0" smtClean="0">
              <a:solidFill>
                <a:srgbClr val="000000"/>
              </a:solidFill>
              <a:cs typeface="+mn-ea"/>
              <a:sym typeface="+mn-lt"/>
            </a:endParaRPr>
          </a:p>
          <a:p>
            <a:pPr algn="ctr" defTabSz="914400" fontAlgn="t">
              <a:spcBef>
                <a:spcPct val="0"/>
              </a:spcBef>
              <a:spcAft>
                <a:spcPct val="0"/>
              </a:spcAft>
            </a:pPr>
            <a:r>
              <a:rPr kumimoji="1" lang="zh-CN" altLang="en-US" sz="1200" b="1" dirty="0" smtClean="0">
                <a:solidFill>
                  <a:srgbClr val="000000"/>
                </a:solidFill>
                <a:cs typeface="+mn-ea"/>
                <a:sym typeface="+mn-lt"/>
              </a:rPr>
              <a:t>纵向扩展</a:t>
            </a:r>
            <a:endParaRPr kumimoji="1" lang="zh-CN" altLang="en-US" sz="1200" b="1" dirty="0">
              <a:solidFill>
                <a:srgbClr val="000000"/>
              </a:solidFill>
              <a:cs typeface="+mn-ea"/>
              <a:sym typeface="+mn-lt"/>
            </a:endParaRPr>
          </a:p>
        </p:txBody>
      </p:sp>
      <p:pic>
        <p:nvPicPr>
          <p:cNvPr id="216" name="图片 215"/>
          <p:cNvPicPr>
            <a:picLocks noChangeAspect="1"/>
          </p:cNvPicPr>
          <p:nvPr/>
        </p:nvPicPr>
        <p:blipFill>
          <a:blip r:embed="rId17"/>
          <a:stretch>
            <a:fillRect/>
          </a:stretch>
        </p:blipFill>
        <p:spPr>
          <a:xfrm>
            <a:off x="8538544" y="4762162"/>
            <a:ext cx="447070" cy="444456"/>
          </a:xfrm>
          <a:prstGeom prst="rect">
            <a:avLst/>
          </a:prstGeom>
        </p:spPr>
      </p:pic>
      <p:pic>
        <p:nvPicPr>
          <p:cNvPr id="217" name="图片 216"/>
          <p:cNvPicPr>
            <a:picLocks noChangeAspect="1"/>
          </p:cNvPicPr>
          <p:nvPr/>
        </p:nvPicPr>
        <p:blipFill>
          <a:blip r:embed="rId18"/>
          <a:stretch>
            <a:fillRect/>
          </a:stretch>
        </p:blipFill>
        <p:spPr>
          <a:xfrm>
            <a:off x="9147314" y="4806103"/>
            <a:ext cx="801114" cy="356574"/>
          </a:xfrm>
          <a:prstGeom prst="rect">
            <a:avLst/>
          </a:prstGeom>
        </p:spPr>
      </p:pic>
      <p:pic>
        <p:nvPicPr>
          <p:cNvPr id="218" name="图片 217"/>
          <p:cNvPicPr>
            <a:picLocks noChangeAspect="1"/>
          </p:cNvPicPr>
          <p:nvPr/>
        </p:nvPicPr>
        <p:blipFill>
          <a:blip r:embed="rId19"/>
          <a:stretch>
            <a:fillRect/>
          </a:stretch>
        </p:blipFill>
        <p:spPr>
          <a:xfrm>
            <a:off x="8548784" y="5378909"/>
            <a:ext cx="421251" cy="446544"/>
          </a:xfrm>
          <a:prstGeom prst="rect">
            <a:avLst/>
          </a:prstGeom>
        </p:spPr>
      </p:pic>
      <p:grpSp>
        <p:nvGrpSpPr>
          <p:cNvPr id="219" name="组合 218"/>
          <p:cNvGrpSpPr/>
          <p:nvPr/>
        </p:nvGrpSpPr>
        <p:grpSpPr>
          <a:xfrm>
            <a:off x="9147314" y="5253396"/>
            <a:ext cx="574235" cy="519680"/>
            <a:chOff x="10067384" y="5342380"/>
            <a:chExt cx="574235" cy="519680"/>
          </a:xfrm>
        </p:grpSpPr>
        <p:sp>
          <p:nvSpPr>
            <p:cNvPr id="220" name="矩形 219"/>
            <p:cNvSpPr/>
            <p:nvPr/>
          </p:nvSpPr>
          <p:spPr bwMode="auto">
            <a:xfrm>
              <a:off x="10243202" y="5342380"/>
              <a:ext cx="185499" cy="180045"/>
            </a:xfrm>
            <a:prstGeom prst="rect">
              <a:avLst/>
            </a:prstGeom>
            <a:no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t" latinLnBrk="0" hangingPunct="1">
                <a:lnSpc>
                  <a:spcPct val="100000"/>
                </a:lnSpc>
                <a:spcBef>
                  <a:spcPct val="0"/>
                </a:spcBef>
                <a:spcAft>
                  <a:spcPct val="0"/>
                </a:spcAft>
                <a:buClrTx/>
                <a:buSzTx/>
                <a:buFontTx/>
                <a:buNone/>
                <a:defRPr/>
              </a:pPr>
              <a:endParaRPr kumimoji="0" lang="zh-CN" altLang="en-US" sz="1000" b="0" i="0" u="none" strike="noStrike" kern="0" cap="none" spc="0" normalizeH="0" baseline="0" noProof="0" smtClean="0">
                <a:ln>
                  <a:noFill/>
                </a:ln>
                <a:solidFill>
                  <a:srgbClr val="000000"/>
                </a:solidFill>
                <a:effectLst/>
                <a:uLnTx/>
                <a:uFillTx/>
                <a:cs typeface="+mn-ea"/>
                <a:sym typeface="+mn-lt"/>
              </a:endParaRPr>
            </a:p>
          </p:txBody>
        </p:sp>
        <p:sp>
          <p:nvSpPr>
            <p:cNvPr id="221" name="矩形 220"/>
            <p:cNvSpPr/>
            <p:nvPr/>
          </p:nvSpPr>
          <p:spPr bwMode="auto">
            <a:xfrm>
              <a:off x="10067384" y="5682015"/>
              <a:ext cx="185499" cy="180045"/>
            </a:xfrm>
            <a:prstGeom prst="rect">
              <a:avLst/>
            </a:prstGeom>
            <a:no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t" latinLnBrk="0" hangingPunct="1">
                <a:lnSpc>
                  <a:spcPct val="100000"/>
                </a:lnSpc>
                <a:spcBef>
                  <a:spcPct val="0"/>
                </a:spcBef>
                <a:spcAft>
                  <a:spcPct val="0"/>
                </a:spcAft>
                <a:buClrTx/>
                <a:buSzTx/>
                <a:buFontTx/>
                <a:buNone/>
                <a:defRPr/>
              </a:pPr>
              <a:endParaRPr kumimoji="0" lang="zh-CN" altLang="en-US" sz="1000" b="0" i="0" u="none" strike="noStrike" kern="0" cap="none" spc="0" normalizeH="0" baseline="0" noProof="0" smtClean="0">
                <a:ln>
                  <a:noFill/>
                </a:ln>
                <a:solidFill>
                  <a:srgbClr val="000000"/>
                </a:solidFill>
                <a:effectLst/>
                <a:uLnTx/>
                <a:uFillTx/>
                <a:cs typeface="+mn-ea"/>
                <a:sym typeface="+mn-lt"/>
              </a:endParaRPr>
            </a:p>
          </p:txBody>
        </p:sp>
        <p:sp>
          <p:nvSpPr>
            <p:cNvPr id="222" name="矩形 221"/>
            <p:cNvSpPr/>
            <p:nvPr/>
          </p:nvSpPr>
          <p:spPr bwMode="auto">
            <a:xfrm>
              <a:off x="10456120" y="5682015"/>
              <a:ext cx="185499" cy="180045"/>
            </a:xfrm>
            <a:prstGeom prst="rect">
              <a:avLst/>
            </a:prstGeom>
            <a:no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t" latinLnBrk="0" hangingPunct="1">
                <a:lnSpc>
                  <a:spcPct val="100000"/>
                </a:lnSpc>
                <a:spcBef>
                  <a:spcPct val="0"/>
                </a:spcBef>
                <a:spcAft>
                  <a:spcPct val="0"/>
                </a:spcAft>
                <a:buClrTx/>
                <a:buSzTx/>
                <a:buFontTx/>
                <a:buNone/>
                <a:defRPr/>
              </a:pPr>
              <a:endParaRPr kumimoji="0" lang="zh-CN" altLang="en-US" sz="1000" b="0" i="0" u="none" strike="noStrike" kern="0" cap="none" spc="0" normalizeH="0" baseline="0" noProof="0" smtClean="0">
                <a:ln>
                  <a:noFill/>
                </a:ln>
                <a:solidFill>
                  <a:srgbClr val="000000"/>
                </a:solidFill>
                <a:effectLst/>
                <a:uLnTx/>
                <a:uFillTx/>
                <a:cs typeface="+mn-ea"/>
                <a:sym typeface="+mn-lt"/>
              </a:endParaRPr>
            </a:p>
          </p:txBody>
        </p:sp>
        <p:cxnSp>
          <p:nvCxnSpPr>
            <p:cNvPr id="223" name="直接连接符 222"/>
            <p:cNvCxnSpPr/>
            <p:nvPr/>
          </p:nvCxnSpPr>
          <p:spPr bwMode="auto">
            <a:xfrm>
              <a:off x="10067384" y="5613944"/>
              <a:ext cx="574235" cy="0"/>
            </a:xfrm>
            <a:prstGeom prst="line">
              <a:avLst/>
            </a:prstGeom>
            <a:solidFill>
              <a:srgbClr val="CCFF99"/>
            </a:solidFill>
            <a:ln w="28575" cap="flat" cmpd="sng" algn="ctr">
              <a:solidFill>
                <a:srgbClr val="000000"/>
              </a:solidFill>
              <a:prstDash val="solid"/>
              <a:round/>
              <a:headEnd type="none" w="med" len="med"/>
              <a:tailEnd type="none" w="med" len="med"/>
            </a:ln>
            <a:effectLst/>
          </p:spPr>
        </p:cxnSp>
        <p:cxnSp>
          <p:nvCxnSpPr>
            <p:cNvPr id="224" name="直接连接符 223"/>
            <p:cNvCxnSpPr/>
            <p:nvPr/>
          </p:nvCxnSpPr>
          <p:spPr bwMode="auto">
            <a:xfrm flipH="1">
              <a:off x="10344472" y="5535244"/>
              <a:ext cx="0" cy="90000"/>
            </a:xfrm>
            <a:prstGeom prst="line">
              <a:avLst/>
            </a:prstGeom>
            <a:solidFill>
              <a:srgbClr val="CCFF99"/>
            </a:solidFill>
            <a:ln w="28575" cap="flat" cmpd="sng" algn="ctr">
              <a:solidFill>
                <a:srgbClr val="000000"/>
              </a:solidFill>
              <a:prstDash val="solid"/>
              <a:round/>
              <a:headEnd type="none" w="med" len="med"/>
              <a:tailEnd type="none" w="med" len="med"/>
            </a:ln>
            <a:effectLst/>
          </p:spPr>
        </p:cxnSp>
        <p:cxnSp>
          <p:nvCxnSpPr>
            <p:cNvPr id="225" name="直接连接符 224"/>
            <p:cNvCxnSpPr/>
            <p:nvPr/>
          </p:nvCxnSpPr>
          <p:spPr bwMode="auto">
            <a:xfrm flipH="1">
              <a:off x="10560496" y="5607252"/>
              <a:ext cx="0" cy="90000"/>
            </a:xfrm>
            <a:prstGeom prst="line">
              <a:avLst/>
            </a:prstGeom>
            <a:solidFill>
              <a:srgbClr val="CCFF99"/>
            </a:solidFill>
            <a:ln w="28575" cap="flat" cmpd="sng" algn="ctr">
              <a:solidFill>
                <a:srgbClr val="000000"/>
              </a:solidFill>
              <a:prstDash val="solid"/>
              <a:round/>
              <a:headEnd type="none" w="med" len="med"/>
              <a:tailEnd type="none" w="med" len="med"/>
            </a:ln>
            <a:effectLst/>
          </p:spPr>
        </p:cxnSp>
        <p:cxnSp>
          <p:nvCxnSpPr>
            <p:cNvPr id="226" name="直接连接符 225"/>
            <p:cNvCxnSpPr/>
            <p:nvPr/>
          </p:nvCxnSpPr>
          <p:spPr bwMode="auto">
            <a:xfrm flipH="1">
              <a:off x="10164452" y="5607252"/>
              <a:ext cx="0" cy="90000"/>
            </a:xfrm>
            <a:prstGeom prst="line">
              <a:avLst/>
            </a:prstGeom>
            <a:solidFill>
              <a:srgbClr val="CCFF99"/>
            </a:solidFill>
            <a:ln w="28575" cap="flat" cmpd="sng" algn="ctr">
              <a:solidFill>
                <a:srgbClr val="000000"/>
              </a:solidFill>
              <a:prstDash val="solid"/>
              <a:round/>
              <a:headEnd type="none" w="med" len="med"/>
              <a:tailEnd type="none" w="med" len="med"/>
            </a:ln>
            <a:effectLst/>
          </p:spPr>
        </p:cxnSp>
      </p:gr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分组架构 </a:t>
            </a:r>
            <a:r>
              <a:rPr lang="en-US" altLang="zh-CN" dirty="0">
                <a:latin typeface="+mn-lt"/>
                <a:ea typeface="+mn-ea"/>
                <a:cs typeface="+mn-ea"/>
                <a:sym typeface="+mn-lt"/>
              </a:rPr>
              <a:t>-</a:t>
            </a:r>
            <a:r>
              <a:rPr lang="en-US" altLang="zh-CN" dirty="0" smtClean="0">
                <a:latin typeface="+mn-lt"/>
                <a:ea typeface="+mn-ea"/>
                <a:cs typeface="+mn-ea"/>
                <a:sym typeface="+mn-lt"/>
              </a:rPr>
              <a:t> </a:t>
            </a:r>
            <a:r>
              <a:rPr lang="zh-CN" altLang="en-US" dirty="0" smtClean="0">
                <a:latin typeface="+mn-lt"/>
                <a:ea typeface="+mn-ea"/>
                <a:cs typeface="+mn-ea"/>
                <a:sym typeface="+mn-lt"/>
              </a:rPr>
              <a:t>主备</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normAutofit fontScale="92500" lnSpcReduction="10000"/>
          </a:bodyPr>
          <a:lstStyle/>
          <a:p>
            <a:r>
              <a:rPr lang="zh-CN" altLang="en-US" sz="2000" dirty="0">
                <a:latin typeface="+mn-lt"/>
                <a:ea typeface="+mn-ea"/>
                <a:cs typeface="+mn-ea"/>
                <a:sym typeface="+mn-lt"/>
              </a:rPr>
              <a:t>主备机</a:t>
            </a:r>
            <a:r>
              <a:rPr lang="zh-CN" altLang="en-US" sz="2000" dirty="0" smtClean="0">
                <a:latin typeface="+mn-lt"/>
                <a:ea typeface="+mn-ea"/>
                <a:cs typeface="+mn-ea"/>
                <a:sym typeface="+mn-lt"/>
              </a:rPr>
              <a:t>架构</a:t>
            </a:r>
            <a:endParaRPr lang="en-US" altLang="zh-CN" sz="2000" dirty="0">
              <a:latin typeface="+mn-lt"/>
              <a:ea typeface="+mn-ea"/>
              <a:cs typeface="+mn-ea"/>
              <a:sym typeface="+mn-lt"/>
            </a:endParaRPr>
          </a:p>
          <a:p>
            <a:pPr lvl="1"/>
            <a:r>
              <a:rPr lang="zh-CN" altLang="en-US" sz="1600" dirty="0">
                <a:latin typeface="+mn-lt"/>
                <a:ea typeface="+mn-ea"/>
                <a:cs typeface="+mn-ea"/>
                <a:sym typeface="+mn-lt"/>
              </a:rPr>
              <a:t>数据库部署在两台服务器，其中承担数据读写服务的服务器称为“主机”。</a:t>
            </a:r>
            <a:endParaRPr lang="en-US" altLang="zh-CN" sz="1600" dirty="0">
              <a:latin typeface="+mn-lt"/>
              <a:ea typeface="+mn-ea"/>
              <a:cs typeface="+mn-ea"/>
              <a:sym typeface="+mn-lt"/>
            </a:endParaRPr>
          </a:p>
          <a:p>
            <a:pPr lvl="1"/>
            <a:r>
              <a:rPr lang="zh-CN" altLang="en-US" sz="1600" dirty="0">
                <a:latin typeface="+mn-lt"/>
                <a:ea typeface="+mn-ea"/>
                <a:cs typeface="+mn-ea"/>
                <a:sym typeface="+mn-lt"/>
              </a:rPr>
              <a:t>另外一台服务器利用数据同步机制把主机的数据复制过来，称为“备机”。</a:t>
            </a:r>
            <a:endParaRPr lang="en-US" altLang="zh-CN" sz="1600" dirty="0">
              <a:latin typeface="+mn-lt"/>
              <a:ea typeface="+mn-ea"/>
              <a:cs typeface="+mn-ea"/>
              <a:sym typeface="+mn-lt"/>
            </a:endParaRPr>
          </a:p>
          <a:p>
            <a:pPr lvl="1"/>
            <a:r>
              <a:rPr lang="zh-CN" altLang="en-US" sz="1600" dirty="0">
                <a:latin typeface="+mn-lt"/>
                <a:ea typeface="+mn-ea"/>
                <a:cs typeface="+mn-ea"/>
                <a:sym typeface="+mn-lt"/>
              </a:rPr>
              <a:t>同</a:t>
            </a:r>
            <a:r>
              <a:rPr lang="zh-CN" altLang="en-US" sz="1600" dirty="0" smtClean="0">
                <a:latin typeface="+mn-lt"/>
                <a:ea typeface="+mn-ea"/>
                <a:cs typeface="+mn-ea"/>
                <a:sym typeface="+mn-lt"/>
              </a:rPr>
              <a:t>一时刻，</a:t>
            </a:r>
            <a:r>
              <a:rPr lang="zh-CN" altLang="en-US" sz="1600" dirty="0">
                <a:latin typeface="+mn-lt"/>
                <a:ea typeface="+mn-ea"/>
                <a:cs typeface="+mn-ea"/>
                <a:sym typeface="+mn-lt"/>
              </a:rPr>
              <a:t>只有一台服务器对外提供数据服务。</a:t>
            </a:r>
            <a:endParaRPr lang="en-US" altLang="zh-CN" sz="1600" dirty="0">
              <a:latin typeface="+mn-lt"/>
              <a:ea typeface="+mn-ea"/>
              <a:cs typeface="+mn-ea"/>
              <a:sym typeface="+mn-lt"/>
            </a:endParaRPr>
          </a:p>
          <a:p>
            <a:r>
              <a:rPr lang="zh-CN" altLang="en-US" sz="2100" dirty="0">
                <a:latin typeface="+mn-lt"/>
                <a:ea typeface="+mn-ea"/>
                <a:cs typeface="+mn-ea"/>
                <a:sym typeface="+mn-lt"/>
              </a:rPr>
              <a:t>优点</a:t>
            </a:r>
            <a:endParaRPr lang="en-US" altLang="zh-CN" sz="2100" dirty="0">
              <a:latin typeface="+mn-lt"/>
              <a:ea typeface="+mn-ea"/>
              <a:cs typeface="+mn-ea"/>
              <a:sym typeface="+mn-lt"/>
            </a:endParaRPr>
          </a:p>
          <a:p>
            <a:pPr lvl="1"/>
            <a:r>
              <a:rPr lang="zh-CN" altLang="en-US" sz="1600" dirty="0">
                <a:latin typeface="+mn-lt"/>
                <a:ea typeface="+mn-ea"/>
                <a:cs typeface="+mn-ea"/>
                <a:sym typeface="+mn-lt"/>
              </a:rPr>
              <a:t>应用不需要针对数据库故障来增加开发量。</a:t>
            </a:r>
            <a:endParaRPr lang="en-US" altLang="zh-CN" sz="1600" dirty="0">
              <a:latin typeface="+mn-lt"/>
              <a:ea typeface="+mn-ea"/>
              <a:cs typeface="+mn-ea"/>
              <a:sym typeface="+mn-lt"/>
            </a:endParaRPr>
          </a:p>
          <a:p>
            <a:pPr lvl="1"/>
            <a:r>
              <a:rPr lang="zh-CN" altLang="en-US" sz="1600" dirty="0">
                <a:latin typeface="+mn-lt"/>
                <a:ea typeface="+mn-ea"/>
                <a:cs typeface="+mn-ea"/>
                <a:sym typeface="+mn-lt"/>
              </a:rPr>
              <a:t>相对单机架构提升了</a:t>
            </a:r>
            <a:r>
              <a:rPr lang="zh-CN" altLang="en-US" sz="1600" dirty="0" smtClean="0">
                <a:latin typeface="+mn-lt"/>
                <a:ea typeface="+mn-ea"/>
                <a:cs typeface="+mn-ea"/>
                <a:sym typeface="+mn-lt"/>
              </a:rPr>
              <a:t>数据</a:t>
            </a:r>
            <a:r>
              <a:rPr lang="zh-CN" altLang="en-US" sz="1600" dirty="0">
                <a:latin typeface="+mn-lt"/>
                <a:ea typeface="+mn-ea"/>
                <a:cs typeface="+mn-ea"/>
                <a:sym typeface="+mn-lt"/>
              </a:rPr>
              <a:t>容错性</a:t>
            </a:r>
            <a:r>
              <a:rPr lang="zh-CN" altLang="en-US" sz="1600" dirty="0" smtClean="0">
                <a:latin typeface="+mn-lt"/>
                <a:ea typeface="+mn-ea"/>
                <a:cs typeface="+mn-ea"/>
                <a:sym typeface="+mn-lt"/>
              </a:rPr>
              <a:t>。</a:t>
            </a:r>
            <a:endParaRPr lang="en-US" altLang="zh-CN" sz="1600" dirty="0">
              <a:latin typeface="+mn-lt"/>
              <a:ea typeface="+mn-ea"/>
              <a:cs typeface="+mn-ea"/>
              <a:sym typeface="+mn-lt"/>
            </a:endParaRPr>
          </a:p>
          <a:p>
            <a:r>
              <a:rPr lang="zh-CN" altLang="en-US" sz="1800" dirty="0">
                <a:latin typeface="+mn-lt"/>
                <a:ea typeface="+mn-ea"/>
                <a:cs typeface="+mn-ea"/>
                <a:sym typeface="+mn-lt"/>
              </a:rPr>
              <a:t>缺点</a:t>
            </a:r>
            <a:endParaRPr lang="en-US" altLang="zh-CN" sz="1800" dirty="0">
              <a:latin typeface="+mn-lt"/>
              <a:ea typeface="+mn-ea"/>
              <a:cs typeface="+mn-ea"/>
              <a:sym typeface="+mn-lt"/>
            </a:endParaRPr>
          </a:p>
          <a:p>
            <a:pPr lvl="1"/>
            <a:r>
              <a:rPr lang="zh-CN" altLang="en-US" sz="1600" dirty="0">
                <a:latin typeface="+mn-lt"/>
                <a:ea typeface="+mn-ea"/>
                <a:cs typeface="+mn-ea"/>
                <a:sym typeface="+mn-lt"/>
              </a:rPr>
              <a:t>资源浪费，备机和主机同等配置，但长期范围内基本上资源限制，无法利用。</a:t>
            </a:r>
            <a:endParaRPr lang="en-US" altLang="zh-CN" sz="1600" dirty="0">
              <a:latin typeface="+mn-lt"/>
              <a:ea typeface="+mn-ea"/>
              <a:cs typeface="+mn-ea"/>
              <a:sym typeface="+mn-lt"/>
            </a:endParaRPr>
          </a:p>
          <a:p>
            <a:pPr lvl="1"/>
            <a:r>
              <a:rPr lang="zh-CN" altLang="en-US" sz="1600" dirty="0">
                <a:latin typeface="+mn-lt"/>
                <a:ea typeface="+mn-ea"/>
                <a:cs typeface="+mn-ea"/>
                <a:sym typeface="+mn-lt"/>
              </a:rPr>
              <a:t>性能压力还是集中在单机上，无法解决性能瓶颈问题。</a:t>
            </a:r>
            <a:endParaRPr lang="en-US" altLang="zh-CN" sz="1600" dirty="0">
              <a:latin typeface="+mn-lt"/>
              <a:ea typeface="+mn-ea"/>
              <a:cs typeface="+mn-ea"/>
              <a:sym typeface="+mn-lt"/>
            </a:endParaRPr>
          </a:p>
          <a:p>
            <a:pPr lvl="1"/>
            <a:r>
              <a:rPr lang="zh-CN" altLang="en-US" sz="1600" dirty="0">
                <a:latin typeface="+mn-lt"/>
                <a:ea typeface="+mn-ea"/>
                <a:cs typeface="+mn-ea"/>
                <a:sym typeface="+mn-lt"/>
              </a:rPr>
              <a:t>当出现故障时候，主备机切换需要一定的人工干预或者监控。</a:t>
            </a:r>
            <a:endParaRPr lang="en-US" altLang="zh-CN" sz="1600" dirty="0">
              <a:latin typeface="+mn-lt"/>
              <a:ea typeface="+mn-ea"/>
              <a:cs typeface="+mn-ea"/>
              <a:sym typeface="+mn-lt"/>
            </a:endParaRPr>
          </a:p>
        </p:txBody>
      </p:sp>
      <p:grpSp>
        <p:nvGrpSpPr>
          <p:cNvPr id="34" name="组合 33"/>
          <p:cNvGrpSpPr/>
          <p:nvPr/>
        </p:nvGrpSpPr>
        <p:grpSpPr>
          <a:xfrm>
            <a:off x="8377175" y="3474783"/>
            <a:ext cx="2637866" cy="1507284"/>
            <a:chOff x="8580088" y="3637725"/>
            <a:chExt cx="2637866" cy="1507284"/>
          </a:xfrm>
        </p:grpSpPr>
        <p:sp>
          <p:nvSpPr>
            <p:cNvPr id="55" name="文本框 54"/>
            <p:cNvSpPr txBox="1"/>
            <p:nvPr/>
          </p:nvSpPr>
          <p:spPr bwMode="auto">
            <a:xfrm>
              <a:off x="8580088" y="4775677"/>
              <a:ext cx="801965" cy="369332"/>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200" b="1" i="0" u="none" strike="noStrike" kern="0" cap="none" spc="0" normalizeH="0" baseline="0" noProof="0" dirty="0" smtClean="0">
                  <a:ln>
                    <a:noFill/>
                  </a:ln>
                  <a:solidFill>
                    <a:srgbClr val="000000"/>
                  </a:solidFill>
                  <a:effectLst/>
                  <a:uLnTx/>
                  <a:uFillTx/>
                  <a:cs typeface="+mn-ea"/>
                  <a:sym typeface="+mn-lt"/>
                </a:rPr>
                <a:t>主机</a:t>
              </a:r>
              <a:endParaRPr kumimoji="1" lang="en-US" altLang="zh-CN" sz="1200" b="1" i="0" u="none" strike="noStrike" kern="0" cap="none" spc="0" normalizeH="0" baseline="0" noProof="0" dirty="0" smtClean="0">
                <a:ln>
                  <a:noFill/>
                </a:ln>
                <a:solidFill>
                  <a:srgbClr val="000000"/>
                </a:solidFill>
                <a:effectLst/>
                <a:uLnTx/>
                <a:uFillTx/>
                <a:cs typeface="+mn-ea"/>
                <a:sym typeface="+mn-lt"/>
              </a:endParaRPr>
            </a:p>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kern="0" dirty="0">
                  <a:solidFill>
                    <a:srgbClr val="000000"/>
                  </a:solidFill>
                  <a:cs typeface="+mn-ea"/>
                  <a:sym typeface="+mn-lt"/>
                </a:rPr>
                <a:t>(</a:t>
              </a:r>
              <a:r>
                <a:rPr kumimoji="1" lang="en-US" altLang="zh-CN" sz="1200" b="1" i="0" u="none" strike="noStrike" kern="0" cap="none" spc="0" normalizeH="0" baseline="0" noProof="0" dirty="0" smtClean="0">
                  <a:ln>
                    <a:noFill/>
                  </a:ln>
                  <a:solidFill>
                    <a:srgbClr val="000000"/>
                  </a:solidFill>
                  <a:effectLst/>
                  <a:uLnTx/>
                  <a:uFillTx/>
                  <a:cs typeface="+mn-ea"/>
                  <a:sym typeface="+mn-lt"/>
                </a:rPr>
                <a:t>Master)</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56" name="文本框 55"/>
            <p:cNvSpPr txBox="1"/>
            <p:nvPr/>
          </p:nvSpPr>
          <p:spPr bwMode="auto">
            <a:xfrm>
              <a:off x="10415989" y="4775677"/>
              <a:ext cx="801965" cy="369332"/>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200" b="1" i="0" u="none" strike="noStrike" kern="0" cap="none" spc="0" normalizeH="0" baseline="0" noProof="0" dirty="0" smtClean="0">
                  <a:ln>
                    <a:noFill/>
                  </a:ln>
                  <a:solidFill>
                    <a:srgbClr val="000000"/>
                  </a:solidFill>
                  <a:effectLst/>
                  <a:uLnTx/>
                  <a:uFillTx/>
                  <a:cs typeface="+mn-ea"/>
                  <a:sym typeface="+mn-lt"/>
                </a:rPr>
                <a:t>备机</a:t>
              </a:r>
              <a:endParaRPr kumimoji="1" lang="en-US" altLang="zh-CN" sz="1200" b="1" i="0" u="none" strike="noStrike" kern="0" cap="none" spc="0" normalizeH="0" baseline="0" noProof="0" dirty="0" smtClean="0">
                <a:ln>
                  <a:noFill/>
                </a:ln>
                <a:solidFill>
                  <a:srgbClr val="000000"/>
                </a:solidFill>
                <a:effectLst/>
                <a:uLnTx/>
                <a:uFillTx/>
                <a:cs typeface="+mn-ea"/>
                <a:sym typeface="+mn-lt"/>
              </a:endParaRPr>
            </a:p>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kern="0" dirty="0">
                  <a:solidFill>
                    <a:srgbClr val="000000"/>
                  </a:solidFill>
                  <a:cs typeface="+mn-ea"/>
                  <a:sym typeface="+mn-lt"/>
                </a:rPr>
                <a:t>(</a:t>
              </a:r>
              <a:r>
                <a:rPr kumimoji="1" lang="en-US" altLang="zh-CN" sz="1200" b="1" i="0" u="none" strike="noStrike" kern="0" cap="none" spc="0" normalizeH="0" baseline="0" noProof="0" dirty="0" smtClean="0">
                  <a:ln>
                    <a:noFill/>
                  </a:ln>
                  <a:solidFill>
                    <a:srgbClr val="000000"/>
                  </a:solidFill>
                  <a:effectLst/>
                  <a:uLnTx/>
                  <a:uFillTx/>
                  <a:cs typeface="+mn-ea"/>
                  <a:sym typeface="+mn-lt"/>
                </a:rPr>
                <a:t>Backup</a:t>
              </a:r>
              <a:r>
                <a:rPr kumimoji="1" lang="en-US" altLang="zh-CN" sz="1200" b="1" kern="0" dirty="0">
                  <a:solidFill>
                    <a:srgbClr val="000000"/>
                  </a:solidFill>
                  <a:cs typeface="+mn-ea"/>
                  <a:sym typeface="+mn-lt"/>
                </a:rPr>
                <a:t>)</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57" name="文本框 56"/>
            <p:cNvSpPr txBox="1"/>
            <p:nvPr/>
          </p:nvSpPr>
          <p:spPr bwMode="auto">
            <a:xfrm>
              <a:off x="9605532" y="4775677"/>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200" b="1" i="0" u="none" strike="noStrike" kern="0" cap="none" spc="0" normalizeH="0" baseline="0" noProof="0" dirty="0" smtClean="0">
                  <a:ln>
                    <a:noFill/>
                  </a:ln>
                  <a:solidFill>
                    <a:srgbClr val="006699"/>
                  </a:solidFill>
                  <a:effectLst/>
                  <a:uLnTx/>
                  <a:uFillTx/>
                  <a:cs typeface="+mn-ea"/>
                  <a:sym typeface="+mn-lt"/>
                </a:rPr>
                <a:t>数据同步</a:t>
              </a:r>
              <a:endParaRPr kumimoji="1" lang="zh-CN" altLang="en-US" sz="1200" b="1" i="0" u="none" strike="noStrike" kern="0" cap="none" spc="0" normalizeH="0" baseline="0" noProof="0" dirty="0" smtClean="0">
                <a:ln>
                  <a:noFill/>
                </a:ln>
                <a:solidFill>
                  <a:srgbClr val="006699"/>
                </a:solidFill>
                <a:effectLst/>
                <a:uLnTx/>
                <a:uFillTx/>
                <a:cs typeface="+mn-ea"/>
                <a:sym typeface="+mn-lt"/>
              </a:endParaRPr>
            </a:p>
          </p:txBody>
        </p:sp>
        <p:grpSp>
          <p:nvGrpSpPr>
            <p:cNvPr id="58" name="组合 57"/>
            <p:cNvGrpSpPr/>
            <p:nvPr/>
          </p:nvGrpSpPr>
          <p:grpSpPr>
            <a:xfrm>
              <a:off x="8708100" y="3655411"/>
              <a:ext cx="598866" cy="873585"/>
              <a:chOff x="7063056" y="5194185"/>
              <a:chExt cx="654682" cy="1008824"/>
            </a:xfrm>
          </p:grpSpPr>
          <p:grpSp>
            <p:nvGrpSpPr>
              <p:cNvPr id="72" name="Server"/>
              <p:cNvGrpSpPr>
                <a:grpSpLocks noChangeAspect="1"/>
              </p:cNvGrpSpPr>
              <p:nvPr>
                <p:custDataLst>
                  <p:tags r:id="rId1"/>
                </p:custDataLst>
              </p:nvPr>
            </p:nvGrpSpPr>
            <p:grpSpPr>
              <a:xfrm>
                <a:off x="7063056" y="5194185"/>
                <a:ext cx="654682" cy="936104"/>
                <a:chOff x="4754879" y="1097281"/>
                <a:chExt cx="3331031" cy="4762911"/>
              </a:xfrm>
            </p:grpSpPr>
            <p:sp>
              <p:nvSpPr>
                <p:cNvPr id="77"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8"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9"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73" name="Database"/>
              <p:cNvGrpSpPr/>
              <p:nvPr>
                <p:custDataLst>
                  <p:tags r:id="rId2"/>
                </p:custDataLst>
              </p:nvPr>
            </p:nvGrpSpPr>
            <p:grpSpPr>
              <a:xfrm>
                <a:off x="7348157" y="5782904"/>
                <a:ext cx="324036" cy="420105"/>
                <a:chOff x="-1607704" y="4375315"/>
                <a:chExt cx="357909" cy="378772"/>
              </a:xfrm>
              <a:solidFill>
                <a:srgbClr val="99CCFF"/>
              </a:solidFill>
            </p:grpSpPr>
            <p:sp>
              <p:nvSpPr>
                <p:cNvPr id="74"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75"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76"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nvGrpSpPr>
            <p:cNvPr id="59" name="组合 58"/>
            <p:cNvGrpSpPr/>
            <p:nvPr/>
          </p:nvGrpSpPr>
          <p:grpSpPr>
            <a:xfrm>
              <a:off x="10517539" y="3637725"/>
              <a:ext cx="598866" cy="873585"/>
              <a:chOff x="7063056" y="5194185"/>
              <a:chExt cx="654682" cy="1008824"/>
            </a:xfrm>
          </p:grpSpPr>
          <p:grpSp>
            <p:nvGrpSpPr>
              <p:cNvPr id="62" name="Server"/>
              <p:cNvGrpSpPr>
                <a:grpSpLocks noChangeAspect="1"/>
              </p:cNvGrpSpPr>
              <p:nvPr>
                <p:custDataLst>
                  <p:tags r:id="rId3"/>
                </p:custDataLst>
              </p:nvPr>
            </p:nvGrpSpPr>
            <p:grpSpPr>
              <a:xfrm>
                <a:off x="7063056" y="5194185"/>
                <a:ext cx="654682" cy="936104"/>
                <a:chOff x="4754879" y="1097281"/>
                <a:chExt cx="3331031" cy="4762911"/>
              </a:xfrm>
            </p:grpSpPr>
            <p:sp>
              <p:nvSpPr>
                <p:cNvPr id="69"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0"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1"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65" name="Database"/>
              <p:cNvGrpSpPr/>
              <p:nvPr>
                <p:custDataLst>
                  <p:tags r:id="rId4"/>
                </p:custDataLst>
              </p:nvPr>
            </p:nvGrpSpPr>
            <p:grpSpPr>
              <a:xfrm>
                <a:off x="7348157" y="5782904"/>
                <a:ext cx="324036" cy="420105"/>
                <a:chOff x="-1607704" y="4375315"/>
                <a:chExt cx="357909" cy="378772"/>
              </a:xfrm>
              <a:solidFill>
                <a:srgbClr val="99CCFF"/>
              </a:solidFill>
            </p:grpSpPr>
            <p:sp>
              <p:nvSpPr>
                <p:cNvPr id="66"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67"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68"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cxnSp>
          <p:nvCxnSpPr>
            <p:cNvPr id="60" name="肘形连接符 59"/>
            <p:cNvCxnSpPr>
              <a:stCxn id="74" idx="3"/>
              <a:endCxn id="66" idx="3"/>
            </p:cNvCxnSpPr>
            <p:nvPr/>
          </p:nvCxnSpPr>
          <p:spPr bwMode="auto">
            <a:xfrm rot="5400000" flipH="1" flipV="1">
              <a:off x="10012975" y="3615433"/>
              <a:ext cx="17686" cy="1809439"/>
            </a:xfrm>
            <a:prstGeom prst="bentConnector3">
              <a:avLst>
                <a:gd name="adj1" fmla="val -1292548"/>
              </a:avLst>
            </a:prstGeom>
            <a:solidFill>
              <a:srgbClr val="CCFF99"/>
            </a:solidFill>
            <a:ln w="19050" cap="flat" cmpd="sng" algn="ctr">
              <a:solidFill>
                <a:srgbClr val="006699"/>
              </a:solidFill>
              <a:prstDash val="solid"/>
              <a:round/>
              <a:headEnd type="none" w="med" len="med"/>
              <a:tailEnd type="triangle"/>
            </a:ln>
            <a:effectLst/>
          </p:spPr>
        </p:cxnSp>
      </p:grpSp>
      <p:grpSp>
        <p:nvGrpSpPr>
          <p:cNvPr id="80" name="Browser"/>
          <p:cNvGrpSpPr>
            <a:grpSpLocks noChangeAspect="1"/>
          </p:cNvGrpSpPr>
          <p:nvPr>
            <p:custDataLst>
              <p:tags r:id="rId5"/>
            </p:custDataLst>
          </p:nvPr>
        </p:nvGrpSpPr>
        <p:grpSpPr bwMode="auto">
          <a:xfrm>
            <a:off x="8641548" y="2010117"/>
            <a:ext cx="459841" cy="436785"/>
            <a:chOff x="2545" y="863"/>
            <a:chExt cx="2513" cy="2387"/>
          </a:xfrm>
          <a:solidFill>
            <a:srgbClr val="C00000"/>
          </a:solidFill>
          <a:effectLst>
            <a:outerShdw blurRad="50800" dist="38100" dir="2700000" algn="tl" rotWithShape="0">
              <a:prstClr val="black">
                <a:alpha val="40000"/>
              </a:prstClr>
            </a:outerShdw>
          </a:effectLst>
        </p:grpSpPr>
        <p:sp>
          <p:nvSpPr>
            <p:cNvPr id="81" name="Freeform 150"/>
            <p:cNvSpPr>
              <a:spLocks noEditPoints="1"/>
            </p:cNvSpPr>
            <p:nvPr/>
          </p:nvSpPr>
          <p:spPr bwMode="auto">
            <a:xfrm>
              <a:off x="2545" y="1523"/>
              <a:ext cx="2513" cy="1727"/>
            </a:xfrm>
            <a:custGeom>
              <a:avLst/>
              <a:gdLst>
                <a:gd name="T0" fmla="*/ 50 w 633"/>
                <a:gd name="T1" fmla="*/ 84 h 434"/>
                <a:gd name="T2" fmla="*/ 250 w 633"/>
                <a:gd name="T3" fmla="*/ 84 h 434"/>
                <a:gd name="T4" fmla="*/ 250 w 633"/>
                <a:gd name="T5" fmla="*/ 384 h 434"/>
                <a:gd name="T6" fmla="*/ 50 w 633"/>
                <a:gd name="T7" fmla="*/ 384 h 434"/>
                <a:gd name="T8" fmla="*/ 50 w 633"/>
                <a:gd name="T9" fmla="*/ 84 h 434"/>
                <a:gd name="T10" fmla="*/ 316 w 633"/>
                <a:gd name="T11" fmla="*/ 350 h 434"/>
                <a:gd name="T12" fmla="*/ 583 w 633"/>
                <a:gd name="T13" fmla="*/ 350 h 434"/>
                <a:gd name="T14" fmla="*/ 583 w 633"/>
                <a:gd name="T15" fmla="*/ 384 h 434"/>
                <a:gd name="T16" fmla="*/ 316 w 633"/>
                <a:gd name="T17" fmla="*/ 384 h 434"/>
                <a:gd name="T18" fmla="*/ 316 w 633"/>
                <a:gd name="T19" fmla="*/ 350 h 434"/>
                <a:gd name="T20" fmla="*/ 316 w 633"/>
                <a:gd name="T21" fmla="*/ 284 h 434"/>
                <a:gd name="T22" fmla="*/ 583 w 633"/>
                <a:gd name="T23" fmla="*/ 284 h 434"/>
                <a:gd name="T24" fmla="*/ 583 w 633"/>
                <a:gd name="T25" fmla="*/ 317 h 434"/>
                <a:gd name="T26" fmla="*/ 316 w 633"/>
                <a:gd name="T27" fmla="*/ 317 h 434"/>
                <a:gd name="T28" fmla="*/ 316 w 633"/>
                <a:gd name="T29" fmla="*/ 284 h 434"/>
                <a:gd name="T30" fmla="*/ 316 w 633"/>
                <a:gd name="T31" fmla="*/ 217 h 434"/>
                <a:gd name="T32" fmla="*/ 583 w 633"/>
                <a:gd name="T33" fmla="*/ 217 h 434"/>
                <a:gd name="T34" fmla="*/ 583 w 633"/>
                <a:gd name="T35" fmla="*/ 250 h 434"/>
                <a:gd name="T36" fmla="*/ 316 w 633"/>
                <a:gd name="T37" fmla="*/ 250 h 434"/>
                <a:gd name="T38" fmla="*/ 316 w 633"/>
                <a:gd name="T39" fmla="*/ 217 h 434"/>
                <a:gd name="T40" fmla="*/ 316 w 633"/>
                <a:gd name="T41" fmla="*/ 150 h 434"/>
                <a:gd name="T42" fmla="*/ 583 w 633"/>
                <a:gd name="T43" fmla="*/ 150 h 434"/>
                <a:gd name="T44" fmla="*/ 583 w 633"/>
                <a:gd name="T45" fmla="*/ 184 h 434"/>
                <a:gd name="T46" fmla="*/ 316 w 633"/>
                <a:gd name="T47" fmla="*/ 184 h 434"/>
                <a:gd name="T48" fmla="*/ 316 w 633"/>
                <a:gd name="T49" fmla="*/ 150 h 434"/>
                <a:gd name="T50" fmla="*/ 316 w 633"/>
                <a:gd name="T51" fmla="*/ 84 h 434"/>
                <a:gd name="T52" fmla="*/ 583 w 633"/>
                <a:gd name="T53" fmla="*/ 84 h 434"/>
                <a:gd name="T54" fmla="*/ 583 w 633"/>
                <a:gd name="T55" fmla="*/ 117 h 434"/>
                <a:gd name="T56" fmla="*/ 316 w 633"/>
                <a:gd name="T57" fmla="*/ 117 h 434"/>
                <a:gd name="T58" fmla="*/ 316 w 633"/>
                <a:gd name="T59" fmla="*/ 84 h 434"/>
                <a:gd name="T60" fmla="*/ 0 w 633"/>
                <a:gd name="T61" fmla="*/ 384 h 434"/>
                <a:gd name="T62" fmla="*/ 50 w 633"/>
                <a:gd name="T63" fmla="*/ 434 h 434"/>
                <a:gd name="T64" fmla="*/ 583 w 633"/>
                <a:gd name="T65" fmla="*/ 434 h 434"/>
                <a:gd name="T66" fmla="*/ 633 w 633"/>
                <a:gd name="T67" fmla="*/ 384 h 434"/>
                <a:gd name="T68" fmla="*/ 633 w 633"/>
                <a:gd name="T69" fmla="*/ 0 h 434"/>
                <a:gd name="T70" fmla="*/ 0 w 633"/>
                <a:gd name="T71" fmla="*/ 0 h 434"/>
                <a:gd name="T72" fmla="*/ 0 w 633"/>
                <a:gd name="T73" fmla="*/ 38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3" h="434">
                  <a:moveTo>
                    <a:pt x="50" y="84"/>
                  </a:moveTo>
                  <a:lnTo>
                    <a:pt x="250" y="84"/>
                  </a:lnTo>
                  <a:lnTo>
                    <a:pt x="250" y="384"/>
                  </a:lnTo>
                  <a:lnTo>
                    <a:pt x="50" y="384"/>
                  </a:lnTo>
                  <a:lnTo>
                    <a:pt x="50" y="84"/>
                  </a:lnTo>
                  <a:close/>
                  <a:moveTo>
                    <a:pt x="316" y="350"/>
                  </a:moveTo>
                  <a:lnTo>
                    <a:pt x="583" y="350"/>
                  </a:lnTo>
                  <a:lnTo>
                    <a:pt x="583" y="384"/>
                  </a:lnTo>
                  <a:lnTo>
                    <a:pt x="316" y="384"/>
                  </a:lnTo>
                  <a:lnTo>
                    <a:pt x="316" y="350"/>
                  </a:lnTo>
                  <a:close/>
                  <a:moveTo>
                    <a:pt x="316" y="284"/>
                  </a:moveTo>
                  <a:lnTo>
                    <a:pt x="583" y="284"/>
                  </a:lnTo>
                  <a:lnTo>
                    <a:pt x="583" y="317"/>
                  </a:lnTo>
                  <a:lnTo>
                    <a:pt x="316" y="317"/>
                  </a:lnTo>
                  <a:lnTo>
                    <a:pt x="316" y="284"/>
                  </a:lnTo>
                  <a:close/>
                  <a:moveTo>
                    <a:pt x="316" y="217"/>
                  </a:moveTo>
                  <a:lnTo>
                    <a:pt x="583" y="217"/>
                  </a:lnTo>
                  <a:lnTo>
                    <a:pt x="583" y="250"/>
                  </a:lnTo>
                  <a:lnTo>
                    <a:pt x="316" y="250"/>
                  </a:lnTo>
                  <a:lnTo>
                    <a:pt x="316" y="217"/>
                  </a:lnTo>
                  <a:close/>
                  <a:moveTo>
                    <a:pt x="316" y="150"/>
                  </a:moveTo>
                  <a:lnTo>
                    <a:pt x="583" y="150"/>
                  </a:lnTo>
                  <a:lnTo>
                    <a:pt x="583" y="184"/>
                  </a:lnTo>
                  <a:lnTo>
                    <a:pt x="316" y="184"/>
                  </a:lnTo>
                  <a:lnTo>
                    <a:pt x="316" y="150"/>
                  </a:lnTo>
                  <a:close/>
                  <a:moveTo>
                    <a:pt x="316" y="84"/>
                  </a:moveTo>
                  <a:lnTo>
                    <a:pt x="583" y="84"/>
                  </a:lnTo>
                  <a:lnTo>
                    <a:pt x="583" y="117"/>
                  </a:lnTo>
                  <a:lnTo>
                    <a:pt x="316" y="117"/>
                  </a:lnTo>
                  <a:lnTo>
                    <a:pt x="316" y="84"/>
                  </a:lnTo>
                  <a:close/>
                  <a:moveTo>
                    <a:pt x="0" y="384"/>
                  </a:moveTo>
                  <a:cubicBezTo>
                    <a:pt x="0" y="411"/>
                    <a:pt x="22" y="434"/>
                    <a:pt x="50" y="434"/>
                  </a:cubicBezTo>
                  <a:lnTo>
                    <a:pt x="583" y="434"/>
                  </a:lnTo>
                  <a:cubicBezTo>
                    <a:pt x="611" y="434"/>
                    <a:pt x="633" y="411"/>
                    <a:pt x="633" y="384"/>
                  </a:cubicBezTo>
                  <a:lnTo>
                    <a:pt x="633" y="0"/>
                  </a:lnTo>
                  <a:lnTo>
                    <a:pt x="0" y="0"/>
                  </a:lnTo>
                  <a:lnTo>
                    <a:pt x="0" y="384"/>
                  </a:ln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82" name="Freeform 151"/>
            <p:cNvSpPr>
              <a:spLocks noEditPoints="1"/>
            </p:cNvSpPr>
            <p:nvPr/>
          </p:nvSpPr>
          <p:spPr bwMode="auto">
            <a:xfrm>
              <a:off x="2545" y="863"/>
              <a:ext cx="2513" cy="529"/>
            </a:xfrm>
            <a:custGeom>
              <a:avLst/>
              <a:gdLst>
                <a:gd name="T0" fmla="*/ 266 w 633"/>
                <a:gd name="T1" fmla="*/ 100 h 133"/>
                <a:gd name="T2" fmla="*/ 233 w 633"/>
                <a:gd name="T3" fmla="*/ 66 h 133"/>
                <a:gd name="T4" fmla="*/ 266 w 633"/>
                <a:gd name="T5" fmla="*/ 33 h 133"/>
                <a:gd name="T6" fmla="*/ 300 w 633"/>
                <a:gd name="T7" fmla="*/ 66 h 133"/>
                <a:gd name="T8" fmla="*/ 266 w 633"/>
                <a:gd name="T9" fmla="*/ 100 h 133"/>
                <a:gd name="T10" fmla="*/ 166 w 633"/>
                <a:gd name="T11" fmla="*/ 100 h 133"/>
                <a:gd name="T12" fmla="*/ 133 w 633"/>
                <a:gd name="T13" fmla="*/ 66 h 133"/>
                <a:gd name="T14" fmla="*/ 166 w 633"/>
                <a:gd name="T15" fmla="*/ 33 h 133"/>
                <a:gd name="T16" fmla="*/ 200 w 633"/>
                <a:gd name="T17" fmla="*/ 66 h 133"/>
                <a:gd name="T18" fmla="*/ 166 w 633"/>
                <a:gd name="T19" fmla="*/ 100 h 133"/>
                <a:gd name="T20" fmla="*/ 66 w 633"/>
                <a:gd name="T21" fmla="*/ 100 h 133"/>
                <a:gd name="T22" fmla="*/ 33 w 633"/>
                <a:gd name="T23" fmla="*/ 66 h 133"/>
                <a:gd name="T24" fmla="*/ 66 w 633"/>
                <a:gd name="T25" fmla="*/ 33 h 133"/>
                <a:gd name="T26" fmla="*/ 100 w 633"/>
                <a:gd name="T27" fmla="*/ 66 h 133"/>
                <a:gd name="T28" fmla="*/ 66 w 633"/>
                <a:gd name="T29" fmla="*/ 100 h 133"/>
                <a:gd name="T30" fmla="*/ 583 w 633"/>
                <a:gd name="T31" fmla="*/ 0 h 133"/>
                <a:gd name="T32" fmla="*/ 50 w 633"/>
                <a:gd name="T33" fmla="*/ 0 h 133"/>
                <a:gd name="T34" fmla="*/ 0 w 633"/>
                <a:gd name="T35" fmla="*/ 50 h 133"/>
                <a:gd name="T36" fmla="*/ 0 w 633"/>
                <a:gd name="T37" fmla="*/ 133 h 133"/>
                <a:gd name="T38" fmla="*/ 633 w 633"/>
                <a:gd name="T39" fmla="*/ 133 h 133"/>
                <a:gd name="T40" fmla="*/ 633 w 633"/>
                <a:gd name="T41" fmla="*/ 50 h 133"/>
                <a:gd name="T42" fmla="*/ 583 w 633"/>
                <a:gd name="T4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3" h="133">
                  <a:moveTo>
                    <a:pt x="266" y="100"/>
                  </a:moveTo>
                  <a:cubicBezTo>
                    <a:pt x="248" y="100"/>
                    <a:pt x="233" y="85"/>
                    <a:pt x="233" y="66"/>
                  </a:cubicBezTo>
                  <a:cubicBezTo>
                    <a:pt x="233" y="48"/>
                    <a:pt x="248" y="33"/>
                    <a:pt x="266" y="33"/>
                  </a:cubicBezTo>
                  <a:cubicBezTo>
                    <a:pt x="285" y="33"/>
                    <a:pt x="300" y="48"/>
                    <a:pt x="300" y="66"/>
                  </a:cubicBezTo>
                  <a:cubicBezTo>
                    <a:pt x="300" y="85"/>
                    <a:pt x="285" y="100"/>
                    <a:pt x="266" y="100"/>
                  </a:cubicBezTo>
                  <a:close/>
                  <a:moveTo>
                    <a:pt x="166" y="100"/>
                  </a:moveTo>
                  <a:cubicBezTo>
                    <a:pt x="148" y="100"/>
                    <a:pt x="133" y="85"/>
                    <a:pt x="133" y="66"/>
                  </a:cubicBezTo>
                  <a:cubicBezTo>
                    <a:pt x="133" y="48"/>
                    <a:pt x="148" y="33"/>
                    <a:pt x="166" y="33"/>
                  </a:cubicBezTo>
                  <a:cubicBezTo>
                    <a:pt x="185" y="33"/>
                    <a:pt x="200" y="48"/>
                    <a:pt x="200" y="66"/>
                  </a:cubicBezTo>
                  <a:cubicBezTo>
                    <a:pt x="200" y="85"/>
                    <a:pt x="185" y="100"/>
                    <a:pt x="166" y="100"/>
                  </a:cubicBezTo>
                  <a:close/>
                  <a:moveTo>
                    <a:pt x="66" y="100"/>
                  </a:moveTo>
                  <a:cubicBezTo>
                    <a:pt x="48" y="100"/>
                    <a:pt x="33" y="85"/>
                    <a:pt x="33" y="66"/>
                  </a:cubicBezTo>
                  <a:cubicBezTo>
                    <a:pt x="33" y="48"/>
                    <a:pt x="48" y="33"/>
                    <a:pt x="66" y="33"/>
                  </a:cubicBezTo>
                  <a:cubicBezTo>
                    <a:pt x="85" y="33"/>
                    <a:pt x="100" y="48"/>
                    <a:pt x="100" y="66"/>
                  </a:cubicBezTo>
                  <a:cubicBezTo>
                    <a:pt x="100" y="85"/>
                    <a:pt x="85" y="100"/>
                    <a:pt x="66" y="100"/>
                  </a:cubicBezTo>
                  <a:close/>
                  <a:moveTo>
                    <a:pt x="583" y="0"/>
                  </a:moveTo>
                  <a:lnTo>
                    <a:pt x="50" y="0"/>
                  </a:lnTo>
                  <a:cubicBezTo>
                    <a:pt x="22" y="0"/>
                    <a:pt x="0" y="22"/>
                    <a:pt x="0" y="50"/>
                  </a:cubicBezTo>
                  <a:lnTo>
                    <a:pt x="0" y="133"/>
                  </a:lnTo>
                  <a:lnTo>
                    <a:pt x="633" y="133"/>
                  </a:lnTo>
                  <a:lnTo>
                    <a:pt x="633" y="50"/>
                  </a:lnTo>
                  <a:cubicBezTo>
                    <a:pt x="633" y="22"/>
                    <a:pt x="611" y="0"/>
                    <a:pt x="583" y="0"/>
                  </a:cubicBez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grpSp>
      <p:sp>
        <p:nvSpPr>
          <p:cNvPr id="83" name="文本框 82"/>
          <p:cNvSpPr txBox="1"/>
          <p:nvPr/>
        </p:nvSpPr>
        <p:spPr bwMode="auto">
          <a:xfrm>
            <a:off x="9174130" y="2068271"/>
            <a:ext cx="895233"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a:solidFill>
                  <a:srgbClr val="C00000"/>
                </a:solidFill>
                <a:cs typeface="+mn-ea"/>
                <a:sym typeface="+mn-lt"/>
              </a:rPr>
              <a:t>Application</a:t>
            </a:r>
            <a:endParaRPr kumimoji="1" lang="en-US" altLang="zh-CN" sz="1200" b="1" dirty="0" smtClean="0">
              <a:solidFill>
                <a:srgbClr val="C00000"/>
              </a:solidFill>
              <a:cs typeface="+mn-ea"/>
              <a:sym typeface="+mn-lt"/>
            </a:endParaRPr>
          </a:p>
          <a:p>
            <a:pPr algn="ctr" defTabSz="914400" fontAlgn="t">
              <a:spcBef>
                <a:spcPct val="0"/>
              </a:spcBef>
              <a:spcAft>
                <a:spcPct val="0"/>
              </a:spcAft>
            </a:pPr>
            <a:r>
              <a:rPr kumimoji="1" lang="zh-CN" altLang="en-US" sz="1200" b="1" dirty="0">
                <a:solidFill>
                  <a:srgbClr val="C00000"/>
                </a:solidFill>
                <a:cs typeface="+mn-ea"/>
                <a:sym typeface="+mn-lt"/>
              </a:rPr>
              <a:t>应用</a:t>
            </a:r>
            <a:endParaRPr kumimoji="1" lang="zh-CN" altLang="en-US" sz="1200" b="1" dirty="0">
              <a:solidFill>
                <a:srgbClr val="C00000"/>
              </a:solidFill>
              <a:cs typeface="+mn-ea"/>
              <a:sym typeface="+mn-lt"/>
            </a:endParaRPr>
          </a:p>
        </p:txBody>
      </p:sp>
      <p:cxnSp>
        <p:nvCxnSpPr>
          <p:cNvPr id="84" name="直接箭头连接符 83"/>
          <p:cNvCxnSpPr/>
          <p:nvPr/>
        </p:nvCxnSpPr>
        <p:spPr bwMode="auto">
          <a:xfrm>
            <a:off x="8868936" y="2562500"/>
            <a:ext cx="2532" cy="796685"/>
          </a:xfrm>
          <a:prstGeom prst="straightConnector1">
            <a:avLst/>
          </a:prstGeom>
          <a:solidFill>
            <a:srgbClr val="CCFF99"/>
          </a:solidFill>
          <a:ln w="19050" cap="flat" cmpd="sng" algn="ctr">
            <a:solidFill>
              <a:srgbClr val="C00000"/>
            </a:solidFill>
            <a:prstDash val="solid"/>
            <a:round/>
            <a:headEnd type="triangle"/>
            <a:tailEnd type="triangle"/>
          </a:ln>
          <a:effectLst/>
        </p:spPr>
      </p:cxnSp>
      <p:sp>
        <p:nvSpPr>
          <p:cNvPr id="85" name="文本框 84"/>
          <p:cNvSpPr txBox="1"/>
          <p:nvPr/>
        </p:nvSpPr>
        <p:spPr bwMode="auto">
          <a:xfrm>
            <a:off x="8868936" y="2846838"/>
            <a:ext cx="895233"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C00000"/>
                </a:solidFill>
                <a:cs typeface="+mn-ea"/>
                <a:sym typeface="+mn-lt"/>
              </a:rPr>
              <a:t>数据读写</a:t>
            </a:r>
            <a:endParaRPr kumimoji="1" lang="zh-CN" altLang="en-US" sz="1200" b="1" dirty="0">
              <a:solidFill>
                <a:srgbClr val="C00000"/>
              </a:solidFill>
              <a:cs typeface="+mn-ea"/>
              <a:sym typeface="+mn-lt"/>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分组架构 </a:t>
            </a:r>
            <a:r>
              <a:rPr lang="en-US" altLang="zh-CN" dirty="0">
                <a:latin typeface="+mn-lt"/>
                <a:ea typeface="+mn-ea"/>
                <a:cs typeface="+mn-ea"/>
                <a:sym typeface="+mn-lt"/>
              </a:rPr>
              <a:t>-</a:t>
            </a:r>
            <a:r>
              <a:rPr lang="en-US" altLang="zh-CN" dirty="0" smtClean="0">
                <a:latin typeface="+mn-lt"/>
                <a:ea typeface="+mn-ea"/>
                <a:cs typeface="+mn-ea"/>
                <a:sym typeface="+mn-lt"/>
              </a:rPr>
              <a:t> </a:t>
            </a:r>
            <a:r>
              <a:rPr lang="zh-CN" altLang="en-US" dirty="0">
                <a:latin typeface="+mn-lt"/>
                <a:ea typeface="+mn-ea"/>
                <a:cs typeface="+mn-ea"/>
                <a:sym typeface="+mn-lt"/>
              </a:rPr>
              <a:t>主从</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7678445" cy="4680000"/>
          </a:xfrm>
        </p:spPr>
        <p:txBody>
          <a:bodyPr>
            <a:noAutofit/>
          </a:bodyPr>
          <a:lstStyle/>
          <a:p>
            <a:pPr>
              <a:spcBef>
                <a:spcPts val="0"/>
              </a:spcBef>
            </a:pPr>
            <a:r>
              <a:rPr lang="zh-CN" altLang="en-US" sz="1600" dirty="0">
                <a:latin typeface="+mn-lt"/>
                <a:ea typeface="+mn-ea"/>
                <a:cs typeface="+mn-ea"/>
                <a:sym typeface="+mn-lt"/>
              </a:rPr>
              <a:t>主从式</a:t>
            </a:r>
            <a:r>
              <a:rPr lang="zh-CN" altLang="en-US" sz="1600" dirty="0" smtClean="0">
                <a:latin typeface="+mn-lt"/>
                <a:ea typeface="+mn-ea"/>
                <a:cs typeface="+mn-ea"/>
                <a:sym typeface="+mn-lt"/>
              </a:rPr>
              <a:t>架构</a:t>
            </a:r>
            <a:endParaRPr lang="en-US" altLang="zh-CN" sz="1600" dirty="0">
              <a:latin typeface="+mn-lt"/>
              <a:ea typeface="+mn-ea"/>
              <a:cs typeface="+mn-ea"/>
              <a:sym typeface="+mn-lt"/>
            </a:endParaRPr>
          </a:p>
          <a:p>
            <a:pPr lvl="1"/>
            <a:r>
              <a:rPr lang="zh-CN" altLang="en-US" sz="1200" dirty="0" smtClean="0">
                <a:latin typeface="+mn-lt"/>
                <a:ea typeface="+mn-ea"/>
                <a:cs typeface="+mn-ea"/>
                <a:sym typeface="+mn-lt"/>
              </a:rPr>
              <a:t>部署模式和主备机模式相似，备机</a:t>
            </a:r>
            <a:r>
              <a:rPr lang="en-US" altLang="zh-CN" sz="1200" dirty="0" smtClean="0">
                <a:latin typeface="+mn-lt"/>
                <a:ea typeface="+mn-ea"/>
                <a:cs typeface="+mn-ea"/>
                <a:sym typeface="+mn-lt"/>
              </a:rPr>
              <a:t>(Backup</a:t>
            </a:r>
            <a:r>
              <a:rPr lang="en-US" altLang="zh-CN" sz="1200" dirty="0">
                <a:latin typeface="+mn-lt"/>
                <a:ea typeface="+mn-ea"/>
                <a:cs typeface="+mn-ea"/>
                <a:sym typeface="+mn-lt"/>
              </a:rPr>
              <a:t>)</a:t>
            </a:r>
            <a:r>
              <a:rPr lang="zh-CN" altLang="en-US" sz="1200" dirty="0" smtClean="0">
                <a:latin typeface="+mn-lt"/>
                <a:ea typeface="+mn-ea"/>
                <a:cs typeface="+mn-ea"/>
                <a:sym typeface="+mn-lt"/>
              </a:rPr>
              <a:t>上升为从机</a:t>
            </a:r>
            <a:r>
              <a:rPr lang="en-US" altLang="zh-CN" sz="1200" dirty="0" smtClean="0">
                <a:latin typeface="+mn-lt"/>
                <a:ea typeface="+mn-ea"/>
                <a:cs typeface="+mn-ea"/>
                <a:sym typeface="+mn-lt"/>
              </a:rPr>
              <a:t>(Slave</a:t>
            </a:r>
            <a:r>
              <a:rPr lang="en-US" altLang="zh-CN" sz="1200" dirty="0">
                <a:latin typeface="+mn-lt"/>
                <a:ea typeface="+mn-ea"/>
                <a:cs typeface="+mn-ea"/>
                <a:sym typeface="+mn-lt"/>
              </a:rPr>
              <a:t>)</a:t>
            </a:r>
            <a:r>
              <a:rPr lang="zh-CN" altLang="en-US" sz="1200" dirty="0" smtClean="0">
                <a:latin typeface="+mn-lt"/>
                <a:ea typeface="+mn-ea"/>
                <a:cs typeface="+mn-ea"/>
                <a:sym typeface="+mn-lt"/>
              </a:rPr>
              <a:t>，对外提供一定的数据服务。</a:t>
            </a:r>
            <a:endParaRPr lang="en-US" altLang="zh-CN" sz="1200" dirty="0">
              <a:latin typeface="+mn-lt"/>
              <a:ea typeface="+mn-ea"/>
              <a:cs typeface="+mn-ea"/>
              <a:sym typeface="+mn-lt"/>
            </a:endParaRPr>
          </a:p>
          <a:p>
            <a:pPr lvl="1"/>
            <a:r>
              <a:rPr lang="zh-CN" altLang="en-US" sz="1200" dirty="0" smtClean="0">
                <a:latin typeface="+mn-lt"/>
                <a:ea typeface="+mn-ea"/>
                <a:cs typeface="+mn-ea"/>
                <a:sym typeface="+mn-lt"/>
              </a:rPr>
              <a:t>通过读写分离方式分散压力：</a:t>
            </a:r>
            <a:endParaRPr lang="en-US" altLang="zh-CN" sz="1200" dirty="0" smtClean="0">
              <a:latin typeface="+mn-lt"/>
              <a:ea typeface="+mn-ea"/>
              <a:cs typeface="+mn-ea"/>
              <a:sym typeface="+mn-lt"/>
            </a:endParaRPr>
          </a:p>
          <a:p>
            <a:pPr lvl="2"/>
            <a:r>
              <a:rPr lang="zh-CN" altLang="en-US" sz="1200" dirty="0">
                <a:latin typeface="+mn-lt"/>
                <a:ea typeface="+mn-ea"/>
                <a:cs typeface="+mn-ea"/>
                <a:sym typeface="+mn-lt"/>
              </a:rPr>
              <a:t>写入、修改、删除操作，在写库（主机）上</a:t>
            </a:r>
            <a:r>
              <a:rPr lang="zh-CN" altLang="en-US" sz="1200" dirty="0" smtClean="0">
                <a:latin typeface="+mn-lt"/>
                <a:ea typeface="+mn-ea"/>
                <a:cs typeface="+mn-ea"/>
                <a:sym typeface="+mn-lt"/>
              </a:rPr>
              <a:t>完成；</a:t>
            </a:r>
            <a:endParaRPr lang="en-US" altLang="zh-CN" sz="1200" dirty="0" smtClean="0">
              <a:latin typeface="+mn-lt"/>
              <a:ea typeface="+mn-ea"/>
              <a:cs typeface="+mn-ea"/>
              <a:sym typeface="+mn-lt"/>
            </a:endParaRPr>
          </a:p>
          <a:p>
            <a:pPr lvl="2"/>
            <a:r>
              <a:rPr lang="zh-CN" altLang="en-US" sz="1200" dirty="0" smtClean="0">
                <a:latin typeface="+mn-lt"/>
                <a:ea typeface="+mn-ea"/>
                <a:cs typeface="+mn-ea"/>
                <a:sym typeface="+mn-lt"/>
              </a:rPr>
              <a:t>把查询请求，分配到读库（从机）。</a:t>
            </a:r>
            <a:endParaRPr lang="en-US" altLang="zh-CN" sz="1200" dirty="0">
              <a:latin typeface="+mn-lt"/>
              <a:ea typeface="+mn-ea"/>
              <a:cs typeface="+mn-ea"/>
              <a:sym typeface="+mn-lt"/>
            </a:endParaRPr>
          </a:p>
          <a:p>
            <a:pPr>
              <a:spcBef>
                <a:spcPts val="0"/>
              </a:spcBef>
            </a:pPr>
            <a:r>
              <a:rPr lang="zh-CN" altLang="en-US" sz="1600" dirty="0" smtClean="0">
                <a:latin typeface="+mn-lt"/>
                <a:ea typeface="+mn-ea"/>
                <a:cs typeface="+mn-ea"/>
                <a:sym typeface="+mn-lt"/>
              </a:rPr>
              <a:t>优点</a:t>
            </a:r>
            <a:endParaRPr lang="en-US" altLang="zh-CN" sz="1600" dirty="0" smtClean="0">
              <a:latin typeface="+mn-lt"/>
              <a:ea typeface="+mn-ea"/>
              <a:cs typeface="+mn-ea"/>
              <a:sym typeface="+mn-lt"/>
            </a:endParaRPr>
          </a:p>
          <a:p>
            <a:pPr lvl="1"/>
            <a:r>
              <a:rPr lang="zh-CN" altLang="en-US" sz="1400" dirty="0">
                <a:latin typeface="+mn-lt"/>
                <a:ea typeface="+mn-ea"/>
                <a:cs typeface="+mn-ea"/>
                <a:sym typeface="+mn-lt"/>
              </a:rPr>
              <a:t>提升资源利用率，适合读多写少的应用场景。</a:t>
            </a:r>
            <a:endParaRPr lang="en-US" altLang="zh-CN" sz="1400" dirty="0">
              <a:latin typeface="+mn-lt"/>
              <a:ea typeface="+mn-ea"/>
              <a:cs typeface="+mn-ea"/>
              <a:sym typeface="+mn-lt"/>
            </a:endParaRPr>
          </a:p>
          <a:p>
            <a:pPr lvl="1"/>
            <a:r>
              <a:rPr lang="zh-CN" altLang="en-US" sz="1400" dirty="0">
                <a:latin typeface="+mn-lt"/>
                <a:ea typeface="+mn-ea"/>
                <a:cs typeface="+mn-ea"/>
                <a:sym typeface="+mn-lt"/>
              </a:rPr>
              <a:t>在大并发读的使用场景，可以使用负载均衡在多</a:t>
            </a:r>
            <a:r>
              <a:rPr lang="zh-CN" altLang="en-US" sz="1400" dirty="0" smtClean="0">
                <a:latin typeface="+mn-lt"/>
                <a:ea typeface="+mn-ea"/>
                <a:cs typeface="+mn-ea"/>
                <a:sym typeface="+mn-lt"/>
              </a:rPr>
              <a:t>个从机</a:t>
            </a:r>
            <a:r>
              <a:rPr lang="zh-CN" altLang="en-US" sz="1400" dirty="0">
                <a:latin typeface="+mn-lt"/>
                <a:ea typeface="+mn-ea"/>
                <a:cs typeface="+mn-ea"/>
                <a:sym typeface="+mn-lt"/>
              </a:rPr>
              <a:t>间进行平衡。</a:t>
            </a:r>
            <a:endParaRPr lang="en-US" altLang="zh-CN" sz="1400" dirty="0">
              <a:latin typeface="+mn-lt"/>
              <a:ea typeface="+mn-ea"/>
              <a:cs typeface="+mn-ea"/>
              <a:sym typeface="+mn-lt"/>
            </a:endParaRPr>
          </a:p>
          <a:p>
            <a:pPr lvl="1"/>
            <a:r>
              <a:rPr lang="zh-CN" altLang="en-US" sz="1400" dirty="0">
                <a:latin typeface="+mn-lt"/>
                <a:ea typeface="+mn-ea"/>
                <a:cs typeface="+mn-ea"/>
                <a:sym typeface="+mn-lt"/>
              </a:rPr>
              <a:t>从机的扩展性比较灵活，扩容操作不会影响到业务进行。</a:t>
            </a:r>
            <a:endParaRPr lang="en-US" altLang="zh-CN" sz="1400" dirty="0">
              <a:latin typeface="+mn-lt"/>
              <a:ea typeface="+mn-ea"/>
              <a:cs typeface="+mn-ea"/>
              <a:sym typeface="+mn-lt"/>
            </a:endParaRPr>
          </a:p>
          <a:p>
            <a:pPr>
              <a:spcBef>
                <a:spcPts val="0"/>
              </a:spcBef>
            </a:pPr>
            <a:r>
              <a:rPr lang="zh-CN" altLang="en-US" sz="1600" dirty="0">
                <a:latin typeface="+mn-lt"/>
                <a:ea typeface="+mn-ea"/>
                <a:cs typeface="+mn-ea"/>
                <a:sym typeface="+mn-lt"/>
              </a:rPr>
              <a:t>缺点</a:t>
            </a:r>
            <a:endParaRPr lang="en-US" altLang="zh-CN" sz="1600" dirty="0">
              <a:latin typeface="+mn-lt"/>
              <a:ea typeface="+mn-ea"/>
              <a:cs typeface="+mn-ea"/>
              <a:sym typeface="+mn-lt"/>
            </a:endParaRPr>
          </a:p>
          <a:p>
            <a:pPr lvl="1"/>
            <a:r>
              <a:rPr lang="zh-CN" altLang="en-US" sz="1400" dirty="0">
                <a:latin typeface="+mn-lt"/>
                <a:ea typeface="+mn-ea"/>
                <a:cs typeface="+mn-ea"/>
                <a:sym typeface="+mn-lt"/>
              </a:rPr>
              <a:t>延迟问题，数据同步到从机数据库时会有延迟，所以应用必须能够容忍短暂的不一致性。对于一致性要求非常高的场景是不适合的。</a:t>
            </a:r>
            <a:endParaRPr lang="en-US" altLang="zh-CN" sz="1400" dirty="0">
              <a:latin typeface="+mn-lt"/>
              <a:ea typeface="+mn-ea"/>
              <a:cs typeface="+mn-ea"/>
              <a:sym typeface="+mn-lt"/>
            </a:endParaRPr>
          </a:p>
          <a:p>
            <a:pPr lvl="1"/>
            <a:r>
              <a:rPr lang="zh-CN" altLang="en-US" sz="1400" dirty="0">
                <a:latin typeface="+mn-lt"/>
                <a:ea typeface="+mn-ea"/>
                <a:cs typeface="+mn-ea"/>
                <a:sym typeface="+mn-lt"/>
              </a:rPr>
              <a:t>写操作的性能压力还是集中在主机</a:t>
            </a:r>
            <a:r>
              <a:rPr lang="zh-CN" altLang="en-US" sz="1400" dirty="0" smtClean="0">
                <a:latin typeface="+mn-lt"/>
                <a:ea typeface="+mn-ea"/>
                <a:cs typeface="+mn-ea"/>
                <a:sym typeface="+mn-lt"/>
              </a:rPr>
              <a:t>上。</a:t>
            </a:r>
            <a:endParaRPr lang="en-US" altLang="zh-CN" sz="1400" dirty="0">
              <a:latin typeface="+mn-lt"/>
              <a:ea typeface="+mn-ea"/>
              <a:cs typeface="+mn-ea"/>
              <a:sym typeface="+mn-lt"/>
            </a:endParaRPr>
          </a:p>
          <a:p>
            <a:pPr lvl="1"/>
            <a:r>
              <a:rPr lang="zh-CN" altLang="en-US" sz="1400" dirty="0">
                <a:latin typeface="+mn-lt"/>
                <a:ea typeface="+mn-ea"/>
                <a:cs typeface="+mn-ea"/>
                <a:sym typeface="+mn-lt"/>
              </a:rPr>
              <a:t>主机出现故障，需要实现主从切换，人工干预需要响应时间，自动切换复杂度较高。</a:t>
            </a:r>
            <a:endParaRPr lang="en-US" altLang="zh-CN" sz="1400" dirty="0">
              <a:latin typeface="+mn-lt"/>
              <a:ea typeface="+mn-ea"/>
              <a:cs typeface="+mn-ea"/>
              <a:sym typeface="+mn-lt"/>
            </a:endParaRPr>
          </a:p>
        </p:txBody>
      </p:sp>
      <p:sp>
        <p:nvSpPr>
          <p:cNvPr id="55" name="矩形 54"/>
          <p:cNvSpPr/>
          <p:nvPr/>
        </p:nvSpPr>
        <p:spPr bwMode="auto">
          <a:xfrm>
            <a:off x="9449130" y="3358024"/>
            <a:ext cx="1909023" cy="1093555"/>
          </a:xfrm>
          <a:prstGeom prst="rect">
            <a:avLst/>
          </a:prstGeom>
          <a:solidFill>
            <a:srgbClr val="FFFF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lvl="0" indent="0" algn="ctr" defTabSz="914400" eaLnBrk="1" fontAlgn="t"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smtClean="0">
              <a:ln>
                <a:noFill/>
              </a:ln>
              <a:solidFill>
                <a:srgbClr val="000000"/>
              </a:solidFill>
              <a:effectLst/>
              <a:uLnTx/>
              <a:uFillTx/>
              <a:cs typeface="+mn-ea"/>
              <a:sym typeface="+mn-lt"/>
            </a:endParaRPr>
          </a:p>
        </p:txBody>
      </p:sp>
      <p:sp>
        <p:nvSpPr>
          <p:cNvPr id="56" name="文本框 55"/>
          <p:cNvSpPr txBox="1"/>
          <p:nvPr/>
        </p:nvSpPr>
        <p:spPr bwMode="auto">
          <a:xfrm>
            <a:off x="8076220" y="4612735"/>
            <a:ext cx="801965"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a:solidFill>
                  <a:srgbClr val="000000"/>
                </a:solidFill>
                <a:cs typeface="+mn-ea"/>
                <a:sym typeface="+mn-lt"/>
              </a:rPr>
              <a:t>主机</a:t>
            </a:r>
            <a:endParaRPr kumimoji="1" lang="en-US" altLang="zh-CN" sz="1200" b="1" dirty="0" smtClean="0">
              <a:solidFill>
                <a:srgbClr val="000000"/>
              </a:solidFill>
              <a:cs typeface="+mn-ea"/>
              <a:sym typeface="+mn-lt"/>
            </a:endParaRPr>
          </a:p>
          <a:p>
            <a:pPr algn="ctr" defTabSz="914400" fontAlgn="t">
              <a:spcBef>
                <a:spcPct val="0"/>
              </a:spcBef>
              <a:spcAft>
                <a:spcPct val="0"/>
              </a:spcAft>
            </a:pPr>
            <a:r>
              <a:rPr kumimoji="1" lang="en-US" altLang="zh-CN" sz="1200" b="1" dirty="0">
                <a:solidFill>
                  <a:srgbClr val="000000"/>
                </a:solidFill>
                <a:cs typeface="+mn-ea"/>
                <a:sym typeface="+mn-lt"/>
              </a:rPr>
              <a:t>(</a:t>
            </a:r>
            <a:r>
              <a:rPr kumimoji="1" lang="en-US" altLang="zh-CN" sz="1200" b="1" dirty="0" smtClean="0">
                <a:solidFill>
                  <a:srgbClr val="000000"/>
                </a:solidFill>
                <a:cs typeface="+mn-ea"/>
                <a:sym typeface="+mn-lt"/>
              </a:rPr>
              <a:t>Master)</a:t>
            </a:r>
            <a:endParaRPr kumimoji="1" lang="zh-CN" altLang="en-US" sz="1200" b="1" dirty="0">
              <a:solidFill>
                <a:srgbClr val="000000"/>
              </a:solidFill>
              <a:cs typeface="+mn-ea"/>
              <a:sym typeface="+mn-lt"/>
            </a:endParaRPr>
          </a:p>
        </p:txBody>
      </p:sp>
      <p:sp>
        <p:nvSpPr>
          <p:cNvPr id="57" name="文本框 56"/>
          <p:cNvSpPr txBox="1"/>
          <p:nvPr/>
        </p:nvSpPr>
        <p:spPr bwMode="auto">
          <a:xfrm>
            <a:off x="10125596" y="4611785"/>
            <a:ext cx="801965"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从机</a:t>
            </a:r>
            <a:endParaRPr kumimoji="1" lang="en-US" altLang="zh-CN" sz="1200" b="1" dirty="0" smtClean="0">
              <a:solidFill>
                <a:srgbClr val="000000"/>
              </a:solidFill>
              <a:cs typeface="+mn-ea"/>
              <a:sym typeface="+mn-lt"/>
            </a:endParaRPr>
          </a:p>
          <a:p>
            <a:pPr algn="ctr" defTabSz="914400" fontAlgn="t">
              <a:spcBef>
                <a:spcPct val="0"/>
              </a:spcBef>
              <a:spcAft>
                <a:spcPct val="0"/>
              </a:spcAft>
            </a:pPr>
            <a:r>
              <a:rPr kumimoji="1" lang="en-US" altLang="zh-CN" sz="1200" b="1" dirty="0">
                <a:solidFill>
                  <a:srgbClr val="000000"/>
                </a:solidFill>
                <a:cs typeface="+mn-ea"/>
                <a:sym typeface="+mn-lt"/>
              </a:rPr>
              <a:t>(</a:t>
            </a:r>
            <a:r>
              <a:rPr kumimoji="1" lang="en-US" altLang="zh-CN" sz="1200" b="1" dirty="0" smtClean="0">
                <a:solidFill>
                  <a:srgbClr val="000000"/>
                </a:solidFill>
                <a:cs typeface="+mn-ea"/>
                <a:sym typeface="+mn-lt"/>
              </a:rPr>
              <a:t>Slaves)</a:t>
            </a:r>
            <a:endParaRPr kumimoji="1" lang="zh-CN" altLang="en-US" sz="1200" b="1" dirty="0">
              <a:solidFill>
                <a:srgbClr val="000000"/>
              </a:solidFill>
              <a:cs typeface="+mn-ea"/>
              <a:sym typeface="+mn-lt"/>
            </a:endParaRPr>
          </a:p>
        </p:txBody>
      </p:sp>
      <p:sp>
        <p:nvSpPr>
          <p:cNvPr id="58" name="文本框 57"/>
          <p:cNvSpPr txBox="1"/>
          <p:nvPr/>
        </p:nvSpPr>
        <p:spPr bwMode="auto">
          <a:xfrm>
            <a:off x="8761436" y="4104331"/>
            <a:ext cx="801965"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6699"/>
                </a:solidFill>
                <a:cs typeface="+mn-ea"/>
                <a:sym typeface="+mn-lt"/>
              </a:rPr>
              <a:t>数据</a:t>
            </a:r>
            <a:endParaRPr kumimoji="1" lang="en-US" altLang="zh-CN" sz="1200" b="1" dirty="0" smtClean="0">
              <a:solidFill>
                <a:srgbClr val="006699"/>
              </a:solidFill>
              <a:cs typeface="+mn-ea"/>
              <a:sym typeface="+mn-lt"/>
            </a:endParaRPr>
          </a:p>
          <a:p>
            <a:pPr algn="ctr" defTabSz="914400" fontAlgn="t">
              <a:spcBef>
                <a:spcPct val="0"/>
              </a:spcBef>
              <a:spcAft>
                <a:spcPct val="0"/>
              </a:spcAft>
            </a:pPr>
            <a:r>
              <a:rPr kumimoji="1" lang="zh-CN" altLang="en-US" sz="1200" b="1" dirty="0" smtClean="0">
                <a:solidFill>
                  <a:srgbClr val="006699"/>
                </a:solidFill>
                <a:cs typeface="+mn-ea"/>
                <a:sym typeface="+mn-lt"/>
              </a:rPr>
              <a:t>同步</a:t>
            </a:r>
            <a:endParaRPr kumimoji="1" lang="zh-CN" altLang="en-US" sz="1200" b="1" dirty="0">
              <a:solidFill>
                <a:srgbClr val="006699"/>
              </a:solidFill>
              <a:cs typeface="+mn-ea"/>
              <a:sym typeface="+mn-lt"/>
            </a:endParaRPr>
          </a:p>
        </p:txBody>
      </p:sp>
      <p:grpSp>
        <p:nvGrpSpPr>
          <p:cNvPr id="59" name="组合 58"/>
          <p:cNvGrpSpPr/>
          <p:nvPr/>
        </p:nvGrpSpPr>
        <p:grpSpPr>
          <a:xfrm>
            <a:off x="8204232" y="3492469"/>
            <a:ext cx="598866" cy="873585"/>
            <a:chOff x="7063056" y="5194185"/>
            <a:chExt cx="654682" cy="1008824"/>
          </a:xfrm>
        </p:grpSpPr>
        <p:grpSp>
          <p:nvGrpSpPr>
            <p:cNvPr id="60" name="Server"/>
            <p:cNvGrpSpPr>
              <a:grpSpLocks noChangeAspect="1"/>
            </p:cNvGrpSpPr>
            <p:nvPr>
              <p:custDataLst>
                <p:tags r:id="rId1"/>
              </p:custDataLst>
            </p:nvPr>
          </p:nvGrpSpPr>
          <p:grpSpPr>
            <a:xfrm>
              <a:off x="7063056" y="5194185"/>
              <a:ext cx="654682" cy="936104"/>
              <a:chOff x="4754879" y="1097281"/>
              <a:chExt cx="3331031" cy="4762911"/>
            </a:xfrm>
          </p:grpSpPr>
          <p:sp>
            <p:nvSpPr>
              <p:cNvPr id="79"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0"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1"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62" name="Database"/>
            <p:cNvGrpSpPr/>
            <p:nvPr>
              <p:custDataLst>
                <p:tags r:id="rId2"/>
              </p:custDataLst>
            </p:nvPr>
          </p:nvGrpSpPr>
          <p:grpSpPr>
            <a:xfrm>
              <a:off x="7348157" y="5782904"/>
              <a:ext cx="324036" cy="420105"/>
              <a:chOff x="-1607704" y="4375315"/>
              <a:chExt cx="357909" cy="378772"/>
            </a:xfrm>
            <a:solidFill>
              <a:srgbClr val="99CCFF"/>
            </a:solidFill>
          </p:grpSpPr>
          <p:sp>
            <p:nvSpPr>
              <p:cNvPr id="63"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65"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66"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nvGrpSpPr>
          <p:cNvPr id="82" name="组合 81"/>
          <p:cNvGrpSpPr/>
          <p:nvPr/>
        </p:nvGrpSpPr>
        <p:grpSpPr>
          <a:xfrm>
            <a:off x="9619689" y="3491519"/>
            <a:ext cx="598866" cy="873585"/>
            <a:chOff x="7063056" y="5194185"/>
            <a:chExt cx="654682" cy="1008824"/>
          </a:xfrm>
        </p:grpSpPr>
        <p:grpSp>
          <p:nvGrpSpPr>
            <p:cNvPr id="83" name="Server"/>
            <p:cNvGrpSpPr>
              <a:grpSpLocks noChangeAspect="1"/>
            </p:cNvGrpSpPr>
            <p:nvPr>
              <p:custDataLst>
                <p:tags r:id="rId3"/>
              </p:custDataLst>
            </p:nvPr>
          </p:nvGrpSpPr>
          <p:grpSpPr>
            <a:xfrm>
              <a:off x="7063056" y="5194185"/>
              <a:ext cx="654682" cy="936104"/>
              <a:chOff x="4754879" y="1097281"/>
              <a:chExt cx="3331031" cy="4762911"/>
            </a:xfrm>
          </p:grpSpPr>
          <p:sp>
            <p:nvSpPr>
              <p:cNvPr id="88"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9"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90"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84" name="Database"/>
            <p:cNvGrpSpPr/>
            <p:nvPr>
              <p:custDataLst>
                <p:tags r:id="rId4"/>
              </p:custDataLst>
            </p:nvPr>
          </p:nvGrpSpPr>
          <p:grpSpPr>
            <a:xfrm>
              <a:off x="7348157" y="5782904"/>
              <a:ext cx="324036" cy="420105"/>
              <a:chOff x="-1607704" y="4375315"/>
              <a:chExt cx="357909" cy="378772"/>
            </a:xfrm>
            <a:solidFill>
              <a:srgbClr val="99CCFF"/>
            </a:solidFill>
          </p:grpSpPr>
          <p:sp>
            <p:nvSpPr>
              <p:cNvPr id="85"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86"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87"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nvGrpSpPr>
          <p:cNvPr id="91" name="Browser"/>
          <p:cNvGrpSpPr>
            <a:grpSpLocks noChangeAspect="1"/>
          </p:cNvGrpSpPr>
          <p:nvPr>
            <p:custDataLst>
              <p:tags r:id="rId5"/>
            </p:custDataLst>
          </p:nvPr>
        </p:nvGrpSpPr>
        <p:grpSpPr bwMode="auto">
          <a:xfrm>
            <a:off x="9177882" y="2045006"/>
            <a:ext cx="459841" cy="436785"/>
            <a:chOff x="2545" y="863"/>
            <a:chExt cx="2513" cy="2387"/>
          </a:xfrm>
          <a:solidFill>
            <a:srgbClr val="C00000"/>
          </a:solidFill>
          <a:effectLst>
            <a:outerShdw blurRad="50800" dist="38100" dir="2700000" algn="tl" rotWithShape="0">
              <a:prstClr val="black">
                <a:alpha val="40000"/>
              </a:prstClr>
            </a:outerShdw>
          </a:effectLst>
        </p:grpSpPr>
        <p:sp>
          <p:nvSpPr>
            <p:cNvPr id="92" name="Freeform 150"/>
            <p:cNvSpPr>
              <a:spLocks noEditPoints="1"/>
            </p:cNvSpPr>
            <p:nvPr/>
          </p:nvSpPr>
          <p:spPr bwMode="auto">
            <a:xfrm>
              <a:off x="2545" y="1523"/>
              <a:ext cx="2513" cy="1727"/>
            </a:xfrm>
            <a:custGeom>
              <a:avLst/>
              <a:gdLst>
                <a:gd name="T0" fmla="*/ 50 w 633"/>
                <a:gd name="T1" fmla="*/ 84 h 434"/>
                <a:gd name="T2" fmla="*/ 250 w 633"/>
                <a:gd name="T3" fmla="*/ 84 h 434"/>
                <a:gd name="T4" fmla="*/ 250 w 633"/>
                <a:gd name="T5" fmla="*/ 384 h 434"/>
                <a:gd name="T6" fmla="*/ 50 w 633"/>
                <a:gd name="T7" fmla="*/ 384 h 434"/>
                <a:gd name="T8" fmla="*/ 50 w 633"/>
                <a:gd name="T9" fmla="*/ 84 h 434"/>
                <a:gd name="T10" fmla="*/ 316 w 633"/>
                <a:gd name="T11" fmla="*/ 350 h 434"/>
                <a:gd name="T12" fmla="*/ 583 w 633"/>
                <a:gd name="T13" fmla="*/ 350 h 434"/>
                <a:gd name="T14" fmla="*/ 583 w 633"/>
                <a:gd name="T15" fmla="*/ 384 h 434"/>
                <a:gd name="T16" fmla="*/ 316 w 633"/>
                <a:gd name="T17" fmla="*/ 384 h 434"/>
                <a:gd name="T18" fmla="*/ 316 w 633"/>
                <a:gd name="T19" fmla="*/ 350 h 434"/>
                <a:gd name="T20" fmla="*/ 316 w 633"/>
                <a:gd name="T21" fmla="*/ 284 h 434"/>
                <a:gd name="T22" fmla="*/ 583 w 633"/>
                <a:gd name="T23" fmla="*/ 284 h 434"/>
                <a:gd name="T24" fmla="*/ 583 w 633"/>
                <a:gd name="T25" fmla="*/ 317 h 434"/>
                <a:gd name="T26" fmla="*/ 316 w 633"/>
                <a:gd name="T27" fmla="*/ 317 h 434"/>
                <a:gd name="T28" fmla="*/ 316 w 633"/>
                <a:gd name="T29" fmla="*/ 284 h 434"/>
                <a:gd name="T30" fmla="*/ 316 w 633"/>
                <a:gd name="T31" fmla="*/ 217 h 434"/>
                <a:gd name="T32" fmla="*/ 583 w 633"/>
                <a:gd name="T33" fmla="*/ 217 h 434"/>
                <a:gd name="T34" fmla="*/ 583 w 633"/>
                <a:gd name="T35" fmla="*/ 250 h 434"/>
                <a:gd name="T36" fmla="*/ 316 w 633"/>
                <a:gd name="T37" fmla="*/ 250 h 434"/>
                <a:gd name="T38" fmla="*/ 316 w 633"/>
                <a:gd name="T39" fmla="*/ 217 h 434"/>
                <a:gd name="T40" fmla="*/ 316 w 633"/>
                <a:gd name="T41" fmla="*/ 150 h 434"/>
                <a:gd name="T42" fmla="*/ 583 w 633"/>
                <a:gd name="T43" fmla="*/ 150 h 434"/>
                <a:gd name="T44" fmla="*/ 583 w 633"/>
                <a:gd name="T45" fmla="*/ 184 h 434"/>
                <a:gd name="T46" fmla="*/ 316 w 633"/>
                <a:gd name="T47" fmla="*/ 184 h 434"/>
                <a:gd name="T48" fmla="*/ 316 w 633"/>
                <a:gd name="T49" fmla="*/ 150 h 434"/>
                <a:gd name="T50" fmla="*/ 316 w 633"/>
                <a:gd name="T51" fmla="*/ 84 h 434"/>
                <a:gd name="T52" fmla="*/ 583 w 633"/>
                <a:gd name="T53" fmla="*/ 84 h 434"/>
                <a:gd name="T54" fmla="*/ 583 w 633"/>
                <a:gd name="T55" fmla="*/ 117 h 434"/>
                <a:gd name="T56" fmla="*/ 316 w 633"/>
                <a:gd name="T57" fmla="*/ 117 h 434"/>
                <a:gd name="T58" fmla="*/ 316 w 633"/>
                <a:gd name="T59" fmla="*/ 84 h 434"/>
                <a:gd name="T60" fmla="*/ 0 w 633"/>
                <a:gd name="T61" fmla="*/ 384 h 434"/>
                <a:gd name="T62" fmla="*/ 50 w 633"/>
                <a:gd name="T63" fmla="*/ 434 h 434"/>
                <a:gd name="T64" fmla="*/ 583 w 633"/>
                <a:gd name="T65" fmla="*/ 434 h 434"/>
                <a:gd name="T66" fmla="*/ 633 w 633"/>
                <a:gd name="T67" fmla="*/ 384 h 434"/>
                <a:gd name="T68" fmla="*/ 633 w 633"/>
                <a:gd name="T69" fmla="*/ 0 h 434"/>
                <a:gd name="T70" fmla="*/ 0 w 633"/>
                <a:gd name="T71" fmla="*/ 0 h 434"/>
                <a:gd name="T72" fmla="*/ 0 w 633"/>
                <a:gd name="T73" fmla="*/ 38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3" h="434">
                  <a:moveTo>
                    <a:pt x="50" y="84"/>
                  </a:moveTo>
                  <a:lnTo>
                    <a:pt x="250" y="84"/>
                  </a:lnTo>
                  <a:lnTo>
                    <a:pt x="250" y="384"/>
                  </a:lnTo>
                  <a:lnTo>
                    <a:pt x="50" y="384"/>
                  </a:lnTo>
                  <a:lnTo>
                    <a:pt x="50" y="84"/>
                  </a:lnTo>
                  <a:close/>
                  <a:moveTo>
                    <a:pt x="316" y="350"/>
                  </a:moveTo>
                  <a:lnTo>
                    <a:pt x="583" y="350"/>
                  </a:lnTo>
                  <a:lnTo>
                    <a:pt x="583" y="384"/>
                  </a:lnTo>
                  <a:lnTo>
                    <a:pt x="316" y="384"/>
                  </a:lnTo>
                  <a:lnTo>
                    <a:pt x="316" y="350"/>
                  </a:lnTo>
                  <a:close/>
                  <a:moveTo>
                    <a:pt x="316" y="284"/>
                  </a:moveTo>
                  <a:lnTo>
                    <a:pt x="583" y="284"/>
                  </a:lnTo>
                  <a:lnTo>
                    <a:pt x="583" y="317"/>
                  </a:lnTo>
                  <a:lnTo>
                    <a:pt x="316" y="317"/>
                  </a:lnTo>
                  <a:lnTo>
                    <a:pt x="316" y="284"/>
                  </a:lnTo>
                  <a:close/>
                  <a:moveTo>
                    <a:pt x="316" y="217"/>
                  </a:moveTo>
                  <a:lnTo>
                    <a:pt x="583" y="217"/>
                  </a:lnTo>
                  <a:lnTo>
                    <a:pt x="583" y="250"/>
                  </a:lnTo>
                  <a:lnTo>
                    <a:pt x="316" y="250"/>
                  </a:lnTo>
                  <a:lnTo>
                    <a:pt x="316" y="217"/>
                  </a:lnTo>
                  <a:close/>
                  <a:moveTo>
                    <a:pt x="316" y="150"/>
                  </a:moveTo>
                  <a:lnTo>
                    <a:pt x="583" y="150"/>
                  </a:lnTo>
                  <a:lnTo>
                    <a:pt x="583" y="184"/>
                  </a:lnTo>
                  <a:lnTo>
                    <a:pt x="316" y="184"/>
                  </a:lnTo>
                  <a:lnTo>
                    <a:pt x="316" y="150"/>
                  </a:lnTo>
                  <a:close/>
                  <a:moveTo>
                    <a:pt x="316" y="84"/>
                  </a:moveTo>
                  <a:lnTo>
                    <a:pt x="583" y="84"/>
                  </a:lnTo>
                  <a:lnTo>
                    <a:pt x="583" y="117"/>
                  </a:lnTo>
                  <a:lnTo>
                    <a:pt x="316" y="117"/>
                  </a:lnTo>
                  <a:lnTo>
                    <a:pt x="316" y="84"/>
                  </a:lnTo>
                  <a:close/>
                  <a:moveTo>
                    <a:pt x="0" y="384"/>
                  </a:moveTo>
                  <a:cubicBezTo>
                    <a:pt x="0" y="411"/>
                    <a:pt x="22" y="434"/>
                    <a:pt x="50" y="434"/>
                  </a:cubicBezTo>
                  <a:lnTo>
                    <a:pt x="583" y="434"/>
                  </a:lnTo>
                  <a:cubicBezTo>
                    <a:pt x="611" y="434"/>
                    <a:pt x="633" y="411"/>
                    <a:pt x="633" y="384"/>
                  </a:cubicBezTo>
                  <a:lnTo>
                    <a:pt x="633" y="0"/>
                  </a:lnTo>
                  <a:lnTo>
                    <a:pt x="0" y="0"/>
                  </a:lnTo>
                  <a:lnTo>
                    <a:pt x="0" y="384"/>
                  </a:ln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93" name="Freeform 151"/>
            <p:cNvSpPr>
              <a:spLocks noEditPoints="1"/>
            </p:cNvSpPr>
            <p:nvPr/>
          </p:nvSpPr>
          <p:spPr bwMode="auto">
            <a:xfrm>
              <a:off x="2545" y="863"/>
              <a:ext cx="2513" cy="529"/>
            </a:xfrm>
            <a:custGeom>
              <a:avLst/>
              <a:gdLst>
                <a:gd name="T0" fmla="*/ 266 w 633"/>
                <a:gd name="T1" fmla="*/ 100 h 133"/>
                <a:gd name="T2" fmla="*/ 233 w 633"/>
                <a:gd name="T3" fmla="*/ 66 h 133"/>
                <a:gd name="T4" fmla="*/ 266 w 633"/>
                <a:gd name="T5" fmla="*/ 33 h 133"/>
                <a:gd name="T6" fmla="*/ 300 w 633"/>
                <a:gd name="T7" fmla="*/ 66 h 133"/>
                <a:gd name="T8" fmla="*/ 266 w 633"/>
                <a:gd name="T9" fmla="*/ 100 h 133"/>
                <a:gd name="T10" fmla="*/ 166 w 633"/>
                <a:gd name="T11" fmla="*/ 100 h 133"/>
                <a:gd name="T12" fmla="*/ 133 w 633"/>
                <a:gd name="T13" fmla="*/ 66 h 133"/>
                <a:gd name="T14" fmla="*/ 166 w 633"/>
                <a:gd name="T15" fmla="*/ 33 h 133"/>
                <a:gd name="T16" fmla="*/ 200 w 633"/>
                <a:gd name="T17" fmla="*/ 66 h 133"/>
                <a:gd name="T18" fmla="*/ 166 w 633"/>
                <a:gd name="T19" fmla="*/ 100 h 133"/>
                <a:gd name="T20" fmla="*/ 66 w 633"/>
                <a:gd name="T21" fmla="*/ 100 h 133"/>
                <a:gd name="T22" fmla="*/ 33 w 633"/>
                <a:gd name="T23" fmla="*/ 66 h 133"/>
                <a:gd name="T24" fmla="*/ 66 w 633"/>
                <a:gd name="T25" fmla="*/ 33 h 133"/>
                <a:gd name="T26" fmla="*/ 100 w 633"/>
                <a:gd name="T27" fmla="*/ 66 h 133"/>
                <a:gd name="T28" fmla="*/ 66 w 633"/>
                <a:gd name="T29" fmla="*/ 100 h 133"/>
                <a:gd name="T30" fmla="*/ 583 w 633"/>
                <a:gd name="T31" fmla="*/ 0 h 133"/>
                <a:gd name="T32" fmla="*/ 50 w 633"/>
                <a:gd name="T33" fmla="*/ 0 h 133"/>
                <a:gd name="T34" fmla="*/ 0 w 633"/>
                <a:gd name="T35" fmla="*/ 50 h 133"/>
                <a:gd name="T36" fmla="*/ 0 w 633"/>
                <a:gd name="T37" fmla="*/ 133 h 133"/>
                <a:gd name="T38" fmla="*/ 633 w 633"/>
                <a:gd name="T39" fmla="*/ 133 h 133"/>
                <a:gd name="T40" fmla="*/ 633 w 633"/>
                <a:gd name="T41" fmla="*/ 50 h 133"/>
                <a:gd name="T42" fmla="*/ 583 w 633"/>
                <a:gd name="T4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3" h="133">
                  <a:moveTo>
                    <a:pt x="266" y="100"/>
                  </a:moveTo>
                  <a:cubicBezTo>
                    <a:pt x="248" y="100"/>
                    <a:pt x="233" y="85"/>
                    <a:pt x="233" y="66"/>
                  </a:cubicBezTo>
                  <a:cubicBezTo>
                    <a:pt x="233" y="48"/>
                    <a:pt x="248" y="33"/>
                    <a:pt x="266" y="33"/>
                  </a:cubicBezTo>
                  <a:cubicBezTo>
                    <a:pt x="285" y="33"/>
                    <a:pt x="300" y="48"/>
                    <a:pt x="300" y="66"/>
                  </a:cubicBezTo>
                  <a:cubicBezTo>
                    <a:pt x="300" y="85"/>
                    <a:pt x="285" y="100"/>
                    <a:pt x="266" y="100"/>
                  </a:cubicBezTo>
                  <a:close/>
                  <a:moveTo>
                    <a:pt x="166" y="100"/>
                  </a:moveTo>
                  <a:cubicBezTo>
                    <a:pt x="148" y="100"/>
                    <a:pt x="133" y="85"/>
                    <a:pt x="133" y="66"/>
                  </a:cubicBezTo>
                  <a:cubicBezTo>
                    <a:pt x="133" y="48"/>
                    <a:pt x="148" y="33"/>
                    <a:pt x="166" y="33"/>
                  </a:cubicBezTo>
                  <a:cubicBezTo>
                    <a:pt x="185" y="33"/>
                    <a:pt x="200" y="48"/>
                    <a:pt x="200" y="66"/>
                  </a:cubicBezTo>
                  <a:cubicBezTo>
                    <a:pt x="200" y="85"/>
                    <a:pt x="185" y="100"/>
                    <a:pt x="166" y="100"/>
                  </a:cubicBezTo>
                  <a:close/>
                  <a:moveTo>
                    <a:pt x="66" y="100"/>
                  </a:moveTo>
                  <a:cubicBezTo>
                    <a:pt x="48" y="100"/>
                    <a:pt x="33" y="85"/>
                    <a:pt x="33" y="66"/>
                  </a:cubicBezTo>
                  <a:cubicBezTo>
                    <a:pt x="33" y="48"/>
                    <a:pt x="48" y="33"/>
                    <a:pt x="66" y="33"/>
                  </a:cubicBezTo>
                  <a:cubicBezTo>
                    <a:pt x="85" y="33"/>
                    <a:pt x="100" y="48"/>
                    <a:pt x="100" y="66"/>
                  </a:cubicBezTo>
                  <a:cubicBezTo>
                    <a:pt x="100" y="85"/>
                    <a:pt x="85" y="100"/>
                    <a:pt x="66" y="100"/>
                  </a:cubicBezTo>
                  <a:close/>
                  <a:moveTo>
                    <a:pt x="583" y="0"/>
                  </a:moveTo>
                  <a:lnTo>
                    <a:pt x="50" y="0"/>
                  </a:lnTo>
                  <a:cubicBezTo>
                    <a:pt x="22" y="0"/>
                    <a:pt x="0" y="22"/>
                    <a:pt x="0" y="50"/>
                  </a:cubicBezTo>
                  <a:lnTo>
                    <a:pt x="0" y="133"/>
                  </a:lnTo>
                  <a:lnTo>
                    <a:pt x="633" y="133"/>
                  </a:lnTo>
                  <a:lnTo>
                    <a:pt x="633" y="50"/>
                  </a:lnTo>
                  <a:cubicBezTo>
                    <a:pt x="633" y="22"/>
                    <a:pt x="611" y="0"/>
                    <a:pt x="583" y="0"/>
                  </a:cubicBez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grpSp>
      <p:sp>
        <p:nvSpPr>
          <p:cNvPr id="94" name="文本框 93"/>
          <p:cNvSpPr txBox="1"/>
          <p:nvPr/>
        </p:nvSpPr>
        <p:spPr bwMode="auto">
          <a:xfrm>
            <a:off x="9710464" y="2103160"/>
            <a:ext cx="895233"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a:solidFill>
                  <a:srgbClr val="C00000"/>
                </a:solidFill>
                <a:cs typeface="+mn-ea"/>
                <a:sym typeface="+mn-lt"/>
              </a:rPr>
              <a:t>Application</a:t>
            </a:r>
            <a:endParaRPr kumimoji="1" lang="en-US" altLang="zh-CN" sz="1200" b="1" dirty="0" smtClean="0">
              <a:solidFill>
                <a:srgbClr val="C00000"/>
              </a:solidFill>
              <a:cs typeface="+mn-ea"/>
              <a:sym typeface="+mn-lt"/>
            </a:endParaRPr>
          </a:p>
          <a:p>
            <a:pPr algn="ctr" defTabSz="914400" fontAlgn="t">
              <a:spcBef>
                <a:spcPct val="0"/>
              </a:spcBef>
              <a:spcAft>
                <a:spcPct val="0"/>
              </a:spcAft>
            </a:pPr>
            <a:r>
              <a:rPr kumimoji="1" lang="zh-CN" altLang="en-US" sz="1200" b="1" dirty="0">
                <a:solidFill>
                  <a:srgbClr val="C00000"/>
                </a:solidFill>
                <a:cs typeface="+mn-ea"/>
                <a:sym typeface="+mn-lt"/>
              </a:rPr>
              <a:t>应用</a:t>
            </a:r>
            <a:endParaRPr kumimoji="1" lang="zh-CN" altLang="en-US" sz="1200" b="1" dirty="0">
              <a:solidFill>
                <a:srgbClr val="C00000"/>
              </a:solidFill>
              <a:cs typeface="+mn-ea"/>
              <a:sym typeface="+mn-lt"/>
            </a:endParaRPr>
          </a:p>
        </p:txBody>
      </p:sp>
      <p:sp>
        <p:nvSpPr>
          <p:cNvPr id="95" name="文本框 94"/>
          <p:cNvSpPr txBox="1"/>
          <p:nvPr/>
        </p:nvSpPr>
        <p:spPr bwMode="auto">
          <a:xfrm>
            <a:off x="8409134" y="3028785"/>
            <a:ext cx="895233"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smtClean="0">
                <a:solidFill>
                  <a:srgbClr val="C00000"/>
                </a:solidFill>
                <a:cs typeface="+mn-ea"/>
                <a:sym typeface="+mn-lt"/>
              </a:rPr>
              <a:t>Write</a:t>
            </a:r>
            <a:r>
              <a:rPr kumimoji="1" lang="zh-CN" altLang="en-US" sz="1200" b="1" dirty="0" smtClean="0">
                <a:solidFill>
                  <a:srgbClr val="C00000"/>
                </a:solidFill>
                <a:cs typeface="+mn-ea"/>
                <a:sym typeface="+mn-lt"/>
              </a:rPr>
              <a:t>操作</a:t>
            </a:r>
            <a:endParaRPr kumimoji="1" lang="zh-CN" altLang="en-US" sz="1200" b="1" dirty="0">
              <a:solidFill>
                <a:srgbClr val="C00000"/>
              </a:solidFill>
              <a:cs typeface="+mn-ea"/>
              <a:sym typeface="+mn-lt"/>
            </a:endParaRPr>
          </a:p>
        </p:txBody>
      </p:sp>
      <p:cxnSp>
        <p:nvCxnSpPr>
          <p:cNvPr id="96" name="肘形连接符 95"/>
          <p:cNvCxnSpPr/>
          <p:nvPr/>
        </p:nvCxnSpPr>
        <p:spPr bwMode="auto">
          <a:xfrm rot="5400000">
            <a:off x="8394426" y="2555531"/>
            <a:ext cx="1002113" cy="855230"/>
          </a:xfrm>
          <a:prstGeom prst="bentConnector3">
            <a:avLst>
              <a:gd name="adj1" fmla="val 50000"/>
            </a:avLst>
          </a:prstGeom>
          <a:solidFill>
            <a:srgbClr val="CCFF99"/>
          </a:solidFill>
          <a:ln w="19050" cap="flat" cmpd="sng" algn="ctr">
            <a:solidFill>
              <a:srgbClr val="C00000"/>
            </a:solidFill>
            <a:prstDash val="solid"/>
            <a:round/>
            <a:headEnd type="none" w="med" len="med"/>
            <a:tailEnd type="triangle" w="med" len="med"/>
          </a:ln>
          <a:effectLst/>
        </p:spPr>
      </p:cxnSp>
      <p:grpSp>
        <p:nvGrpSpPr>
          <p:cNvPr id="97" name="组合 96"/>
          <p:cNvGrpSpPr/>
          <p:nvPr/>
        </p:nvGrpSpPr>
        <p:grpSpPr>
          <a:xfrm>
            <a:off x="10526579" y="3491519"/>
            <a:ext cx="598866" cy="873585"/>
            <a:chOff x="7063056" y="5194185"/>
            <a:chExt cx="654682" cy="1008824"/>
          </a:xfrm>
        </p:grpSpPr>
        <p:grpSp>
          <p:nvGrpSpPr>
            <p:cNvPr id="98" name="Server"/>
            <p:cNvGrpSpPr>
              <a:grpSpLocks noChangeAspect="1"/>
            </p:cNvGrpSpPr>
            <p:nvPr>
              <p:custDataLst>
                <p:tags r:id="rId6"/>
              </p:custDataLst>
            </p:nvPr>
          </p:nvGrpSpPr>
          <p:grpSpPr>
            <a:xfrm>
              <a:off x="7063056" y="5194185"/>
              <a:ext cx="654682" cy="936104"/>
              <a:chOff x="4754879" y="1097281"/>
              <a:chExt cx="3331031" cy="4762911"/>
            </a:xfrm>
          </p:grpSpPr>
          <p:sp>
            <p:nvSpPr>
              <p:cNvPr id="103"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04"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05"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99" name="Database"/>
            <p:cNvGrpSpPr/>
            <p:nvPr>
              <p:custDataLst>
                <p:tags r:id="rId7"/>
              </p:custDataLst>
            </p:nvPr>
          </p:nvGrpSpPr>
          <p:grpSpPr>
            <a:xfrm>
              <a:off x="7348157" y="5782904"/>
              <a:ext cx="324036" cy="420105"/>
              <a:chOff x="-1607704" y="4375315"/>
              <a:chExt cx="357909" cy="378772"/>
            </a:xfrm>
            <a:solidFill>
              <a:srgbClr val="99CCFF"/>
            </a:solidFill>
          </p:grpSpPr>
          <p:sp>
            <p:nvSpPr>
              <p:cNvPr id="100"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1"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2"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sp>
        <p:nvSpPr>
          <p:cNvPr id="106" name="右箭头 105"/>
          <p:cNvSpPr/>
          <p:nvPr/>
        </p:nvSpPr>
        <p:spPr bwMode="auto">
          <a:xfrm>
            <a:off x="8921722" y="3902797"/>
            <a:ext cx="512320" cy="180962"/>
          </a:xfrm>
          <a:prstGeom prst="rightArrow">
            <a:avLst/>
          </a:prstGeom>
          <a:solidFill>
            <a:srgbClr val="99CCFF"/>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cs typeface="+mn-ea"/>
              <a:sym typeface="+mn-lt"/>
            </a:endParaRPr>
          </a:p>
        </p:txBody>
      </p:sp>
      <p:cxnSp>
        <p:nvCxnSpPr>
          <p:cNvPr id="107" name="肘形连接符 106"/>
          <p:cNvCxnSpPr>
            <a:stCxn id="55" idx="0"/>
          </p:cNvCxnSpPr>
          <p:nvPr/>
        </p:nvCxnSpPr>
        <p:spPr bwMode="auto">
          <a:xfrm rot="16200000" flipV="1">
            <a:off x="9730513" y="2684895"/>
            <a:ext cx="391746" cy="954512"/>
          </a:xfrm>
          <a:prstGeom prst="bentConnector2">
            <a:avLst/>
          </a:prstGeom>
          <a:solidFill>
            <a:srgbClr val="CCFF99"/>
          </a:solidFill>
          <a:ln w="19050" cap="flat" cmpd="sng" algn="ctr">
            <a:solidFill>
              <a:srgbClr val="C00000"/>
            </a:solidFill>
            <a:prstDash val="solid"/>
            <a:round/>
            <a:headEnd type="none" w="med" len="med"/>
            <a:tailEnd type="none" w="med" len="med"/>
          </a:ln>
          <a:effectLst/>
        </p:spPr>
      </p:cxnSp>
      <p:cxnSp>
        <p:nvCxnSpPr>
          <p:cNvPr id="108" name="直接箭头连接符 107"/>
          <p:cNvCxnSpPr/>
          <p:nvPr/>
        </p:nvCxnSpPr>
        <p:spPr bwMode="auto">
          <a:xfrm flipV="1">
            <a:off x="9467453" y="2480165"/>
            <a:ext cx="0" cy="480783"/>
          </a:xfrm>
          <a:prstGeom prst="straightConnector1">
            <a:avLst/>
          </a:prstGeom>
          <a:solidFill>
            <a:srgbClr val="CCFF99"/>
          </a:solidFill>
          <a:ln w="19050" cap="flat" cmpd="sng" algn="ctr">
            <a:solidFill>
              <a:srgbClr val="C00000"/>
            </a:solidFill>
            <a:prstDash val="solid"/>
            <a:round/>
            <a:headEnd type="none" w="med" len="med"/>
            <a:tailEnd type="triangle" w="med" len="med"/>
          </a:ln>
          <a:effectLst/>
        </p:spPr>
      </p:cxnSp>
      <p:sp>
        <p:nvSpPr>
          <p:cNvPr id="109" name="文本框 108"/>
          <p:cNvSpPr txBox="1"/>
          <p:nvPr/>
        </p:nvSpPr>
        <p:spPr bwMode="auto">
          <a:xfrm>
            <a:off x="10433281" y="2995391"/>
            <a:ext cx="895233"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a:solidFill>
                  <a:srgbClr val="C00000"/>
                </a:solidFill>
                <a:cs typeface="+mn-ea"/>
                <a:sym typeface="+mn-lt"/>
              </a:rPr>
              <a:t>Read</a:t>
            </a:r>
            <a:r>
              <a:rPr kumimoji="1" lang="zh-CN" altLang="en-US" sz="1200" b="1" dirty="0" smtClean="0">
                <a:solidFill>
                  <a:srgbClr val="C00000"/>
                </a:solidFill>
                <a:cs typeface="+mn-ea"/>
                <a:sym typeface="+mn-lt"/>
              </a:rPr>
              <a:t>操作</a:t>
            </a:r>
            <a:endParaRPr kumimoji="1" lang="zh-CN" altLang="en-US" sz="1200" b="1" dirty="0">
              <a:solidFill>
                <a:srgbClr val="C00000"/>
              </a:solidFill>
              <a:cs typeface="+mn-ea"/>
              <a:sym typeface="+mn-lt"/>
            </a:endParaRPr>
          </a:p>
        </p:txBody>
      </p:sp>
      <p:sp>
        <p:nvSpPr>
          <p:cNvPr id="110" name="文本框 109"/>
          <p:cNvSpPr txBox="1"/>
          <p:nvPr/>
        </p:nvSpPr>
        <p:spPr bwMode="auto">
          <a:xfrm>
            <a:off x="8733528" y="5258544"/>
            <a:ext cx="1808390" cy="246221"/>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600" b="1" dirty="0" smtClean="0">
                <a:solidFill>
                  <a:srgbClr val="000000"/>
                </a:solidFill>
                <a:cs typeface="+mn-ea"/>
                <a:sym typeface="+mn-lt"/>
              </a:rPr>
              <a:t>场景：一主多从</a:t>
            </a:r>
            <a:endParaRPr kumimoji="1" lang="zh-CN" altLang="en-US" sz="1600" b="1" dirty="0">
              <a:solidFill>
                <a:srgbClr val="000000"/>
              </a:solidFill>
              <a:cs typeface="+mn-ea"/>
              <a:sym typeface="+mn-lt"/>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分组架构 </a:t>
            </a:r>
            <a:r>
              <a:rPr lang="en-US" altLang="zh-CN" dirty="0">
                <a:latin typeface="+mn-lt"/>
                <a:ea typeface="+mn-ea"/>
                <a:cs typeface="+mn-ea"/>
                <a:sym typeface="+mn-lt"/>
              </a:rPr>
              <a:t>-</a:t>
            </a:r>
            <a:r>
              <a:rPr lang="en-US" altLang="zh-CN" dirty="0" smtClean="0">
                <a:latin typeface="+mn-lt"/>
                <a:ea typeface="+mn-ea"/>
                <a:cs typeface="+mn-ea"/>
                <a:sym typeface="+mn-lt"/>
              </a:rPr>
              <a:t> </a:t>
            </a:r>
            <a:r>
              <a:rPr lang="zh-CN" altLang="en-US" dirty="0">
                <a:latin typeface="+mn-lt"/>
                <a:ea typeface="+mn-ea"/>
                <a:cs typeface="+mn-ea"/>
                <a:sym typeface="+mn-lt"/>
              </a:rPr>
              <a:t>多主</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7811413" cy="4680000"/>
          </a:xfrm>
        </p:spPr>
        <p:txBody>
          <a:bodyPr>
            <a:normAutofit/>
          </a:bodyPr>
          <a:lstStyle/>
          <a:p>
            <a:r>
              <a:rPr lang="zh-CN" altLang="en-US" sz="2000" dirty="0" smtClean="0">
                <a:latin typeface="+mn-lt"/>
                <a:ea typeface="+mn-ea"/>
                <a:cs typeface="+mn-ea"/>
                <a:sym typeface="+mn-lt"/>
              </a:rPr>
              <a:t>多主架构</a:t>
            </a:r>
            <a:endParaRPr lang="en-US" altLang="zh-CN" sz="2000" dirty="0">
              <a:latin typeface="+mn-lt"/>
              <a:ea typeface="+mn-ea"/>
              <a:cs typeface="+mn-ea"/>
              <a:sym typeface="+mn-lt"/>
            </a:endParaRPr>
          </a:p>
          <a:p>
            <a:pPr lvl="1"/>
            <a:r>
              <a:rPr lang="zh-CN" altLang="en-US" sz="1600" dirty="0" smtClean="0">
                <a:latin typeface="+mn-lt"/>
                <a:ea typeface="+mn-ea"/>
                <a:cs typeface="+mn-ea"/>
                <a:sym typeface="+mn-lt"/>
              </a:rPr>
              <a:t>数据库服务器互为主从，同时对外提供完整的数据服务。</a:t>
            </a:r>
            <a:endParaRPr lang="en-US" altLang="zh-CN" sz="1600" dirty="0">
              <a:latin typeface="+mn-lt"/>
              <a:ea typeface="+mn-ea"/>
              <a:cs typeface="+mn-ea"/>
              <a:sym typeface="+mn-lt"/>
            </a:endParaRPr>
          </a:p>
          <a:p>
            <a:r>
              <a:rPr lang="zh-CN" altLang="en-US" sz="1800" dirty="0" smtClean="0">
                <a:latin typeface="+mn-lt"/>
                <a:ea typeface="+mn-ea"/>
                <a:cs typeface="+mn-ea"/>
                <a:sym typeface="+mn-lt"/>
              </a:rPr>
              <a:t>优点</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资源利用率较高的同时降低了单点故障的风险。</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缺点</a:t>
            </a:r>
            <a:endParaRPr lang="en-US" altLang="zh-CN" sz="1800" dirty="0">
              <a:latin typeface="+mn-lt"/>
              <a:ea typeface="+mn-ea"/>
              <a:cs typeface="+mn-ea"/>
              <a:sym typeface="+mn-lt"/>
            </a:endParaRPr>
          </a:p>
          <a:p>
            <a:pPr lvl="1"/>
            <a:r>
              <a:rPr lang="zh-CN" altLang="en-US" sz="1600" dirty="0" smtClean="0">
                <a:latin typeface="+mn-lt"/>
                <a:ea typeface="+mn-ea"/>
                <a:cs typeface="+mn-ea"/>
                <a:sym typeface="+mn-lt"/>
              </a:rPr>
              <a:t>双主机都接受写数据，要实现数据双向同步。双向复制同样会带来延迟问题，极端情况下有可能数据丢失。</a:t>
            </a:r>
            <a:endParaRPr lang="en-US" altLang="zh-CN" sz="1600" dirty="0">
              <a:latin typeface="+mn-lt"/>
              <a:ea typeface="+mn-ea"/>
              <a:cs typeface="+mn-ea"/>
              <a:sym typeface="+mn-lt"/>
            </a:endParaRPr>
          </a:p>
          <a:p>
            <a:pPr lvl="1"/>
            <a:r>
              <a:rPr lang="zh-CN" altLang="en-US" sz="1600" dirty="0" smtClean="0">
                <a:latin typeface="+mn-lt"/>
                <a:ea typeface="+mn-ea"/>
                <a:cs typeface="+mn-ea"/>
                <a:sym typeface="+mn-lt"/>
              </a:rPr>
              <a:t>数据库数量增加会导致数据同步问题变得极为复杂，实际应用中多见双机模式。</a:t>
            </a:r>
            <a:endParaRPr lang="en-US" altLang="zh-CN" sz="1600" dirty="0">
              <a:latin typeface="+mn-lt"/>
              <a:ea typeface="+mn-ea"/>
              <a:cs typeface="+mn-ea"/>
              <a:sym typeface="+mn-lt"/>
            </a:endParaRPr>
          </a:p>
        </p:txBody>
      </p:sp>
      <p:sp>
        <p:nvSpPr>
          <p:cNvPr id="34" name="文本框 33"/>
          <p:cNvSpPr txBox="1"/>
          <p:nvPr/>
        </p:nvSpPr>
        <p:spPr bwMode="auto">
          <a:xfrm>
            <a:off x="8403637" y="4473116"/>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主</a:t>
            </a:r>
            <a:r>
              <a:rPr kumimoji="1" lang="en-US" altLang="zh-CN" sz="1200" b="1" dirty="0" smtClean="0">
                <a:solidFill>
                  <a:srgbClr val="000000"/>
                </a:solidFill>
                <a:cs typeface="+mn-ea"/>
                <a:sym typeface="+mn-lt"/>
              </a:rPr>
              <a:t>/</a:t>
            </a:r>
            <a:r>
              <a:rPr kumimoji="1" lang="zh-CN" altLang="en-US" sz="1200" b="1" dirty="0" smtClean="0">
                <a:solidFill>
                  <a:srgbClr val="000000"/>
                </a:solidFill>
                <a:cs typeface="+mn-ea"/>
                <a:sym typeface="+mn-lt"/>
              </a:rPr>
              <a:t>从</a:t>
            </a:r>
            <a:endParaRPr kumimoji="1" lang="en-US" altLang="zh-CN" sz="1200" b="1" dirty="0" smtClean="0">
              <a:solidFill>
                <a:srgbClr val="000000"/>
              </a:solidFill>
              <a:cs typeface="+mn-ea"/>
              <a:sym typeface="+mn-lt"/>
            </a:endParaRPr>
          </a:p>
        </p:txBody>
      </p:sp>
      <p:sp>
        <p:nvSpPr>
          <p:cNvPr id="55" name="文本框 54"/>
          <p:cNvSpPr txBox="1"/>
          <p:nvPr/>
        </p:nvSpPr>
        <p:spPr bwMode="auto">
          <a:xfrm>
            <a:off x="10206236" y="4473116"/>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主</a:t>
            </a:r>
            <a:r>
              <a:rPr kumimoji="1" lang="en-US" altLang="zh-CN" sz="1200" b="1" dirty="0" smtClean="0">
                <a:solidFill>
                  <a:srgbClr val="000000"/>
                </a:solidFill>
                <a:cs typeface="+mn-ea"/>
                <a:sym typeface="+mn-lt"/>
              </a:rPr>
              <a:t>/</a:t>
            </a:r>
            <a:r>
              <a:rPr kumimoji="1" lang="zh-CN" altLang="en-US" sz="1200" b="1" dirty="0" smtClean="0">
                <a:solidFill>
                  <a:srgbClr val="000000"/>
                </a:solidFill>
                <a:cs typeface="+mn-ea"/>
                <a:sym typeface="+mn-lt"/>
              </a:rPr>
              <a:t>从</a:t>
            </a:r>
            <a:endParaRPr kumimoji="1" lang="en-US" altLang="zh-CN" sz="1200" b="1" dirty="0" smtClean="0">
              <a:solidFill>
                <a:srgbClr val="000000"/>
              </a:solidFill>
              <a:cs typeface="+mn-ea"/>
              <a:sym typeface="+mn-lt"/>
            </a:endParaRPr>
          </a:p>
        </p:txBody>
      </p:sp>
      <p:sp>
        <p:nvSpPr>
          <p:cNvPr id="56" name="文本框 55"/>
          <p:cNvSpPr txBox="1"/>
          <p:nvPr/>
        </p:nvSpPr>
        <p:spPr bwMode="auto">
          <a:xfrm>
            <a:off x="9337362" y="4003010"/>
            <a:ext cx="840030"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6699"/>
                </a:solidFill>
                <a:cs typeface="+mn-ea"/>
                <a:sym typeface="+mn-lt"/>
              </a:rPr>
              <a:t>主从复制</a:t>
            </a:r>
            <a:endParaRPr kumimoji="1" lang="zh-CN" altLang="en-US" sz="1200" b="1" dirty="0">
              <a:solidFill>
                <a:srgbClr val="006699"/>
              </a:solidFill>
              <a:cs typeface="+mn-ea"/>
              <a:sym typeface="+mn-lt"/>
            </a:endParaRPr>
          </a:p>
        </p:txBody>
      </p:sp>
      <p:grpSp>
        <p:nvGrpSpPr>
          <p:cNvPr id="57" name="组合 56"/>
          <p:cNvGrpSpPr/>
          <p:nvPr/>
        </p:nvGrpSpPr>
        <p:grpSpPr>
          <a:xfrm>
            <a:off x="8505187" y="3492469"/>
            <a:ext cx="598866" cy="873585"/>
            <a:chOff x="7063056" y="5194185"/>
            <a:chExt cx="654682" cy="1008824"/>
          </a:xfrm>
        </p:grpSpPr>
        <p:grpSp>
          <p:nvGrpSpPr>
            <p:cNvPr id="58" name="Server"/>
            <p:cNvGrpSpPr>
              <a:grpSpLocks noChangeAspect="1"/>
            </p:cNvGrpSpPr>
            <p:nvPr>
              <p:custDataLst>
                <p:tags r:id="rId1"/>
              </p:custDataLst>
            </p:nvPr>
          </p:nvGrpSpPr>
          <p:grpSpPr>
            <a:xfrm>
              <a:off x="7063056" y="5194185"/>
              <a:ext cx="654682" cy="936104"/>
              <a:chOff x="4754879" y="1097281"/>
              <a:chExt cx="3331031" cy="4762911"/>
            </a:xfrm>
          </p:grpSpPr>
          <p:sp>
            <p:nvSpPr>
              <p:cNvPr id="65"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66"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67"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59" name="Database"/>
            <p:cNvGrpSpPr/>
            <p:nvPr>
              <p:custDataLst>
                <p:tags r:id="rId2"/>
              </p:custDataLst>
            </p:nvPr>
          </p:nvGrpSpPr>
          <p:grpSpPr>
            <a:xfrm>
              <a:off x="7348157" y="5782904"/>
              <a:ext cx="324036" cy="420105"/>
              <a:chOff x="-1607704" y="4375315"/>
              <a:chExt cx="357909" cy="378772"/>
            </a:xfrm>
            <a:solidFill>
              <a:srgbClr val="99CCFF"/>
            </a:solidFill>
          </p:grpSpPr>
          <p:sp>
            <p:nvSpPr>
              <p:cNvPr id="60"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62"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63"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nvGrpSpPr>
          <p:cNvPr id="68" name="组合 67"/>
          <p:cNvGrpSpPr/>
          <p:nvPr/>
        </p:nvGrpSpPr>
        <p:grpSpPr>
          <a:xfrm>
            <a:off x="10307786" y="3427688"/>
            <a:ext cx="598866" cy="873585"/>
            <a:chOff x="7063056" y="5194185"/>
            <a:chExt cx="654682" cy="1008824"/>
          </a:xfrm>
        </p:grpSpPr>
        <p:grpSp>
          <p:nvGrpSpPr>
            <p:cNvPr id="69" name="Server"/>
            <p:cNvGrpSpPr>
              <a:grpSpLocks noChangeAspect="1"/>
            </p:cNvGrpSpPr>
            <p:nvPr>
              <p:custDataLst>
                <p:tags r:id="rId3"/>
              </p:custDataLst>
            </p:nvPr>
          </p:nvGrpSpPr>
          <p:grpSpPr>
            <a:xfrm>
              <a:off x="7063056" y="5194185"/>
              <a:ext cx="654682" cy="936104"/>
              <a:chOff x="4754879" y="1097281"/>
              <a:chExt cx="3331031" cy="4762911"/>
            </a:xfrm>
          </p:grpSpPr>
          <p:sp>
            <p:nvSpPr>
              <p:cNvPr id="74"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5"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7"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70" name="Database"/>
            <p:cNvGrpSpPr/>
            <p:nvPr>
              <p:custDataLst>
                <p:tags r:id="rId4"/>
              </p:custDataLst>
            </p:nvPr>
          </p:nvGrpSpPr>
          <p:grpSpPr>
            <a:xfrm>
              <a:off x="7348157" y="5782904"/>
              <a:ext cx="324036" cy="420105"/>
              <a:chOff x="-1607704" y="4375315"/>
              <a:chExt cx="357909" cy="378772"/>
            </a:xfrm>
            <a:solidFill>
              <a:srgbClr val="99CCFF"/>
            </a:solidFill>
          </p:grpSpPr>
          <p:sp>
            <p:nvSpPr>
              <p:cNvPr id="71"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72"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73"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nvGrpSpPr>
          <p:cNvPr id="78" name="Browser"/>
          <p:cNvGrpSpPr>
            <a:grpSpLocks noChangeAspect="1"/>
          </p:cNvGrpSpPr>
          <p:nvPr>
            <p:custDataLst>
              <p:tags r:id="rId5"/>
            </p:custDataLst>
          </p:nvPr>
        </p:nvGrpSpPr>
        <p:grpSpPr bwMode="auto">
          <a:xfrm>
            <a:off x="9478837" y="2045006"/>
            <a:ext cx="459841" cy="436785"/>
            <a:chOff x="2545" y="863"/>
            <a:chExt cx="2513" cy="2387"/>
          </a:xfrm>
          <a:solidFill>
            <a:srgbClr val="C00000"/>
          </a:solidFill>
          <a:effectLst>
            <a:outerShdw blurRad="50800" dist="38100" dir="2700000" algn="tl" rotWithShape="0">
              <a:prstClr val="black">
                <a:alpha val="40000"/>
              </a:prstClr>
            </a:outerShdw>
          </a:effectLst>
        </p:grpSpPr>
        <p:sp>
          <p:nvSpPr>
            <p:cNvPr id="79" name="Freeform 150"/>
            <p:cNvSpPr>
              <a:spLocks noEditPoints="1"/>
            </p:cNvSpPr>
            <p:nvPr/>
          </p:nvSpPr>
          <p:spPr bwMode="auto">
            <a:xfrm>
              <a:off x="2545" y="1523"/>
              <a:ext cx="2513" cy="1727"/>
            </a:xfrm>
            <a:custGeom>
              <a:avLst/>
              <a:gdLst>
                <a:gd name="T0" fmla="*/ 50 w 633"/>
                <a:gd name="T1" fmla="*/ 84 h 434"/>
                <a:gd name="T2" fmla="*/ 250 w 633"/>
                <a:gd name="T3" fmla="*/ 84 h 434"/>
                <a:gd name="T4" fmla="*/ 250 w 633"/>
                <a:gd name="T5" fmla="*/ 384 h 434"/>
                <a:gd name="T6" fmla="*/ 50 w 633"/>
                <a:gd name="T7" fmla="*/ 384 h 434"/>
                <a:gd name="T8" fmla="*/ 50 w 633"/>
                <a:gd name="T9" fmla="*/ 84 h 434"/>
                <a:gd name="T10" fmla="*/ 316 w 633"/>
                <a:gd name="T11" fmla="*/ 350 h 434"/>
                <a:gd name="T12" fmla="*/ 583 w 633"/>
                <a:gd name="T13" fmla="*/ 350 h 434"/>
                <a:gd name="T14" fmla="*/ 583 w 633"/>
                <a:gd name="T15" fmla="*/ 384 h 434"/>
                <a:gd name="T16" fmla="*/ 316 w 633"/>
                <a:gd name="T17" fmla="*/ 384 h 434"/>
                <a:gd name="T18" fmla="*/ 316 w 633"/>
                <a:gd name="T19" fmla="*/ 350 h 434"/>
                <a:gd name="T20" fmla="*/ 316 w 633"/>
                <a:gd name="T21" fmla="*/ 284 h 434"/>
                <a:gd name="T22" fmla="*/ 583 w 633"/>
                <a:gd name="T23" fmla="*/ 284 h 434"/>
                <a:gd name="T24" fmla="*/ 583 w 633"/>
                <a:gd name="T25" fmla="*/ 317 h 434"/>
                <a:gd name="T26" fmla="*/ 316 w 633"/>
                <a:gd name="T27" fmla="*/ 317 h 434"/>
                <a:gd name="T28" fmla="*/ 316 w 633"/>
                <a:gd name="T29" fmla="*/ 284 h 434"/>
                <a:gd name="T30" fmla="*/ 316 w 633"/>
                <a:gd name="T31" fmla="*/ 217 h 434"/>
                <a:gd name="T32" fmla="*/ 583 w 633"/>
                <a:gd name="T33" fmla="*/ 217 h 434"/>
                <a:gd name="T34" fmla="*/ 583 w 633"/>
                <a:gd name="T35" fmla="*/ 250 h 434"/>
                <a:gd name="T36" fmla="*/ 316 w 633"/>
                <a:gd name="T37" fmla="*/ 250 h 434"/>
                <a:gd name="T38" fmla="*/ 316 w 633"/>
                <a:gd name="T39" fmla="*/ 217 h 434"/>
                <a:gd name="T40" fmla="*/ 316 w 633"/>
                <a:gd name="T41" fmla="*/ 150 h 434"/>
                <a:gd name="T42" fmla="*/ 583 w 633"/>
                <a:gd name="T43" fmla="*/ 150 h 434"/>
                <a:gd name="T44" fmla="*/ 583 w 633"/>
                <a:gd name="T45" fmla="*/ 184 h 434"/>
                <a:gd name="T46" fmla="*/ 316 w 633"/>
                <a:gd name="T47" fmla="*/ 184 h 434"/>
                <a:gd name="T48" fmla="*/ 316 w 633"/>
                <a:gd name="T49" fmla="*/ 150 h 434"/>
                <a:gd name="T50" fmla="*/ 316 w 633"/>
                <a:gd name="T51" fmla="*/ 84 h 434"/>
                <a:gd name="T52" fmla="*/ 583 w 633"/>
                <a:gd name="T53" fmla="*/ 84 h 434"/>
                <a:gd name="T54" fmla="*/ 583 w 633"/>
                <a:gd name="T55" fmla="*/ 117 h 434"/>
                <a:gd name="T56" fmla="*/ 316 w 633"/>
                <a:gd name="T57" fmla="*/ 117 h 434"/>
                <a:gd name="T58" fmla="*/ 316 w 633"/>
                <a:gd name="T59" fmla="*/ 84 h 434"/>
                <a:gd name="T60" fmla="*/ 0 w 633"/>
                <a:gd name="T61" fmla="*/ 384 h 434"/>
                <a:gd name="T62" fmla="*/ 50 w 633"/>
                <a:gd name="T63" fmla="*/ 434 h 434"/>
                <a:gd name="T64" fmla="*/ 583 w 633"/>
                <a:gd name="T65" fmla="*/ 434 h 434"/>
                <a:gd name="T66" fmla="*/ 633 w 633"/>
                <a:gd name="T67" fmla="*/ 384 h 434"/>
                <a:gd name="T68" fmla="*/ 633 w 633"/>
                <a:gd name="T69" fmla="*/ 0 h 434"/>
                <a:gd name="T70" fmla="*/ 0 w 633"/>
                <a:gd name="T71" fmla="*/ 0 h 434"/>
                <a:gd name="T72" fmla="*/ 0 w 633"/>
                <a:gd name="T73" fmla="*/ 38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3" h="434">
                  <a:moveTo>
                    <a:pt x="50" y="84"/>
                  </a:moveTo>
                  <a:lnTo>
                    <a:pt x="250" y="84"/>
                  </a:lnTo>
                  <a:lnTo>
                    <a:pt x="250" y="384"/>
                  </a:lnTo>
                  <a:lnTo>
                    <a:pt x="50" y="384"/>
                  </a:lnTo>
                  <a:lnTo>
                    <a:pt x="50" y="84"/>
                  </a:lnTo>
                  <a:close/>
                  <a:moveTo>
                    <a:pt x="316" y="350"/>
                  </a:moveTo>
                  <a:lnTo>
                    <a:pt x="583" y="350"/>
                  </a:lnTo>
                  <a:lnTo>
                    <a:pt x="583" y="384"/>
                  </a:lnTo>
                  <a:lnTo>
                    <a:pt x="316" y="384"/>
                  </a:lnTo>
                  <a:lnTo>
                    <a:pt x="316" y="350"/>
                  </a:lnTo>
                  <a:close/>
                  <a:moveTo>
                    <a:pt x="316" y="284"/>
                  </a:moveTo>
                  <a:lnTo>
                    <a:pt x="583" y="284"/>
                  </a:lnTo>
                  <a:lnTo>
                    <a:pt x="583" y="317"/>
                  </a:lnTo>
                  <a:lnTo>
                    <a:pt x="316" y="317"/>
                  </a:lnTo>
                  <a:lnTo>
                    <a:pt x="316" y="284"/>
                  </a:lnTo>
                  <a:close/>
                  <a:moveTo>
                    <a:pt x="316" y="217"/>
                  </a:moveTo>
                  <a:lnTo>
                    <a:pt x="583" y="217"/>
                  </a:lnTo>
                  <a:lnTo>
                    <a:pt x="583" y="250"/>
                  </a:lnTo>
                  <a:lnTo>
                    <a:pt x="316" y="250"/>
                  </a:lnTo>
                  <a:lnTo>
                    <a:pt x="316" y="217"/>
                  </a:lnTo>
                  <a:close/>
                  <a:moveTo>
                    <a:pt x="316" y="150"/>
                  </a:moveTo>
                  <a:lnTo>
                    <a:pt x="583" y="150"/>
                  </a:lnTo>
                  <a:lnTo>
                    <a:pt x="583" y="184"/>
                  </a:lnTo>
                  <a:lnTo>
                    <a:pt x="316" y="184"/>
                  </a:lnTo>
                  <a:lnTo>
                    <a:pt x="316" y="150"/>
                  </a:lnTo>
                  <a:close/>
                  <a:moveTo>
                    <a:pt x="316" y="84"/>
                  </a:moveTo>
                  <a:lnTo>
                    <a:pt x="583" y="84"/>
                  </a:lnTo>
                  <a:lnTo>
                    <a:pt x="583" y="117"/>
                  </a:lnTo>
                  <a:lnTo>
                    <a:pt x="316" y="117"/>
                  </a:lnTo>
                  <a:lnTo>
                    <a:pt x="316" y="84"/>
                  </a:lnTo>
                  <a:close/>
                  <a:moveTo>
                    <a:pt x="0" y="384"/>
                  </a:moveTo>
                  <a:cubicBezTo>
                    <a:pt x="0" y="411"/>
                    <a:pt x="22" y="434"/>
                    <a:pt x="50" y="434"/>
                  </a:cubicBezTo>
                  <a:lnTo>
                    <a:pt x="583" y="434"/>
                  </a:lnTo>
                  <a:cubicBezTo>
                    <a:pt x="611" y="434"/>
                    <a:pt x="633" y="411"/>
                    <a:pt x="633" y="384"/>
                  </a:cubicBezTo>
                  <a:lnTo>
                    <a:pt x="633" y="0"/>
                  </a:lnTo>
                  <a:lnTo>
                    <a:pt x="0" y="0"/>
                  </a:lnTo>
                  <a:lnTo>
                    <a:pt x="0" y="384"/>
                  </a:ln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80" name="Freeform 151"/>
            <p:cNvSpPr>
              <a:spLocks noEditPoints="1"/>
            </p:cNvSpPr>
            <p:nvPr/>
          </p:nvSpPr>
          <p:spPr bwMode="auto">
            <a:xfrm>
              <a:off x="2545" y="863"/>
              <a:ext cx="2513" cy="529"/>
            </a:xfrm>
            <a:custGeom>
              <a:avLst/>
              <a:gdLst>
                <a:gd name="T0" fmla="*/ 266 w 633"/>
                <a:gd name="T1" fmla="*/ 100 h 133"/>
                <a:gd name="T2" fmla="*/ 233 w 633"/>
                <a:gd name="T3" fmla="*/ 66 h 133"/>
                <a:gd name="T4" fmla="*/ 266 w 633"/>
                <a:gd name="T5" fmla="*/ 33 h 133"/>
                <a:gd name="T6" fmla="*/ 300 w 633"/>
                <a:gd name="T7" fmla="*/ 66 h 133"/>
                <a:gd name="T8" fmla="*/ 266 w 633"/>
                <a:gd name="T9" fmla="*/ 100 h 133"/>
                <a:gd name="T10" fmla="*/ 166 w 633"/>
                <a:gd name="T11" fmla="*/ 100 h 133"/>
                <a:gd name="T12" fmla="*/ 133 w 633"/>
                <a:gd name="T13" fmla="*/ 66 h 133"/>
                <a:gd name="T14" fmla="*/ 166 w 633"/>
                <a:gd name="T15" fmla="*/ 33 h 133"/>
                <a:gd name="T16" fmla="*/ 200 w 633"/>
                <a:gd name="T17" fmla="*/ 66 h 133"/>
                <a:gd name="T18" fmla="*/ 166 w 633"/>
                <a:gd name="T19" fmla="*/ 100 h 133"/>
                <a:gd name="T20" fmla="*/ 66 w 633"/>
                <a:gd name="T21" fmla="*/ 100 h 133"/>
                <a:gd name="T22" fmla="*/ 33 w 633"/>
                <a:gd name="T23" fmla="*/ 66 h 133"/>
                <a:gd name="T24" fmla="*/ 66 w 633"/>
                <a:gd name="T25" fmla="*/ 33 h 133"/>
                <a:gd name="T26" fmla="*/ 100 w 633"/>
                <a:gd name="T27" fmla="*/ 66 h 133"/>
                <a:gd name="T28" fmla="*/ 66 w 633"/>
                <a:gd name="T29" fmla="*/ 100 h 133"/>
                <a:gd name="T30" fmla="*/ 583 w 633"/>
                <a:gd name="T31" fmla="*/ 0 h 133"/>
                <a:gd name="T32" fmla="*/ 50 w 633"/>
                <a:gd name="T33" fmla="*/ 0 h 133"/>
                <a:gd name="T34" fmla="*/ 0 w 633"/>
                <a:gd name="T35" fmla="*/ 50 h 133"/>
                <a:gd name="T36" fmla="*/ 0 w 633"/>
                <a:gd name="T37" fmla="*/ 133 h 133"/>
                <a:gd name="T38" fmla="*/ 633 w 633"/>
                <a:gd name="T39" fmla="*/ 133 h 133"/>
                <a:gd name="T40" fmla="*/ 633 w 633"/>
                <a:gd name="T41" fmla="*/ 50 h 133"/>
                <a:gd name="T42" fmla="*/ 583 w 633"/>
                <a:gd name="T4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3" h="133">
                  <a:moveTo>
                    <a:pt x="266" y="100"/>
                  </a:moveTo>
                  <a:cubicBezTo>
                    <a:pt x="248" y="100"/>
                    <a:pt x="233" y="85"/>
                    <a:pt x="233" y="66"/>
                  </a:cubicBezTo>
                  <a:cubicBezTo>
                    <a:pt x="233" y="48"/>
                    <a:pt x="248" y="33"/>
                    <a:pt x="266" y="33"/>
                  </a:cubicBezTo>
                  <a:cubicBezTo>
                    <a:pt x="285" y="33"/>
                    <a:pt x="300" y="48"/>
                    <a:pt x="300" y="66"/>
                  </a:cubicBezTo>
                  <a:cubicBezTo>
                    <a:pt x="300" y="85"/>
                    <a:pt x="285" y="100"/>
                    <a:pt x="266" y="100"/>
                  </a:cubicBezTo>
                  <a:close/>
                  <a:moveTo>
                    <a:pt x="166" y="100"/>
                  </a:moveTo>
                  <a:cubicBezTo>
                    <a:pt x="148" y="100"/>
                    <a:pt x="133" y="85"/>
                    <a:pt x="133" y="66"/>
                  </a:cubicBezTo>
                  <a:cubicBezTo>
                    <a:pt x="133" y="48"/>
                    <a:pt x="148" y="33"/>
                    <a:pt x="166" y="33"/>
                  </a:cubicBezTo>
                  <a:cubicBezTo>
                    <a:pt x="185" y="33"/>
                    <a:pt x="200" y="48"/>
                    <a:pt x="200" y="66"/>
                  </a:cubicBezTo>
                  <a:cubicBezTo>
                    <a:pt x="200" y="85"/>
                    <a:pt x="185" y="100"/>
                    <a:pt x="166" y="100"/>
                  </a:cubicBezTo>
                  <a:close/>
                  <a:moveTo>
                    <a:pt x="66" y="100"/>
                  </a:moveTo>
                  <a:cubicBezTo>
                    <a:pt x="48" y="100"/>
                    <a:pt x="33" y="85"/>
                    <a:pt x="33" y="66"/>
                  </a:cubicBezTo>
                  <a:cubicBezTo>
                    <a:pt x="33" y="48"/>
                    <a:pt x="48" y="33"/>
                    <a:pt x="66" y="33"/>
                  </a:cubicBezTo>
                  <a:cubicBezTo>
                    <a:pt x="85" y="33"/>
                    <a:pt x="100" y="48"/>
                    <a:pt x="100" y="66"/>
                  </a:cubicBezTo>
                  <a:cubicBezTo>
                    <a:pt x="100" y="85"/>
                    <a:pt x="85" y="100"/>
                    <a:pt x="66" y="100"/>
                  </a:cubicBezTo>
                  <a:close/>
                  <a:moveTo>
                    <a:pt x="583" y="0"/>
                  </a:moveTo>
                  <a:lnTo>
                    <a:pt x="50" y="0"/>
                  </a:lnTo>
                  <a:cubicBezTo>
                    <a:pt x="22" y="0"/>
                    <a:pt x="0" y="22"/>
                    <a:pt x="0" y="50"/>
                  </a:cubicBezTo>
                  <a:lnTo>
                    <a:pt x="0" y="133"/>
                  </a:lnTo>
                  <a:lnTo>
                    <a:pt x="633" y="133"/>
                  </a:lnTo>
                  <a:lnTo>
                    <a:pt x="633" y="50"/>
                  </a:lnTo>
                  <a:cubicBezTo>
                    <a:pt x="633" y="22"/>
                    <a:pt x="611" y="0"/>
                    <a:pt x="583" y="0"/>
                  </a:cubicBez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grpSp>
      <p:sp>
        <p:nvSpPr>
          <p:cNvPr id="81" name="文本框 80"/>
          <p:cNvSpPr txBox="1"/>
          <p:nvPr/>
        </p:nvSpPr>
        <p:spPr bwMode="auto">
          <a:xfrm>
            <a:off x="10011419" y="2103160"/>
            <a:ext cx="895233"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a:solidFill>
                  <a:srgbClr val="C00000"/>
                </a:solidFill>
                <a:cs typeface="+mn-ea"/>
                <a:sym typeface="+mn-lt"/>
              </a:rPr>
              <a:t>Application</a:t>
            </a:r>
            <a:endParaRPr kumimoji="1" lang="en-US" altLang="zh-CN" sz="1200" b="1" dirty="0" smtClean="0">
              <a:solidFill>
                <a:srgbClr val="C00000"/>
              </a:solidFill>
              <a:cs typeface="+mn-ea"/>
              <a:sym typeface="+mn-lt"/>
            </a:endParaRPr>
          </a:p>
          <a:p>
            <a:pPr algn="ctr" defTabSz="914400" fontAlgn="t">
              <a:spcBef>
                <a:spcPct val="0"/>
              </a:spcBef>
              <a:spcAft>
                <a:spcPct val="0"/>
              </a:spcAft>
            </a:pPr>
            <a:r>
              <a:rPr kumimoji="1" lang="zh-CN" altLang="en-US" sz="1200" b="1" dirty="0">
                <a:solidFill>
                  <a:srgbClr val="C00000"/>
                </a:solidFill>
                <a:cs typeface="+mn-ea"/>
                <a:sym typeface="+mn-lt"/>
              </a:rPr>
              <a:t>应用</a:t>
            </a:r>
            <a:endParaRPr kumimoji="1" lang="zh-CN" altLang="en-US" sz="1200" b="1" dirty="0">
              <a:solidFill>
                <a:srgbClr val="C00000"/>
              </a:solidFill>
              <a:cs typeface="+mn-ea"/>
              <a:sym typeface="+mn-lt"/>
            </a:endParaRPr>
          </a:p>
        </p:txBody>
      </p:sp>
      <p:sp>
        <p:nvSpPr>
          <p:cNvPr id="82" name="文本框 81"/>
          <p:cNvSpPr txBox="1"/>
          <p:nvPr/>
        </p:nvSpPr>
        <p:spPr bwMode="auto">
          <a:xfrm>
            <a:off x="9275960" y="3028412"/>
            <a:ext cx="895233"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a:solidFill>
                  <a:srgbClr val="C00000"/>
                </a:solidFill>
                <a:cs typeface="+mn-ea"/>
                <a:sym typeface="+mn-lt"/>
              </a:rPr>
              <a:t>读写</a:t>
            </a:r>
            <a:r>
              <a:rPr kumimoji="1" lang="zh-CN" altLang="en-US" sz="1200" b="1" dirty="0" smtClean="0">
                <a:solidFill>
                  <a:srgbClr val="C00000"/>
                </a:solidFill>
                <a:cs typeface="+mn-ea"/>
                <a:sym typeface="+mn-lt"/>
              </a:rPr>
              <a:t>操作</a:t>
            </a:r>
            <a:endParaRPr kumimoji="1" lang="zh-CN" altLang="en-US" sz="1200" b="1" dirty="0">
              <a:solidFill>
                <a:srgbClr val="C00000"/>
              </a:solidFill>
              <a:cs typeface="+mn-ea"/>
              <a:sym typeface="+mn-lt"/>
            </a:endParaRPr>
          </a:p>
        </p:txBody>
      </p:sp>
      <p:cxnSp>
        <p:nvCxnSpPr>
          <p:cNvPr id="83" name="肘形连接符 82"/>
          <p:cNvCxnSpPr/>
          <p:nvPr/>
        </p:nvCxnSpPr>
        <p:spPr bwMode="auto">
          <a:xfrm rot="5400000">
            <a:off x="8741635" y="2517080"/>
            <a:ext cx="994310" cy="939934"/>
          </a:xfrm>
          <a:prstGeom prst="bentConnector3">
            <a:avLst>
              <a:gd name="adj1" fmla="val 50000"/>
            </a:avLst>
          </a:prstGeom>
          <a:solidFill>
            <a:srgbClr val="CCFF99"/>
          </a:solidFill>
          <a:ln w="19050" cap="flat" cmpd="sng" algn="ctr">
            <a:solidFill>
              <a:srgbClr val="C00000"/>
            </a:solidFill>
            <a:prstDash val="solid"/>
            <a:round/>
            <a:headEnd type="triangle" w="med" len="med"/>
            <a:tailEnd type="triangle" w="med" len="med"/>
          </a:ln>
          <a:effectLst/>
        </p:spPr>
      </p:cxnSp>
      <p:cxnSp>
        <p:nvCxnSpPr>
          <p:cNvPr id="84" name="肘形连接符 83"/>
          <p:cNvCxnSpPr/>
          <p:nvPr/>
        </p:nvCxnSpPr>
        <p:spPr bwMode="auto">
          <a:xfrm rot="10800000">
            <a:off x="9708757" y="2987048"/>
            <a:ext cx="995840" cy="370977"/>
          </a:xfrm>
          <a:prstGeom prst="bentConnector3">
            <a:avLst>
              <a:gd name="adj1" fmla="val -795"/>
            </a:avLst>
          </a:prstGeom>
          <a:solidFill>
            <a:srgbClr val="CCFF99"/>
          </a:solidFill>
          <a:ln w="19050" cap="flat" cmpd="sng" algn="ctr">
            <a:solidFill>
              <a:srgbClr val="C00000"/>
            </a:solidFill>
            <a:prstDash val="solid"/>
            <a:round/>
            <a:headEnd type="none" w="med" len="med"/>
            <a:tailEnd type="none" w="med" len="med"/>
          </a:ln>
          <a:effectLst/>
        </p:spPr>
      </p:cxnSp>
      <p:sp>
        <p:nvSpPr>
          <p:cNvPr id="85" name="左右箭头 84"/>
          <p:cNvSpPr/>
          <p:nvPr/>
        </p:nvSpPr>
        <p:spPr bwMode="auto">
          <a:xfrm>
            <a:off x="9269611" y="3804875"/>
            <a:ext cx="919500" cy="184583"/>
          </a:xfrm>
          <a:prstGeom prst="leftRightArrow">
            <a:avLst/>
          </a:prstGeom>
          <a:solidFill>
            <a:srgbClr val="99CCFF"/>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cs typeface="+mn-ea"/>
              <a:sym typeface="+mn-lt"/>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共享存储多活架构</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4603" y="1247556"/>
            <a:ext cx="7173378" cy="4680000"/>
          </a:xfrm>
        </p:spPr>
        <p:txBody>
          <a:bodyPr>
            <a:normAutofit lnSpcReduction="10000"/>
          </a:bodyPr>
          <a:lstStyle/>
          <a:p>
            <a:r>
              <a:rPr lang="zh-CN" altLang="en-US" sz="2000" dirty="0" smtClean="0">
                <a:latin typeface="+mn-lt"/>
                <a:ea typeface="+mn-ea"/>
                <a:cs typeface="+mn-ea"/>
                <a:sym typeface="+mn-lt"/>
              </a:rPr>
              <a:t>共享存储的多活架构</a:t>
            </a:r>
            <a:r>
              <a:rPr lang="en-US" altLang="zh-CN" sz="2000" dirty="0" smtClean="0">
                <a:latin typeface="+mn-lt"/>
                <a:ea typeface="+mn-ea"/>
                <a:cs typeface="+mn-ea"/>
                <a:sym typeface="+mn-lt"/>
              </a:rPr>
              <a:t>(Shared-Disk</a:t>
            </a:r>
            <a:r>
              <a:rPr lang="en-US" altLang="zh-CN" sz="2000" dirty="0">
                <a:latin typeface="+mn-lt"/>
                <a:ea typeface="+mn-ea"/>
                <a:cs typeface="+mn-ea"/>
                <a:sym typeface="+mn-lt"/>
              </a:rPr>
              <a:t>)</a:t>
            </a:r>
            <a:endParaRPr lang="en-US" altLang="zh-CN" sz="2000" dirty="0">
              <a:latin typeface="+mn-lt"/>
              <a:ea typeface="+mn-ea"/>
              <a:cs typeface="+mn-ea"/>
              <a:sym typeface="+mn-lt"/>
            </a:endParaRPr>
          </a:p>
          <a:p>
            <a:pPr lvl="1"/>
            <a:r>
              <a:rPr lang="zh-CN" altLang="en-US" sz="1600" dirty="0">
                <a:latin typeface="+mn-lt"/>
                <a:ea typeface="+mn-ea"/>
                <a:cs typeface="+mn-ea"/>
                <a:sym typeface="+mn-lt"/>
              </a:rPr>
              <a:t>一</a:t>
            </a:r>
            <a:r>
              <a:rPr lang="zh-CN" altLang="en-US" sz="1600" dirty="0" smtClean="0">
                <a:latin typeface="+mn-lt"/>
                <a:ea typeface="+mn-ea"/>
                <a:cs typeface="+mn-ea"/>
                <a:sym typeface="+mn-lt"/>
              </a:rPr>
              <a:t>种特殊的多主架构。</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数据库服务器共享数据存储，而多个服务器实现均衡负载。</a:t>
            </a:r>
            <a:endParaRPr lang="en-US" altLang="zh-CN" sz="1600" dirty="0">
              <a:latin typeface="+mn-lt"/>
              <a:ea typeface="+mn-ea"/>
              <a:cs typeface="+mn-ea"/>
              <a:sym typeface="+mn-lt"/>
            </a:endParaRPr>
          </a:p>
          <a:p>
            <a:r>
              <a:rPr lang="zh-CN" altLang="en-US" sz="1800" dirty="0" smtClean="0">
                <a:latin typeface="+mn-lt"/>
                <a:ea typeface="+mn-ea"/>
                <a:cs typeface="+mn-ea"/>
                <a:sym typeface="+mn-lt"/>
              </a:rPr>
              <a:t>优点</a:t>
            </a:r>
            <a:endParaRPr lang="en-US" altLang="zh-CN" sz="1800" dirty="0" smtClean="0">
              <a:latin typeface="+mn-lt"/>
              <a:ea typeface="+mn-ea"/>
              <a:cs typeface="+mn-ea"/>
              <a:sym typeface="+mn-lt"/>
            </a:endParaRPr>
          </a:p>
          <a:p>
            <a:pPr lvl="1"/>
            <a:r>
              <a:rPr lang="zh-CN" altLang="en-US" sz="1600" dirty="0">
                <a:latin typeface="+mn-lt"/>
                <a:ea typeface="+mn-ea"/>
                <a:cs typeface="+mn-ea"/>
                <a:sym typeface="+mn-lt"/>
              </a:rPr>
              <a:t>多</a:t>
            </a:r>
            <a:r>
              <a:rPr lang="zh-CN" altLang="en-US" sz="1600" dirty="0" smtClean="0">
                <a:latin typeface="+mn-lt"/>
                <a:ea typeface="+mn-ea"/>
                <a:cs typeface="+mn-ea"/>
                <a:sym typeface="+mn-lt"/>
              </a:rPr>
              <a:t>个计算服务器提供高可用服务，提供了高级别的可用性。可伸缩性，避免了服务器集群的单点故障问题。</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比较方便的横向扩展能够增加整体系统并行处理能力。</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缺点</a:t>
            </a:r>
            <a:endParaRPr lang="en-US" altLang="zh-CN" sz="1800" dirty="0">
              <a:latin typeface="+mn-lt"/>
              <a:ea typeface="+mn-ea"/>
              <a:cs typeface="+mn-ea"/>
              <a:sym typeface="+mn-lt"/>
            </a:endParaRPr>
          </a:p>
          <a:p>
            <a:pPr lvl="1"/>
            <a:r>
              <a:rPr lang="zh-CN" altLang="en-US" sz="1600" dirty="0" smtClean="0">
                <a:latin typeface="+mn-lt"/>
                <a:ea typeface="+mn-ea"/>
                <a:cs typeface="+mn-ea"/>
                <a:sym typeface="+mn-lt"/>
              </a:rPr>
              <a:t>实现技术难度大。</a:t>
            </a:r>
            <a:endParaRPr lang="en-US" altLang="zh-CN" sz="1600" dirty="0" smtClean="0">
              <a:latin typeface="+mn-lt"/>
              <a:ea typeface="+mn-ea"/>
              <a:cs typeface="+mn-ea"/>
              <a:sym typeface="+mn-lt"/>
            </a:endParaRPr>
          </a:p>
          <a:p>
            <a:pPr lvl="1"/>
            <a:r>
              <a:rPr lang="zh-CN" altLang="en-US" sz="1600" dirty="0">
                <a:latin typeface="+mn-lt"/>
                <a:ea typeface="+mn-ea"/>
                <a:cs typeface="+mn-ea"/>
                <a:sym typeface="+mn-lt"/>
              </a:rPr>
              <a:t>当存储器</a:t>
            </a:r>
            <a:r>
              <a:rPr lang="zh-CN" altLang="en-US" sz="1600" dirty="0" smtClean="0">
                <a:latin typeface="+mn-lt"/>
                <a:ea typeface="+mn-ea"/>
                <a:cs typeface="+mn-ea"/>
                <a:sym typeface="+mn-lt"/>
              </a:rPr>
              <a:t>接口带宽达到</a:t>
            </a:r>
            <a:r>
              <a:rPr lang="zh-CN" altLang="en-US" sz="1600" dirty="0">
                <a:latin typeface="+mn-lt"/>
                <a:ea typeface="+mn-ea"/>
                <a:cs typeface="+mn-ea"/>
                <a:sym typeface="+mn-lt"/>
              </a:rPr>
              <a:t>饱和的时候，增加节点并不能获得更高的</a:t>
            </a:r>
            <a:r>
              <a:rPr lang="zh-CN" altLang="en-US" sz="1600" dirty="0" smtClean="0">
                <a:latin typeface="+mn-lt"/>
                <a:ea typeface="+mn-ea"/>
                <a:cs typeface="+mn-ea"/>
                <a:sym typeface="+mn-lt"/>
              </a:rPr>
              <a:t>性能，存储</a:t>
            </a:r>
            <a:r>
              <a:rPr lang="en-US" altLang="zh-CN" sz="1600" dirty="0" smtClean="0">
                <a:latin typeface="+mn-lt"/>
                <a:ea typeface="+mn-ea"/>
                <a:cs typeface="+mn-ea"/>
                <a:sym typeface="+mn-lt"/>
              </a:rPr>
              <a:t>IO</a:t>
            </a:r>
            <a:r>
              <a:rPr lang="zh-CN" altLang="en-US" sz="1600" dirty="0" smtClean="0">
                <a:latin typeface="+mn-lt"/>
                <a:ea typeface="+mn-ea"/>
                <a:cs typeface="+mn-ea"/>
                <a:sym typeface="+mn-lt"/>
              </a:rPr>
              <a:t>容易成为整个系统的性能瓶颈。</a:t>
            </a:r>
            <a:endParaRPr lang="en-US" altLang="zh-CN" sz="1600" dirty="0">
              <a:latin typeface="+mn-lt"/>
              <a:ea typeface="+mn-ea"/>
              <a:cs typeface="+mn-ea"/>
              <a:sym typeface="+mn-lt"/>
            </a:endParaRPr>
          </a:p>
        </p:txBody>
      </p:sp>
      <p:sp>
        <p:nvSpPr>
          <p:cNvPr id="64" name="文本框 63"/>
          <p:cNvSpPr txBox="1"/>
          <p:nvPr/>
        </p:nvSpPr>
        <p:spPr bwMode="auto">
          <a:xfrm>
            <a:off x="7617981" y="3937598"/>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节点</a:t>
            </a:r>
            <a:r>
              <a:rPr kumimoji="1" lang="en-US" altLang="zh-CN" sz="1200" b="1" dirty="0" smtClean="0">
                <a:solidFill>
                  <a:srgbClr val="000000"/>
                </a:solidFill>
                <a:cs typeface="+mn-ea"/>
                <a:sym typeface="+mn-lt"/>
              </a:rPr>
              <a:t>1</a:t>
            </a:r>
            <a:endParaRPr kumimoji="1" lang="en-US" altLang="zh-CN" sz="1200" b="1" dirty="0" smtClean="0">
              <a:solidFill>
                <a:srgbClr val="000000"/>
              </a:solidFill>
              <a:cs typeface="+mn-ea"/>
              <a:sym typeface="+mn-lt"/>
            </a:endParaRPr>
          </a:p>
        </p:txBody>
      </p:sp>
      <p:sp>
        <p:nvSpPr>
          <p:cNvPr id="70" name="文本框 69"/>
          <p:cNvSpPr txBox="1"/>
          <p:nvPr/>
        </p:nvSpPr>
        <p:spPr bwMode="auto">
          <a:xfrm>
            <a:off x="8714928" y="3923127"/>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节点</a:t>
            </a:r>
            <a:r>
              <a:rPr kumimoji="1" lang="en-US" altLang="zh-CN" sz="1200" b="1" dirty="0" smtClean="0">
                <a:solidFill>
                  <a:srgbClr val="000000"/>
                </a:solidFill>
                <a:cs typeface="+mn-ea"/>
                <a:sym typeface="+mn-lt"/>
              </a:rPr>
              <a:t>2</a:t>
            </a:r>
            <a:endParaRPr kumimoji="1" lang="en-US" altLang="zh-CN" sz="1200" b="1" dirty="0" smtClean="0">
              <a:solidFill>
                <a:srgbClr val="000000"/>
              </a:solidFill>
              <a:cs typeface="+mn-ea"/>
              <a:sym typeface="+mn-lt"/>
            </a:endParaRPr>
          </a:p>
        </p:txBody>
      </p:sp>
      <p:grpSp>
        <p:nvGrpSpPr>
          <p:cNvPr id="71" name="Server"/>
          <p:cNvGrpSpPr>
            <a:grpSpLocks noChangeAspect="1"/>
          </p:cNvGrpSpPr>
          <p:nvPr>
            <p:custDataLst>
              <p:tags r:id="rId1"/>
            </p:custDataLst>
          </p:nvPr>
        </p:nvGrpSpPr>
        <p:grpSpPr>
          <a:xfrm>
            <a:off x="7719531" y="3032519"/>
            <a:ext cx="598866" cy="810614"/>
            <a:chOff x="4754879" y="1097281"/>
            <a:chExt cx="3331031" cy="4762911"/>
          </a:xfrm>
        </p:grpSpPr>
        <p:sp>
          <p:nvSpPr>
            <p:cNvPr id="72"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3"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4"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75" name="Server - 1"/>
          <p:cNvGrpSpPr>
            <a:grpSpLocks noChangeAspect="1"/>
          </p:cNvGrpSpPr>
          <p:nvPr>
            <p:custDataLst>
              <p:tags r:id="rId2"/>
            </p:custDataLst>
          </p:nvPr>
        </p:nvGrpSpPr>
        <p:grpSpPr>
          <a:xfrm>
            <a:off x="8842940" y="3032519"/>
            <a:ext cx="598866" cy="810614"/>
            <a:chOff x="4754879" y="1097281"/>
            <a:chExt cx="3331031" cy="4762911"/>
          </a:xfrm>
        </p:grpSpPr>
        <p:sp>
          <p:nvSpPr>
            <p:cNvPr id="77"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8"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79"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80" name="Browser"/>
          <p:cNvGrpSpPr>
            <a:grpSpLocks noChangeAspect="1"/>
          </p:cNvGrpSpPr>
          <p:nvPr>
            <p:custDataLst>
              <p:tags r:id="rId3"/>
            </p:custDataLst>
          </p:nvPr>
        </p:nvGrpSpPr>
        <p:grpSpPr bwMode="auto">
          <a:xfrm>
            <a:off x="8897252" y="1622487"/>
            <a:ext cx="459841" cy="436785"/>
            <a:chOff x="2545" y="863"/>
            <a:chExt cx="2513" cy="2387"/>
          </a:xfrm>
          <a:solidFill>
            <a:srgbClr val="C00000"/>
          </a:solidFill>
          <a:effectLst>
            <a:outerShdw blurRad="50800" dist="38100" dir="2700000" algn="tl" rotWithShape="0">
              <a:prstClr val="black">
                <a:alpha val="40000"/>
              </a:prstClr>
            </a:outerShdw>
          </a:effectLst>
        </p:grpSpPr>
        <p:sp>
          <p:nvSpPr>
            <p:cNvPr id="81" name="Freeform 150"/>
            <p:cNvSpPr>
              <a:spLocks noEditPoints="1"/>
            </p:cNvSpPr>
            <p:nvPr/>
          </p:nvSpPr>
          <p:spPr bwMode="auto">
            <a:xfrm>
              <a:off x="2545" y="1523"/>
              <a:ext cx="2513" cy="1727"/>
            </a:xfrm>
            <a:custGeom>
              <a:avLst/>
              <a:gdLst>
                <a:gd name="T0" fmla="*/ 50 w 633"/>
                <a:gd name="T1" fmla="*/ 84 h 434"/>
                <a:gd name="T2" fmla="*/ 250 w 633"/>
                <a:gd name="T3" fmla="*/ 84 h 434"/>
                <a:gd name="T4" fmla="*/ 250 w 633"/>
                <a:gd name="T5" fmla="*/ 384 h 434"/>
                <a:gd name="T6" fmla="*/ 50 w 633"/>
                <a:gd name="T7" fmla="*/ 384 h 434"/>
                <a:gd name="T8" fmla="*/ 50 w 633"/>
                <a:gd name="T9" fmla="*/ 84 h 434"/>
                <a:gd name="T10" fmla="*/ 316 w 633"/>
                <a:gd name="T11" fmla="*/ 350 h 434"/>
                <a:gd name="T12" fmla="*/ 583 w 633"/>
                <a:gd name="T13" fmla="*/ 350 h 434"/>
                <a:gd name="T14" fmla="*/ 583 w 633"/>
                <a:gd name="T15" fmla="*/ 384 h 434"/>
                <a:gd name="T16" fmla="*/ 316 w 633"/>
                <a:gd name="T17" fmla="*/ 384 h 434"/>
                <a:gd name="T18" fmla="*/ 316 w 633"/>
                <a:gd name="T19" fmla="*/ 350 h 434"/>
                <a:gd name="T20" fmla="*/ 316 w 633"/>
                <a:gd name="T21" fmla="*/ 284 h 434"/>
                <a:gd name="T22" fmla="*/ 583 w 633"/>
                <a:gd name="T23" fmla="*/ 284 h 434"/>
                <a:gd name="T24" fmla="*/ 583 w 633"/>
                <a:gd name="T25" fmla="*/ 317 h 434"/>
                <a:gd name="T26" fmla="*/ 316 w 633"/>
                <a:gd name="T27" fmla="*/ 317 h 434"/>
                <a:gd name="T28" fmla="*/ 316 w 633"/>
                <a:gd name="T29" fmla="*/ 284 h 434"/>
                <a:gd name="T30" fmla="*/ 316 w 633"/>
                <a:gd name="T31" fmla="*/ 217 h 434"/>
                <a:gd name="T32" fmla="*/ 583 w 633"/>
                <a:gd name="T33" fmla="*/ 217 h 434"/>
                <a:gd name="T34" fmla="*/ 583 w 633"/>
                <a:gd name="T35" fmla="*/ 250 h 434"/>
                <a:gd name="T36" fmla="*/ 316 w 633"/>
                <a:gd name="T37" fmla="*/ 250 h 434"/>
                <a:gd name="T38" fmla="*/ 316 w 633"/>
                <a:gd name="T39" fmla="*/ 217 h 434"/>
                <a:gd name="T40" fmla="*/ 316 w 633"/>
                <a:gd name="T41" fmla="*/ 150 h 434"/>
                <a:gd name="T42" fmla="*/ 583 w 633"/>
                <a:gd name="T43" fmla="*/ 150 h 434"/>
                <a:gd name="T44" fmla="*/ 583 w 633"/>
                <a:gd name="T45" fmla="*/ 184 h 434"/>
                <a:gd name="T46" fmla="*/ 316 w 633"/>
                <a:gd name="T47" fmla="*/ 184 h 434"/>
                <a:gd name="T48" fmla="*/ 316 w 633"/>
                <a:gd name="T49" fmla="*/ 150 h 434"/>
                <a:gd name="T50" fmla="*/ 316 w 633"/>
                <a:gd name="T51" fmla="*/ 84 h 434"/>
                <a:gd name="T52" fmla="*/ 583 w 633"/>
                <a:gd name="T53" fmla="*/ 84 h 434"/>
                <a:gd name="T54" fmla="*/ 583 w 633"/>
                <a:gd name="T55" fmla="*/ 117 h 434"/>
                <a:gd name="T56" fmla="*/ 316 w 633"/>
                <a:gd name="T57" fmla="*/ 117 h 434"/>
                <a:gd name="T58" fmla="*/ 316 w 633"/>
                <a:gd name="T59" fmla="*/ 84 h 434"/>
                <a:gd name="T60" fmla="*/ 0 w 633"/>
                <a:gd name="T61" fmla="*/ 384 h 434"/>
                <a:gd name="T62" fmla="*/ 50 w 633"/>
                <a:gd name="T63" fmla="*/ 434 h 434"/>
                <a:gd name="T64" fmla="*/ 583 w 633"/>
                <a:gd name="T65" fmla="*/ 434 h 434"/>
                <a:gd name="T66" fmla="*/ 633 w 633"/>
                <a:gd name="T67" fmla="*/ 384 h 434"/>
                <a:gd name="T68" fmla="*/ 633 w 633"/>
                <a:gd name="T69" fmla="*/ 0 h 434"/>
                <a:gd name="T70" fmla="*/ 0 w 633"/>
                <a:gd name="T71" fmla="*/ 0 h 434"/>
                <a:gd name="T72" fmla="*/ 0 w 633"/>
                <a:gd name="T73" fmla="*/ 38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3" h="434">
                  <a:moveTo>
                    <a:pt x="50" y="84"/>
                  </a:moveTo>
                  <a:lnTo>
                    <a:pt x="250" y="84"/>
                  </a:lnTo>
                  <a:lnTo>
                    <a:pt x="250" y="384"/>
                  </a:lnTo>
                  <a:lnTo>
                    <a:pt x="50" y="384"/>
                  </a:lnTo>
                  <a:lnTo>
                    <a:pt x="50" y="84"/>
                  </a:lnTo>
                  <a:close/>
                  <a:moveTo>
                    <a:pt x="316" y="350"/>
                  </a:moveTo>
                  <a:lnTo>
                    <a:pt x="583" y="350"/>
                  </a:lnTo>
                  <a:lnTo>
                    <a:pt x="583" y="384"/>
                  </a:lnTo>
                  <a:lnTo>
                    <a:pt x="316" y="384"/>
                  </a:lnTo>
                  <a:lnTo>
                    <a:pt x="316" y="350"/>
                  </a:lnTo>
                  <a:close/>
                  <a:moveTo>
                    <a:pt x="316" y="284"/>
                  </a:moveTo>
                  <a:lnTo>
                    <a:pt x="583" y="284"/>
                  </a:lnTo>
                  <a:lnTo>
                    <a:pt x="583" y="317"/>
                  </a:lnTo>
                  <a:lnTo>
                    <a:pt x="316" y="317"/>
                  </a:lnTo>
                  <a:lnTo>
                    <a:pt x="316" y="284"/>
                  </a:lnTo>
                  <a:close/>
                  <a:moveTo>
                    <a:pt x="316" y="217"/>
                  </a:moveTo>
                  <a:lnTo>
                    <a:pt x="583" y="217"/>
                  </a:lnTo>
                  <a:lnTo>
                    <a:pt x="583" y="250"/>
                  </a:lnTo>
                  <a:lnTo>
                    <a:pt x="316" y="250"/>
                  </a:lnTo>
                  <a:lnTo>
                    <a:pt x="316" y="217"/>
                  </a:lnTo>
                  <a:close/>
                  <a:moveTo>
                    <a:pt x="316" y="150"/>
                  </a:moveTo>
                  <a:lnTo>
                    <a:pt x="583" y="150"/>
                  </a:lnTo>
                  <a:lnTo>
                    <a:pt x="583" y="184"/>
                  </a:lnTo>
                  <a:lnTo>
                    <a:pt x="316" y="184"/>
                  </a:lnTo>
                  <a:lnTo>
                    <a:pt x="316" y="150"/>
                  </a:lnTo>
                  <a:close/>
                  <a:moveTo>
                    <a:pt x="316" y="84"/>
                  </a:moveTo>
                  <a:lnTo>
                    <a:pt x="583" y="84"/>
                  </a:lnTo>
                  <a:lnTo>
                    <a:pt x="583" y="117"/>
                  </a:lnTo>
                  <a:lnTo>
                    <a:pt x="316" y="117"/>
                  </a:lnTo>
                  <a:lnTo>
                    <a:pt x="316" y="84"/>
                  </a:lnTo>
                  <a:close/>
                  <a:moveTo>
                    <a:pt x="0" y="384"/>
                  </a:moveTo>
                  <a:cubicBezTo>
                    <a:pt x="0" y="411"/>
                    <a:pt x="22" y="434"/>
                    <a:pt x="50" y="434"/>
                  </a:cubicBezTo>
                  <a:lnTo>
                    <a:pt x="583" y="434"/>
                  </a:lnTo>
                  <a:cubicBezTo>
                    <a:pt x="611" y="434"/>
                    <a:pt x="633" y="411"/>
                    <a:pt x="633" y="384"/>
                  </a:cubicBezTo>
                  <a:lnTo>
                    <a:pt x="633" y="0"/>
                  </a:lnTo>
                  <a:lnTo>
                    <a:pt x="0" y="0"/>
                  </a:lnTo>
                  <a:lnTo>
                    <a:pt x="0" y="384"/>
                  </a:ln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sp>
          <p:nvSpPr>
            <p:cNvPr id="82" name="Freeform 151"/>
            <p:cNvSpPr>
              <a:spLocks noEditPoints="1"/>
            </p:cNvSpPr>
            <p:nvPr/>
          </p:nvSpPr>
          <p:spPr bwMode="auto">
            <a:xfrm>
              <a:off x="2545" y="863"/>
              <a:ext cx="2513" cy="529"/>
            </a:xfrm>
            <a:custGeom>
              <a:avLst/>
              <a:gdLst>
                <a:gd name="T0" fmla="*/ 266 w 633"/>
                <a:gd name="T1" fmla="*/ 100 h 133"/>
                <a:gd name="T2" fmla="*/ 233 w 633"/>
                <a:gd name="T3" fmla="*/ 66 h 133"/>
                <a:gd name="T4" fmla="*/ 266 w 633"/>
                <a:gd name="T5" fmla="*/ 33 h 133"/>
                <a:gd name="T6" fmla="*/ 300 w 633"/>
                <a:gd name="T7" fmla="*/ 66 h 133"/>
                <a:gd name="T8" fmla="*/ 266 w 633"/>
                <a:gd name="T9" fmla="*/ 100 h 133"/>
                <a:gd name="T10" fmla="*/ 166 w 633"/>
                <a:gd name="T11" fmla="*/ 100 h 133"/>
                <a:gd name="T12" fmla="*/ 133 w 633"/>
                <a:gd name="T13" fmla="*/ 66 h 133"/>
                <a:gd name="T14" fmla="*/ 166 w 633"/>
                <a:gd name="T15" fmla="*/ 33 h 133"/>
                <a:gd name="T16" fmla="*/ 200 w 633"/>
                <a:gd name="T17" fmla="*/ 66 h 133"/>
                <a:gd name="T18" fmla="*/ 166 w 633"/>
                <a:gd name="T19" fmla="*/ 100 h 133"/>
                <a:gd name="T20" fmla="*/ 66 w 633"/>
                <a:gd name="T21" fmla="*/ 100 h 133"/>
                <a:gd name="T22" fmla="*/ 33 w 633"/>
                <a:gd name="T23" fmla="*/ 66 h 133"/>
                <a:gd name="T24" fmla="*/ 66 w 633"/>
                <a:gd name="T25" fmla="*/ 33 h 133"/>
                <a:gd name="T26" fmla="*/ 100 w 633"/>
                <a:gd name="T27" fmla="*/ 66 h 133"/>
                <a:gd name="T28" fmla="*/ 66 w 633"/>
                <a:gd name="T29" fmla="*/ 100 h 133"/>
                <a:gd name="T30" fmla="*/ 583 w 633"/>
                <a:gd name="T31" fmla="*/ 0 h 133"/>
                <a:gd name="T32" fmla="*/ 50 w 633"/>
                <a:gd name="T33" fmla="*/ 0 h 133"/>
                <a:gd name="T34" fmla="*/ 0 w 633"/>
                <a:gd name="T35" fmla="*/ 50 h 133"/>
                <a:gd name="T36" fmla="*/ 0 w 633"/>
                <a:gd name="T37" fmla="*/ 133 h 133"/>
                <a:gd name="T38" fmla="*/ 633 w 633"/>
                <a:gd name="T39" fmla="*/ 133 h 133"/>
                <a:gd name="T40" fmla="*/ 633 w 633"/>
                <a:gd name="T41" fmla="*/ 50 h 133"/>
                <a:gd name="T42" fmla="*/ 583 w 633"/>
                <a:gd name="T4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3" h="133">
                  <a:moveTo>
                    <a:pt x="266" y="100"/>
                  </a:moveTo>
                  <a:cubicBezTo>
                    <a:pt x="248" y="100"/>
                    <a:pt x="233" y="85"/>
                    <a:pt x="233" y="66"/>
                  </a:cubicBezTo>
                  <a:cubicBezTo>
                    <a:pt x="233" y="48"/>
                    <a:pt x="248" y="33"/>
                    <a:pt x="266" y="33"/>
                  </a:cubicBezTo>
                  <a:cubicBezTo>
                    <a:pt x="285" y="33"/>
                    <a:pt x="300" y="48"/>
                    <a:pt x="300" y="66"/>
                  </a:cubicBezTo>
                  <a:cubicBezTo>
                    <a:pt x="300" y="85"/>
                    <a:pt x="285" y="100"/>
                    <a:pt x="266" y="100"/>
                  </a:cubicBezTo>
                  <a:close/>
                  <a:moveTo>
                    <a:pt x="166" y="100"/>
                  </a:moveTo>
                  <a:cubicBezTo>
                    <a:pt x="148" y="100"/>
                    <a:pt x="133" y="85"/>
                    <a:pt x="133" y="66"/>
                  </a:cubicBezTo>
                  <a:cubicBezTo>
                    <a:pt x="133" y="48"/>
                    <a:pt x="148" y="33"/>
                    <a:pt x="166" y="33"/>
                  </a:cubicBezTo>
                  <a:cubicBezTo>
                    <a:pt x="185" y="33"/>
                    <a:pt x="200" y="48"/>
                    <a:pt x="200" y="66"/>
                  </a:cubicBezTo>
                  <a:cubicBezTo>
                    <a:pt x="200" y="85"/>
                    <a:pt x="185" y="100"/>
                    <a:pt x="166" y="100"/>
                  </a:cubicBezTo>
                  <a:close/>
                  <a:moveTo>
                    <a:pt x="66" y="100"/>
                  </a:moveTo>
                  <a:cubicBezTo>
                    <a:pt x="48" y="100"/>
                    <a:pt x="33" y="85"/>
                    <a:pt x="33" y="66"/>
                  </a:cubicBezTo>
                  <a:cubicBezTo>
                    <a:pt x="33" y="48"/>
                    <a:pt x="48" y="33"/>
                    <a:pt x="66" y="33"/>
                  </a:cubicBezTo>
                  <a:cubicBezTo>
                    <a:pt x="85" y="33"/>
                    <a:pt x="100" y="48"/>
                    <a:pt x="100" y="66"/>
                  </a:cubicBezTo>
                  <a:cubicBezTo>
                    <a:pt x="100" y="85"/>
                    <a:pt x="85" y="100"/>
                    <a:pt x="66" y="100"/>
                  </a:cubicBezTo>
                  <a:close/>
                  <a:moveTo>
                    <a:pt x="583" y="0"/>
                  </a:moveTo>
                  <a:lnTo>
                    <a:pt x="50" y="0"/>
                  </a:lnTo>
                  <a:cubicBezTo>
                    <a:pt x="22" y="0"/>
                    <a:pt x="0" y="22"/>
                    <a:pt x="0" y="50"/>
                  </a:cubicBezTo>
                  <a:lnTo>
                    <a:pt x="0" y="133"/>
                  </a:lnTo>
                  <a:lnTo>
                    <a:pt x="633" y="133"/>
                  </a:lnTo>
                  <a:lnTo>
                    <a:pt x="633" y="50"/>
                  </a:lnTo>
                  <a:cubicBezTo>
                    <a:pt x="633" y="22"/>
                    <a:pt x="611" y="0"/>
                    <a:pt x="583" y="0"/>
                  </a:cubicBezTo>
                  <a:close/>
                </a:path>
              </a:pathLst>
            </a:custGeom>
            <a:grpFill/>
            <a:ln w="9525">
              <a:noFill/>
              <a:round/>
            </a:ln>
          </p:spPr>
          <p:txBody>
            <a:bodyPr vert="horz" wrap="square" lIns="91440" tIns="45720" rIns="91440" bIns="45720" numCol="1" anchor="t" anchorCtr="0" compatLnSpc="1"/>
            <a:lstStyle/>
            <a:p>
              <a:pPr defTabSz="914400">
                <a:defRPr/>
              </a:pPr>
              <a:endParaRPr lang="en-US" dirty="0">
                <a:solidFill>
                  <a:prstClr val="black"/>
                </a:solidFill>
                <a:cs typeface="+mn-ea"/>
                <a:sym typeface="+mn-lt"/>
              </a:endParaRPr>
            </a:p>
          </p:txBody>
        </p:sp>
      </p:grpSp>
      <p:sp>
        <p:nvSpPr>
          <p:cNvPr id="83" name="文本框 82"/>
          <p:cNvSpPr txBox="1"/>
          <p:nvPr/>
        </p:nvSpPr>
        <p:spPr bwMode="auto">
          <a:xfrm>
            <a:off x="9552384" y="1700808"/>
            <a:ext cx="895233" cy="369332"/>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a:solidFill>
                  <a:srgbClr val="C00000"/>
                </a:solidFill>
                <a:cs typeface="+mn-ea"/>
                <a:sym typeface="+mn-lt"/>
              </a:rPr>
              <a:t>Application</a:t>
            </a:r>
            <a:endParaRPr kumimoji="1" lang="en-US" altLang="zh-CN" sz="1200" b="1" dirty="0" smtClean="0">
              <a:solidFill>
                <a:srgbClr val="C00000"/>
              </a:solidFill>
              <a:cs typeface="+mn-ea"/>
              <a:sym typeface="+mn-lt"/>
            </a:endParaRPr>
          </a:p>
          <a:p>
            <a:pPr algn="ctr" defTabSz="914400" fontAlgn="t">
              <a:spcBef>
                <a:spcPct val="0"/>
              </a:spcBef>
              <a:spcAft>
                <a:spcPct val="0"/>
              </a:spcAft>
            </a:pPr>
            <a:r>
              <a:rPr kumimoji="1" lang="zh-CN" altLang="en-US" sz="1200" b="1" dirty="0">
                <a:solidFill>
                  <a:srgbClr val="C00000"/>
                </a:solidFill>
                <a:cs typeface="+mn-ea"/>
                <a:sym typeface="+mn-lt"/>
              </a:rPr>
              <a:t>应用</a:t>
            </a:r>
            <a:endParaRPr kumimoji="1" lang="zh-CN" altLang="en-US" sz="1200" b="1" dirty="0">
              <a:solidFill>
                <a:srgbClr val="C00000"/>
              </a:solidFill>
              <a:cs typeface="+mn-ea"/>
              <a:sym typeface="+mn-lt"/>
            </a:endParaRPr>
          </a:p>
        </p:txBody>
      </p:sp>
      <p:cxnSp>
        <p:nvCxnSpPr>
          <p:cNvPr id="84" name="肘形连接符 83"/>
          <p:cNvCxnSpPr/>
          <p:nvPr/>
        </p:nvCxnSpPr>
        <p:spPr bwMode="auto">
          <a:xfrm flipV="1">
            <a:off x="8002873" y="2648100"/>
            <a:ext cx="1139499" cy="264742"/>
          </a:xfrm>
          <a:prstGeom prst="bentConnector3">
            <a:avLst>
              <a:gd name="adj1" fmla="val 487"/>
            </a:avLst>
          </a:prstGeom>
          <a:solidFill>
            <a:srgbClr val="CCFF99"/>
          </a:solidFill>
          <a:ln w="19050" cap="flat" cmpd="sng" algn="ctr">
            <a:solidFill>
              <a:srgbClr val="C00000"/>
            </a:solidFill>
            <a:prstDash val="solid"/>
            <a:round/>
            <a:headEnd type="none" w="med" len="med"/>
            <a:tailEnd type="none" w="med" len="med"/>
          </a:ln>
          <a:effectLst/>
        </p:spPr>
      </p:cxnSp>
      <p:grpSp>
        <p:nvGrpSpPr>
          <p:cNvPr id="85" name="Server - 2"/>
          <p:cNvGrpSpPr>
            <a:grpSpLocks noChangeAspect="1"/>
          </p:cNvGrpSpPr>
          <p:nvPr>
            <p:custDataLst>
              <p:tags r:id="rId4"/>
            </p:custDataLst>
          </p:nvPr>
        </p:nvGrpSpPr>
        <p:grpSpPr>
          <a:xfrm>
            <a:off x="9982441" y="3004470"/>
            <a:ext cx="598866" cy="810614"/>
            <a:chOff x="4754879" y="1097281"/>
            <a:chExt cx="3331031" cy="4762911"/>
          </a:xfrm>
        </p:grpSpPr>
        <p:sp>
          <p:nvSpPr>
            <p:cNvPr id="86"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7"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8"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sp>
        <p:nvSpPr>
          <p:cNvPr id="89" name="文本框 88"/>
          <p:cNvSpPr txBox="1"/>
          <p:nvPr/>
        </p:nvSpPr>
        <p:spPr bwMode="auto">
          <a:xfrm>
            <a:off x="9823140" y="3937095"/>
            <a:ext cx="80196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0000"/>
                </a:solidFill>
                <a:cs typeface="+mn-ea"/>
                <a:sym typeface="+mn-lt"/>
              </a:rPr>
              <a:t>节点</a:t>
            </a:r>
            <a:r>
              <a:rPr kumimoji="1" lang="en-US" altLang="zh-CN" sz="1200" b="1" dirty="0">
                <a:solidFill>
                  <a:srgbClr val="000000"/>
                </a:solidFill>
                <a:cs typeface="+mn-ea"/>
                <a:sym typeface="+mn-lt"/>
              </a:rPr>
              <a:t>3</a:t>
            </a:r>
            <a:endParaRPr kumimoji="1" lang="en-US" altLang="zh-CN" sz="1200" b="1" dirty="0" smtClean="0">
              <a:solidFill>
                <a:srgbClr val="000000"/>
              </a:solidFill>
              <a:cs typeface="+mn-ea"/>
              <a:sym typeface="+mn-lt"/>
            </a:endParaRPr>
          </a:p>
        </p:txBody>
      </p:sp>
      <p:sp>
        <p:nvSpPr>
          <p:cNvPr id="90" name="文本框 89"/>
          <p:cNvSpPr txBox="1"/>
          <p:nvPr/>
        </p:nvSpPr>
        <p:spPr bwMode="auto">
          <a:xfrm>
            <a:off x="8621374" y="5465521"/>
            <a:ext cx="97134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006699"/>
                </a:solidFill>
                <a:cs typeface="+mn-ea"/>
                <a:sym typeface="+mn-lt"/>
              </a:rPr>
              <a:t>共享存储设备</a:t>
            </a:r>
            <a:endParaRPr kumimoji="1" lang="zh-CN" altLang="en-US" sz="1200" b="1" dirty="0">
              <a:solidFill>
                <a:srgbClr val="006699"/>
              </a:solidFill>
              <a:cs typeface="+mn-ea"/>
              <a:sym typeface="+mn-lt"/>
            </a:endParaRPr>
          </a:p>
        </p:txBody>
      </p:sp>
      <p:cxnSp>
        <p:nvCxnSpPr>
          <p:cNvPr id="91" name="肘形连接符 90"/>
          <p:cNvCxnSpPr>
            <a:stCxn id="64" idx="2"/>
            <a:endCxn id="93" idx="0"/>
          </p:cNvCxnSpPr>
          <p:nvPr/>
        </p:nvCxnSpPr>
        <p:spPr bwMode="auto">
          <a:xfrm rot="16200000" flipH="1">
            <a:off x="8350104" y="3791123"/>
            <a:ext cx="425802" cy="1088083"/>
          </a:xfrm>
          <a:prstGeom prst="bentConnector3">
            <a:avLst>
              <a:gd name="adj1" fmla="val 50000"/>
            </a:avLst>
          </a:prstGeom>
          <a:solidFill>
            <a:srgbClr val="CCFF99"/>
          </a:solidFill>
          <a:ln w="28575" cap="flat" cmpd="sng" algn="ctr">
            <a:solidFill>
              <a:srgbClr val="99CCFF"/>
            </a:solidFill>
            <a:prstDash val="solid"/>
            <a:round/>
            <a:headEnd type="none" w="med" len="med"/>
            <a:tailEnd type="none" w="med" len="med"/>
          </a:ln>
          <a:effectLst/>
        </p:spPr>
      </p:cxnSp>
      <p:grpSp>
        <p:nvGrpSpPr>
          <p:cNvPr id="92" name="组合 91"/>
          <p:cNvGrpSpPr/>
          <p:nvPr/>
        </p:nvGrpSpPr>
        <p:grpSpPr>
          <a:xfrm>
            <a:off x="8510022" y="4548067"/>
            <a:ext cx="1194049" cy="1024756"/>
            <a:chOff x="7664990" y="5215789"/>
            <a:chExt cx="1194049" cy="1062947"/>
          </a:xfrm>
        </p:grpSpPr>
        <p:sp>
          <p:nvSpPr>
            <p:cNvPr id="93" name="矩形 92"/>
            <p:cNvSpPr/>
            <p:nvPr/>
          </p:nvSpPr>
          <p:spPr bwMode="auto">
            <a:xfrm>
              <a:off x="7664990" y="5215789"/>
              <a:ext cx="1194049" cy="10629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t" latinLnBrk="0" hangingPunct="1">
                <a:lnSpc>
                  <a:spcPct val="100000"/>
                </a:lnSpc>
                <a:spcBef>
                  <a:spcPct val="0"/>
                </a:spcBef>
                <a:spcAft>
                  <a:spcPct val="0"/>
                </a:spcAft>
                <a:buClrTx/>
                <a:buSzTx/>
                <a:buFontTx/>
                <a:buNone/>
                <a:defRPr/>
              </a:pPr>
              <a:endParaRPr kumimoji="0" lang="zh-CN" altLang="en-US" sz="1000" b="0" i="0" u="none" strike="noStrike" kern="0" cap="none" spc="0" normalizeH="0" baseline="0" noProof="0" smtClean="0">
                <a:ln>
                  <a:noFill/>
                </a:ln>
                <a:solidFill>
                  <a:srgbClr val="000000"/>
                </a:solidFill>
                <a:effectLst/>
                <a:uLnTx/>
                <a:uFillTx/>
                <a:cs typeface="+mn-ea"/>
                <a:sym typeface="+mn-lt"/>
              </a:endParaRPr>
            </a:p>
          </p:txBody>
        </p:sp>
        <p:grpSp>
          <p:nvGrpSpPr>
            <p:cNvPr id="94" name="组合 93"/>
            <p:cNvGrpSpPr/>
            <p:nvPr/>
          </p:nvGrpSpPr>
          <p:grpSpPr>
            <a:xfrm>
              <a:off x="7742557" y="5293930"/>
              <a:ext cx="1038915" cy="808896"/>
              <a:chOff x="9275960" y="4797152"/>
              <a:chExt cx="662718" cy="514636"/>
            </a:xfrm>
          </p:grpSpPr>
          <p:grpSp>
            <p:nvGrpSpPr>
              <p:cNvPr id="95" name="Database"/>
              <p:cNvGrpSpPr/>
              <p:nvPr>
                <p:custDataLst>
                  <p:tags r:id="rId5"/>
                </p:custDataLst>
              </p:nvPr>
            </p:nvGrpSpPr>
            <p:grpSpPr>
              <a:xfrm>
                <a:off x="9275960" y="4797152"/>
                <a:ext cx="296410" cy="363787"/>
                <a:chOff x="-1607704" y="4375315"/>
                <a:chExt cx="357909" cy="378772"/>
              </a:xfrm>
              <a:solidFill>
                <a:srgbClr val="99CCFF"/>
              </a:solidFill>
            </p:grpSpPr>
            <p:sp>
              <p:nvSpPr>
                <p:cNvPr id="104"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5"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6"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nvGrpSpPr>
              <p:cNvPr id="96" name="Database"/>
              <p:cNvGrpSpPr/>
              <p:nvPr>
                <p:custDataLst>
                  <p:tags r:id="rId6"/>
                </p:custDataLst>
              </p:nvPr>
            </p:nvGrpSpPr>
            <p:grpSpPr>
              <a:xfrm>
                <a:off x="9642268" y="4797152"/>
                <a:ext cx="296410" cy="363787"/>
                <a:chOff x="-1607704" y="4375315"/>
                <a:chExt cx="357909" cy="378772"/>
              </a:xfrm>
              <a:solidFill>
                <a:srgbClr val="99CCFF"/>
              </a:solidFill>
            </p:grpSpPr>
            <p:sp>
              <p:nvSpPr>
                <p:cNvPr id="101"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2"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3"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nvGrpSpPr>
              <p:cNvPr id="97" name="Database"/>
              <p:cNvGrpSpPr/>
              <p:nvPr>
                <p:custDataLst>
                  <p:tags r:id="rId7"/>
                </p:custDataLst>
              </p:nvPr>
            </p:nvGrpSpPr>
            <p:grpSpPr>
              <a:xfrm>
                <a:off x="9451544" y="4948001"/>
                <a:ext cx="296410" cy="363787"/>
                <a:chOff x="-1607704" y="4375315"/>
                <a:chExt cx="357909" cy="378772"/>
              </a:xfrm>
              <a:solidFill>
                <a:srgbClr val="99CCFF"/>
              </a:solidFill>
            </p:grpSpPr>
            <p:sp>
              <p:nvSpPr>
                <p:cNvPr id="98" name="Flowchart: Magnetic Disk 22"/>
                <p:cNvSpPr/>
                <p:nvPr/>
              </p:nvSpPr>
              <p:spPr>
                <a:xfrm>
                  <a:off x="-1607704" y="4582410"/>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99" name="Flowchart: Magnetic Disk 98"/>
                <p:cNvSpPr/>
                <p:nvPr/>
              </p:nvSpPr>
              <p:spPr>
                <a:xfrm>
                  <a:off x="-1607704" y="4481556"/>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0" name="Flowchart: Magnetic Disk 99"/>
                <p:cNvSpPr/>
                <p:nvPr/>
              </p:nvSpPr>
              <p:spPr>
                <a:xfrm>
                  <a:off x="-1607704" y="4375315"/>
                  <a:ext cx="357909" cy="171677"/>
                </a:xfrm>
                <a:prstGeom prst="flowChartMagneticDisk">
                  <a:avLst/>
                </a:prstGeom>
                <a:grp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grpSp>
      </p:grpSp>
      <p:cxnSp>
        <p:nvCxnSpPr>
          <p:cNvPr id="107" name="肘形连接符 106"/>
          <p:cNvCxnSpPr>
            <a:stCxn id="70" idx="2"/>
            <a:endCxn id="93" idx="0"/>
          </p:cNvCxnSpPr>
          <p:nvPr/>
        </p:nvCxnSpPr>
        <p:spPr bwMode="auto">
          <a:xfrm rot="5400000">
            <a:off x="8891342" y="4323498"/>
            <a:ext cx="440274" cy="8864"/>
          </a:xfrm>
          <a:prstGeom prst="bentConnector3">
            <a:avLst>
              <a:gd name="adj1" fmla="val 50000"/>
            </a:avLst>
          </a:prstGeom>
          <a:solidFill>
            <a:srgbClr val="CCFF99"/>
          </a:solidFill>
          <a:ln w="28575" cap="flat" cmpd="sng" algn="ctr">
            <a:solidFill>
              <a:srgbClr val="99CCFF"/>
            </a:solidFill>
            <a:prstDash val="solid"/>
            <a:round/>
            <a:headEnd type="none" w="med" len="med"/>
            <a:tailEnd type="none" w="med" len="med"/>
          </a:ln>
          <a:effectLst/>
        </p:spPr>
      </p:cxnSp>
      <p:cxnSp>
        <p:nvCxnSpPr>
          <p:cNvPr id="108" name="肘形连接符 107"/>
          <p:cNvCxnSpPr>
            <a:stCxn id="89" idx="2"/>
            <a:endCxn id="93" idx="0"/>
          </p:cNvCxnSpPr>
          <p:nvPr/>
        </p:nvCxnSpPr>
        <p:spPr bwMode="auto">
          <a:xfrm rot="5400000">
            <a:off x="9452432" y="3776376"/>
            <a:ext cx="426306" cy="1117076"/>
          </a:xfrm>
          <a:prstGeom prst="bentConnector3">
            <a:avLst>
              <a:gd name="adj1" fmla="val 50000"/>
            </a:avLst>
          </a:prstGeom>
          <a:solidFill>
            <a:srgbClr val="CCFF99"/>
          </a:solidFill>
          <a:ln w="28575" cap="flat" cmpd="sng" algn="ctr">
            <a:solidFill>
              <a:srgbClr val="99CCFF"/>
            </a:solidFill>
            <a:prstDash val="solid"/>
            <a:round/>
            <a:headEnd type="none" w="med" len="med"/>
            <a:tailEnd type="none" w="med" len="med"/>
          </a:ln>
          <a:effectLst/>
        </p:spPr>
      </p:cxnSp>
      <p:cxnSp>
        <p:nvCxnSpPr>
          <p:cNvPr id="109" name="肘形连接符 108"/>
          <p:cNvCxnSpPr/>
          <p:nvPr/>
        </p:nvCxnSpPr>
        <p:spPr bwMode="auto">
          <a:xfrm rot="5400000" flipH="1" flipV="1">
            <a:off x="8764575" y="2556313"/>
            <a:ext cx="787782" cy="2"/>
          </a:xfrm>
          <a:prstGeom prst="bentConnector3">
            <a:avLst>
              <a:gd name="adj1" fmla="val 50000"/>
            </a:avLst>
          </a:prstGeom>
          <a:solidFill>
            <a:srgbClr val="CCFF99"/>
          </a:solidFill>
          <a:ln w="19050" cap="flat" cmpd="sng" algn="ctr">
            <a:solidFill>
              <a:srgbClr val="C00000"/>
            </a:solidFill>
            <a:prstDash val="solid"/>
            <a:round/>
            <a:headEnd type="none" w="med" len="med"/>
            <a:tailEnd type="none" w="med" len="med"/>
          </a:ln>
          <a:effectLst/>
        </p:spPr>
      </p:cxnSp>
      <p:cxnSp>
        <p:nvCxnSpPr>
          <p:cNvPr id="110" name="肘形连接符 109"/>
          <p:cNvCxnSpPr/>
          <p:nvPr/>
        </p:nvCxnSpPr>
        <p:spPr bwMode="auto">
          <a:xfrm rot="10800000">
            <a:off x="9150420" y="2648101"/>
            <a:ext cx="1273570" cy="258908"/>
          </a:xfrm>
          <a:prstGeom prst="bentConnector3">
            <a:avLst>
              <a:gd name="adj1" fmla="val -411"/>
            </a:avLst>
          </a:prstGeom>
          <a:solidFill>
            <a:srgbClr val="CCFF99"/>
          </a:solidFill>
          <a:ln w="19050" cap="flat" cmpd="sng" algn="ctr">
            <a:solidFill>
              <a:srgbClr val="C00000"/>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分片</a:t>
            </a:r>
            <a:r>
              <a:rPr lang="en-US" altLang="zh-CN" dirty="0" smtClean="0">
                <a:latin typeface="+mn-lt"/>
                <a:ea typeface="+mn-ea"/>
                <a:cs typeface="+mn-ea"/>
                <a:sym typeface="+mn-lt"/>
              </a:rPr>
              <a:t>(</a:t>
            </a:r>
            <a:r>
              <a:rPr lang="en-US" altLang="zh-CN" dirty="0" err="1" smtClean="0">
                <a:latin typeface="+mn-lt"/>
                <a:ea typeface="+mn-ea"/>
                <a:cs typeface="+mn-ea"/>
                <a:sym typeface="+mn-lt"/>
              </a:rPr>
              <a:t>Sharding</a:t>
            </a:r>
            <a:r>
              <a:rPr lang="en-US" altLang="zh-CN" dirty="0" smtClean="0">
                <a:latin typeface="+mn-lt"/>
                <a:ea typeface="+mn-ea"/>
                <a:cs typeface="+mn-ea"/>
                <a:sym typeface="+mn-lt"/>
              </a:rPr>
              <a:t>)</a:t>
            </a:r>
            <a:r>
              <a:rPr lang="zh-CN" altLang="en-US" dirty="0" smtClean="0">
                <a:latin typeface="+mn-lt"/>
                <a:ea typeface="+mn-ea"/>
                <a:cs typeface="+mn-ea"/>
                <a:sym typeface="+mn-lt"/>
              </a:rPr>
              <a:t>架构</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2914" y="1233488"/>
            <a:ext cx="4886656" cy="5075832"/>
          </a:xfrm>
        </p:spPr>
        <p:txBody>
          <a:bodyPr>
            <a:normAutofit/>
          </a:bodyPr>
          <a:lstStyle/>
          <a:p>
            <a:r>
              <a:rPr lang="zh-CN" altLang="en-US" sz="1700" dirty="0" smtClean="0">
                <a:latin typeface="+mn-lt"/>
                <a:ea typeface="+mn-ea"/>
                <a:cs typeface="+mn-ea"/>
                <a:sym typeface="+mn-lt"/>
              </a:rPr>
              <a:t>分片架构主要表现形式就是水平数据分片架构</a:t>
            </a:r>
            <a:endParaRPr lang="en-US" altLang="zh-CN" sz="1700" dirty="0" smtClean="0">
              <a:latin typeface="+mn-lt"/>
              <a:ea typeface="+mn-ea"/>
              <a:cs typeface="+mn-ea"/>
              <a:sym typeface="+mn-lt"/>
            </a:endParaRPr>
          </a:p>
          <a:p>
            <a:pPr lvl="1"/>
            <a:r>
              <a:rPr lang="zh-CN" altLang="en-US" sz="1500" dirty="0">
                <a:latin typeface="+mn-lt"/>
                <a:ea typeface="+mn-ea"/>
                <a:cs typeface="+mn-ea"/>
                <a:sym typeface="+mn-lt"/>
              </a:rPr>
              <a:t>把数据分散在多个节点上的</a:t>
            </a:r>
            <a:r>
              <a:rPr lang="zh-CN" altLang="en-US" sz="1500" dirty="0" smtClean="0">
                <a:latin typeface="+mn-lt"/>
                <a:ea typeface="+mn-ea"/>
                <a:cs typeface="+mn-ea"/>
                <a:sym typeface="+mn-lt"/>
              </a:rPr>
              <a:t>分片方案</a:t>
            </a:r>
            <a:r>
              <a:rPr lang="zh-CN" altLang="en-US" sz="1500" dirty="0">
                <a:latin typeface="+mn-lt"/>
                <a:ea typeface="+mn-ea"/>
                <a:cs typeface="+mn-ea"/>
                <a:sym typeface="+mn-lt"/>
              </a:rPr>
              <a:t>，每一个</a:t>
            </a:r>
            <a:r>
              <a:rPr lang="zh-CN" altLang="en-US" sz="1500" dirty="0" smtClean="0">
                <a:latin typeface="+mn-lt"/>
                <a:ea typeface="+mn-ea"/>
                <a:cs typeface="+mn-ea"/>
                <a:sym typeface="+mn-lt"/>
              </a:rPr>
              <a:t>分片包括</a:t>
            </a:r>
            <a:r>
              <a:rPr lang="zh-CN" altLang="en-US" sz="1500" dirty="0">
                <a:latin typeface="+mn-lt"/>
                <a:ea typeface="+mn-ea"/>
                <a:cs typeface="+mn-ea"/>
                <a:sym typeface="+mn-lt"/>
              </a:rPr>
              <a:t>数据库的一部分，称为一个</a:t>
            </a:r>
            <a:r>
              <a:rPr lang="en-US" altLang="zh-CN" sz="1500" dirty="0" smtClean="0">
                <a:latin typeface="+mn-lt"/>
                <a:ea typeface="+mn-ea"/>
                <a:cs typeface="+mn-ea"/>
                <a:sym typeface="+mn-lt"/>
              </a:rPr>
              <a:t>shard</a:t>
            </a:r>
            <a:r>
              <a:rPr lang="zh-CN" altLang="en-US" sz="1500" dirty="0" smtClean="0">
                <a:latin typeface="+mn-lt"/>
                <a:ea typeface="+mn-ea"/>
                <a:cs typeface="+mn-ea"/>
                <a:sym typeface="+mn-lt"/>
              </a:rPr>
              <a:t>。</a:t>
            </a:r>
            <a:endParaRPr lang="en-US" altLang="zh-CN" sz="1500" dirty="0" smtClean="0">
              <a:latin typeface="+mn-lt"/>
              <a:ea typeface="+mn-ea"/>
              <a:cs typeface="+mn-ea"/>
              <a:sym typeface="+mn-lt"/>
            </a:endParaRPr>
          </a:p>
          <a:p>
            <a:pPr lvl="1"/>
            <a:r>
              <a:rPr lang="zh-CN" altLang="en-US" sz="1500" dirty="0">
                <a:latin typeface="+mn-lt"/>
                <a:ea typeface="+mn-ea"/>
                <a:cs typeface="+mn-ea"/>
                <a:sym typeface="+mn-lt"/>
              </a:rPr>
              <a:t>多</a:t>
            </a:r>
            <a:r>
              <a:rPr lang="zh-CN" altLang="en-US" sz="1500" dirty="0" smtClean="0">
                <a:latin typeface="+mn-lt"/>
                <a:ea typeface="+mn-ea"/>
                <a:cs typeface="+mn-ea"/>
                <a:sym typeface="+mn-lt"/>
              </a:rPr>
              <a:t>个节点都拥有相同的数据库结构，但不同分片的数据之间没有交集，所有分区数据的并集构成数据总体。</a:t>
            </a:r>
            <a:endParaRPr lang="en-US" altLang="zh-CN" sz="1500" dirty="0" smtClean="0">
              <a:latin typeface="+mn-lt"/>
              <a:ea typeface="+mn-ea"/>
              <a:cs typeface="+mn-ea"/>
              <a:sym typeface="+mn-lt"/>
            </a:endParaRPr>
          </a:p>
          <a:p>
            <a:pPr lvl="1"/>
            <a:r>
              <a:rPr lang="zh-CN" altLang="en-US" sz="1500" dirty="0" smtClean="0">
                <a:latin typeface="+mn-lt"/>
                <a:ea typeface="+mn-ea"/>
                <a:cs typeface="+mn-ea"/>
                <a:sym typeface="+mn-lt"/>
              </a:rPr>
              <a:t>常见的分片算法有：根据列表值，范围取值和</a:t>
            </a:r>
            <a:r>
              <a:rPr lang="en-US" altLang="zh-CN" sz="1500" dirty="0" smtClean="0">
                <a:latin typeface="+mn-lt"/>
                <a:ea typeface="+mn-ea"/>
                <a:cs typeface="+mn-ea"/>
                <a:sym typeface="+mn-lt"/>
              </a:rPr>
              <a:t>Hash</a:t>
            </a:r>
            <a:r>
              <a:rPr lang="zh-CN" altLang="en-US" sz="1500" dirty="0" smtClean="0">
                <a:latin typeface="+mn-lt"/>
                <a:ea typeface="+mn-ea"/>
                <a:cs typeface="+mn-ea"/>
                <a:sym typeface="+mn-lt"/>
              </a:rPr>
              <a:t>值进行数据分片。</a:t>
            </a:r>
            <a:endParaRPr lang="en-US" altLang="zh-CN" sz="1500" dirty="0">
              <a:latin typeface="+mn-lt"/>
              <a:ea typeface="+mn-ea"/>
              <a:cs typeface="+mn-ea"/>
              <a:sym typeface="+mn-lt"/>
            </a:endParaRPr>
          </a:p>
          <a:p>
            <a:r>
              <a:rPr lang="zh-CN" altLang="en-US" sz="1700" dirty="0" smtClean="0">
                <a:latin typeface="+mn-lt"/>
                <a:ea typeface="+mn-ea"/>
                <a:cs typeface="+mn-ea"/>
                <a:sym typeface="+mn-lt"/>
              </a:rPr>
              <a:t>优点</a:t>
            </a:r>
            <a:endParaRPr lang="en-US" altLang="zh-CN" sz="1700" dirty="0">
              <a:latin typeface="+mn-lt"/>
              <a:ea typeface="+mn-ea"/>
              <a:cs typeface="+mn-ea"/>
              <a:sym typeface="+mn-lt"/>
            </a:endParaRPr>
          </a:p>
          <a:p>
            <a:pPr lvl="1"/>
            <a:r>
              <a:rPr lang="zh-CN" altLang="en-US" sz="1500" dirty="0" smtClean="0">
                <a:latin typeface="+mn-lt"/>
                <a:ea typeface="+mn-ea"/>
                <a:cs typeface="+mn-ea"/>
                <a:sym typeface="+mn-lt"/>
              </a:rPr>
              <a:t>数据分散在集群内的各个节点上，所有节点可以独立性工作</a:t>
            </a:r>
            <a:r>
              <a:rPr lang="zh-CN" altLang="en-US" sz="1500" dirty="0">
                <a:latin typeface="+mn-lt"/>
                <a:ea typeface="+mn-ea"/>
                <a:cs typeface="+mn-ea"/>
                <a:sym typeface="+mn-lt"/>
              </a:rPr>
              <a:t>。</a:t>
            </a:r>
            <a:endParaRPr lang="en-US" altLang="zh-CN" sz="1500" dirty="0" smtClean="0">
              <a:latin typeface="+mn-lt"/>
              <a:ea typeface="+mn-ea"/>
              <a:cs typeface="+mn-ea"/>
              <a:sym typeface="+mn-lt"/>
            </a:endParaRPr>
          </a:p>
        </p:txBody>
      </p:sp>
      <p:sp>
        <p:nvSpPr>
          <p:cNvPr id="5" name="圆角矩形 4"/>
          <p:cNvSpPr/>
          <p:nvPr/>
        </p:nvSpPr>
        <p:spPr bwMode="auto">
          <a:xfrm>
            <a:off x="9849357" y="2775482"/>
            <a:ext cx="1503227" cy="1728192"/>
          </a:xfrm>
          <a:prstGeom prst="round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800">
              <a:cs typeface="+mn-ea"/>
              <a:sym typeface="+mn-lt"/>
            </a:endParaRPr>
          </a:p>
        </p:txBody>
      </p:sp>
      <p:sp>
        <p:nvSpPr>
          <p:cNvPr id="6" name="圆角矩形 5"/>
          <p:cNvSpPr/>
          <p:nvPr/>
        </p:nvSpPr>
        <p:spPr bwMode="auto">
          <a:xfrm>
            <a:off x="7707240" y="2775482"/>
            <a:ext cx="1152130" cy="1728192"/>
          </a:xfrm>
          <a:prstGeom prst="roundRect">
            <a:avLst/>
          </a:prstGeom>
          <a:no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800">
              <a:cs typeface="+mn-ea"/>
              <a:sym typeface="+mn-lt"/>
            </a:endParaRPr>
          </a:p>
        </p:txBody>
      </p:sp>
      <p:sp>
        <p:nvSpPr>
          <p:cNvPr id="7" name="TextBox 74"/>
          <p:cNvSpPr txBox="1"/>
          <p:nvPr/>
        </p:nvSpPr>
        <p:spPr>
          <a:xfrm>
            <a:off x="7810245" y="2065180"/>
            <a:ext cx="978482" cy="646331"/>
          </a:xfrm>
          <a:prstGeom prst="rect">
            <a:avLst/>
          </a:prstGeom>
          <a:noFill/>
        </p:spPr>
        <p:txBody>
          <a:bodyPr wrap="square" rtlCol="0">
            <a:spAutoFit/>
          </a:bodyPr>
          <a:lstStyle/>
          <a:p>
            <a:r>
              <a:rPr lang="en-US" altLang="zh-CN" sz="1200" dirty="0" smtClean="0">
                <a:cs typeface="+mn-ea"/>
                <a:sym typeface="+mn-lt"/>
              </a:rPr>
              <a:t>Hash</a:t>
            </a:r>
            <a:r>
              <a:rPr lang="zh-CN" altLang="en-US" sz="1200" dirty="0" smtClean="0">
                <a:cs typeface="+mn-ea"/>
                <a:sym typeface="+mn-lt"/>
              </a:rPr>
              <a:t>值</a:t>
            </a:r>
            <a:endParaRPr lang="en-US" altLang="zh-CN" sz="1200" dirty="0" smtClean="0">
              <a:cs typeface="+mn-ea"/>
              <a:sym typeface="+mn-lt"/>
            </a:endParaRPr>
          </a:p>
          <a:p>
            <a:r>
              <a:rPr lang="en-US" altLang="zh-CN" sz="1200" dirty="0" smtClean="0">
                <a:cs typeface="+mn-ea"/>
                <a:sym typeface="+mn-lt"/>
              </a:rPr>
              <a:t>List</a:t>
            </a:r>
            <a:r>
              <a:rPr lang="zh-CN" altLang="en-US" sz="1200" dirty="0" smtClean="0">
                <a:cs typeface="+mn-ea"/>
                <a:sym typeface="+mn-lt"/>
              </a:rPr>
              <a:t>值</a:t>
            </a:r>
            <a:endParaRPr lang="en-US" altLang="zh-CN" sz="1200" dirty="0" smtClean="0">
              <a:cs typeface="+mn-ea"/>
              <a:sym typeface="+mn-lt"/>
            </a:endParaRPr>
          </a:p>
          <a:p>
            <a:r>
              <a:rPr lang="en-US" altLang="zh-CN" sz="1200" dirty="0" smtClean="0">
                <a:cs typeface="+mn-ea"/>
                <a:sym typeface="+mn-lt"/>
              </a:rPr>
              <a:t>Range</a:t>
            </a:r>
            <a:r>
              <a:rPr lang="zh-CN" altLang="en-US" sz="1200" dirty="0" smtClean="0">
                <a:cs typeface="+mn-ea"/>
                <a:sym typeface="+mn-lt"/>
              </a:rPr>
              <a:t>区间</a:t>
            </a:r>
            <a:endParaRPr lang="zh-CN" altLang="en-US" sz="1200" dirty="0">
              <a:cs typeface="+mn-ea"/>
              <a:sym typeface="+mn-lt"/>
            </a:endParaRPr>
          </a:p>
        </p:txBody>
      </p:sp>
      <p:sp>
        <p:nvSpPr>
          <p:cNvPr id="8" name="TextBox 79"/>
          <p:cNvSpPr txBox="1"/>
          <p:nvPr/>
        </p:nvSpPr>
        <p:spPr>
          <a:xfrm>
            <a:off x="10029379" y="2781289"/>
            <a:ext cx="1237839" cy="276999"/>
          </a:xfrm>
          <a:prstGeom prst="rect">
            <a:avLst/>
          </a:prstGeom>
          <a:noFill/>
        </p:spPr>
        <p:txBody>
          <a:bodyPr wrap="none" rtlCol="0">
            <a:spAutoFit/>
          </a:bodyPr>
          <a:lstStyle/>
          <a:p>
            <a:r>
              <a:rPr lang="en-US" altLang="zh-CN" sz="1200" dirty="0" smtClean="0">
                <a:cs typeface="+mn-ea"/>
                <a:sym typeface="+mn-lt"/>
              </a:rPr>
              <a:t> col1      col2,…</a:t>
            </a:r>
            <a:endParaRPr lang="zh-CN" altLang="en-US" sz="1200" dirty="0">
              <a:cs typeface="+mn-ea"/>
              <a:sym typeface="+mn-lt"/>
            </a:endParaRPr>
          </a:p>
        </p:txBody>
      </p:sp>
      <p:cxnSp>
        <p:nvCxnSpPr>
          <p:cNvPr id="9" name="直接箭头连接符 8"/>
          <p:cNvCxnSpPr>
            <a:stCxn id="31" idx="1"/>
            <a:endCxn id="26" idx="3"/>
          </p:cNvCxnSpPr>
          <p:nvPr/>
        </p:nvCxnSpPr>
        <p:spPr bwMode="auto">
          <a:xfrm flipH="1" flipV="1">
            <a:off x="8809090" y="3451127"/>
            <a:ext cx="1249149" cy="22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grpSp>
        <p:nvGrpSpPr>
          <p:cNvPr id="10" name="组合 7"/>
          <p:cNvGrpSpPr/>
          <p:nvPr/>
        </p:nvGrpSpPr>
        <p:grpSpPr>
          <a:xfrm>
            <a:off x="5522578" y="1402271"/>
            <a:ext cx="996529" cy="847480"/>
            <a:chOff x="1763688" y="3861048"/>
            <a:chExt cx="1332148" cy="1260140"/>
          </a:xfrm>
        </p:grpSpPr>
        <p:sp>
          <p:nvSpPr>
            <p:cNvPr id="70" name="圆角矩形 69"/>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71" name="TextBox 164"/>
            <p:cNvSpPr txBox="1"/>
            <p:nvPr/>
          </p:nvSpPr>
          <p:spPr>
            <a:xfrm>
              <a:off x="2096725" y="3861048"/>
              <a:ext cx="690435" cy="411877"/>
            </a:xfrm>
            <a:prstGeom prst="rect">
              <a:avLst/>
            </a:prstGeom>
            <a:noFill/>
          </p:spPr>
          <p:txBody>
            <a:bodyPr wrap="none" rtlCol="0">
              <a:spAutoFit/>
            </a:bodyPr>
            <a:lstStyle/>
            <a:p>
              <a:r>
                <a:rPr lang="en-US" altLang="zh-CN" sz="1200" dirty="0" smtClean="0">
                  <a:cs typeface="+mn-ea"/>
                  <a:sym typeface="+mn-lt"/>
                </a:rPr>
                <a:t>DN1</a:t>
              </a:r>
              <a:endParaRPr lang="zh-CN" altLang="en-US" sz="1200" dirty="0">
                <a:cs typeface="+mn-ea"/>
                <a:sym typeface="+mn-lt"/>
              </a:endParaRPr>
            </a:p>
          </p:txBody>
        </p:sp>
      </p:grpSp>
      <p:cxnSp>
        <p:nvCxnSpPr>
          <p:cNvPr id="16" name="直接箭头连接符 15"/>
          <p:cNvCxnSpPr>
            <a:stCxn id="25" idx="1"/>
            <a:endCxn id="22" idx="3"/>
          </p:cNvCxnSpPr>
          <p:nvPr/>
        </p:nvCxnSpPr>
        <p:spPr bwMode="auto">
          <a:xfrm flipH="1" flipV="1">
            <a:off x="6366609" y="1893520"/>
            <a:ext cx="1544647" cy="1272490"/>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17" name="直接箭头连接符 16"/>
          <p:cNvCxnSpPr>
            <a:stCxn id="26" idx="1"/>
            <a:endCxn id="40" idx="3"/>
          </p:cNvCxnSpPr>
          <p:nvPr/>
        </p:nvCxnSpPr>
        <p:spPr bwMode="auto">
          <a:xfrm flipH="1" flipV="1">
            <a:off x="6357497" y="2899569"/>
            <a:ext cx="1553759" cy="551558"/>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18" name="直接箭头连接符 17"/>
          <p:cNvCxnSpPr>
            <a:endCxn id="49" idx="3"/>
          </p:cNvCxnSpPr>
          <p:nvPr/>
        </p:nvCxnSpPr>
        <p:spPr bwMode="auto">
          <a:xfrm flipH="1">
            <a:off x="6322004" y="4423225"/>
            <a:ext cx="1624987" cy="1503720"/>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sp>
        <p:nvSpPr>
          <p:cNvPr id="19" name="TextBox 307"/>
          <p:cNvSpPr txBox="1"/>
          <p:nvPr/>
        </p:nvSpPr>
        <p:spPr>
          <a:xfrm>
            <a:off x="6834022" y="2361982"/>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a:latin typeface="+mn-lt"/>
                <a:ea typeface="+mn-ea"/>
                <a:cs typeface="+mn-ea"/>
                <a:sym typeface="+mn-lt"/>
              </a:rPr>
              <a:t>shard</a:t>
            </a:r>
            <a:endParaRPr lang="zh-CN" altLang="en-US" dirty="0">
              <a:latin typeface="+mn-lt"/>
              <a:ea typeface="+mn-ea"/>
              <a:cs typeface="+mn-ea"/>
              <a:sym typeface="+mn-lt"/>
            </a:endParaRPr>
          </a:p>
        </p:txBody>
      </p:sp>
      <p:sp>
        <p:nvSpPr>
          <p:cNvPr id="21" name="TextBox 317"/>
          <p:cNvSpPr txBox="1"/>
          <p:nvPr/>
        </p:nvSpPr>
        <p:spPr>
          <a:xfrm>
            <a:off x="10333365" y="4519909"/>
            <a:ext cx="734890" cy="307777"/>
          </a:xfrm>
          <a:prstGeom prst="rect">
            <a:avLst/>
          </a:prstGeom>
          <a:noFill/>
        </p:spPr>
        <p:txBody>
          <a:bodyPr wrap="square" rtlCol="0">
            <a:spAutoFit/>
          </a:bodyPr>
          <a:lstStyle/>
          <a:p>
            <a:pPr algn="ctr"/>
            <a:r>
              <a:rPr lang="zh-CN" altLang="en-US" sz="1400" b="1" dirty="0" smtClean="0">
                <a:cs typeface="+mn-ea"/>
                <a:sym typeface="+mn-lt"/>
              </a:rPr>
              <a:t>表</a:t>
            </a:r>
            <a:r>
              <a:rPr lang="en-US" altLang="zh-CN" sz="1400" b="1" dirty="0" smtClean="0">
                <a:cs typeface="+mn-ea"/>
                <a:sym typeface="+mn-lt"/>
              </a:rPr>
              <a:t>T2</a:t>
            </a:r>
            <a:endParaRPr lang="zh-CN" altLang="en-US" sz="1400" b="1" dirty="0">
              <a:cs typeface="+mn-ea"/>
              <a:sym typeface="+mn-lt"/>
            </a:endParaRPr>
          </a:p>
        </p:txBody>
      </p:sp>
      <p:sp>
        <p:nvSpPr>
          <p:cNvPr id="22" name="矩形 21"/>
          <p:cNvSpPr/>
          <p:nvPr/>
        </p:nvSpPr>
        <p:spPr bwMode="auto">
          <a:xfrm>
            <a:off x="5672340" y="1746069"/>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1</a:t>
            </a:r>
            <a:endParaRPr kumimoji="0" lang="zh-CN" altLang="en-US" sz="1200" b="0" i="0" u="none" strike="noStrike" cap="none" normalizeH="0" baseline="0" dirty="0" smtClean="0">
              <a:ln>
                <a:noFill/>
              </a:ln>
              <a:solidFill>
                <a:schemeClr val="tx1"/>
              </a:solidFill>
              <a:effectLst/>
              <a:cs typeface="+mn-ea"/>
              <a:sym typeface="+mn-lt"/>
            </a:endParaRPr>
          </a:p>
        </p:txBody>
      </p:sp>
      <p:sp>
        <p:nvSpPr>
          <p:cNvPr id="25" name="TextBox 96"/>
          <p:cNvSpPr txBox="1"/>
          <p:nvPr/>
        </p:nvSpPr>
        <p:spPr>
          <a:xfrm>
            <a:off x="7911256" y="3027510"/>
            <a:ext cx="897834" cy="276999"/>
          </a:xfrm>
          <a:prstGeom prst="rect">
            <a:avLst/>
          </a:prstGeom>
          <a:noFill/>
        </p:spPr>
        <p:txBody>
          <a:bodyPr wrap="square" rtlCol="0">
            <a:spAutoFit/>
          </a:bodyPr>
          <a:lstStyle/>
          <a:p>
            <a:r>
              <a:rPr lang="en-US" altLang="zh-CN" sz="1200" dirty="0" smtClean="0">
                <a:cs typeface="+mn-ea"/>
                <a:sym typeface="+mn-lt"/>
              </a:rPr>
              <a:t>value 1</a:t>
            </a:r>
            <a:endParaRPr lang="en-US" altLang="zh-CN" sz="1200" dirty="0" smtClean="0">
              <a:cs typeface="+mn-ea"/>
              <a:sym typeface="+mn-lt"/>
            </a:endParaRPr>
          </a:p>
        </p:txBody>
      </p:sp>
      <p:sp>
        <p:nvSpPr>
          <p:cNvPr id="26" name="TextBox 96"/>
          <p:cNvSpPr txBox="1"/>
          <p:nvPr/>
        </p:nvSpPr>
        <p:spPr>
          <a:xfrm>
            <a:off x="7911256" y="3312627"/>
            <a:ext cx="897834" cy="276999"/>
          </a:xfrm>
          <a:prstGeom prst="rect">
            <a:avLst/>
          </a:prstGeom>
          <a:noFill/>
        </p:spPr>
        <p:txBody>
          <a:bodyPr wrap="square" rtlCol="0">
            <a:spAutoFit/>
          </a:bodyPr>
          <a:lstStyle/>
          <a:p>
            <a:r>
              <a:rPr lang="en-US" altLang="zh-CN" sz="1200" dirty="0" smtClean="0">
                <a:cs typeface="+mn-ea"/>
                <a:sym typeface="+mn-lt"/>
              </a:rPr>
              <a:t>value 2</a:t>
            </a:r>
            <a:endParaRPr lang="en-US" altLang="zh-CN" sz="1200" dirty="0" smtClean="0">
              <a:cs typeface="+mn-ea"/>
              <a:sym typeface="+mn-lt"/>
            </a:endParaRPr>
          </a:p>
        </p:txBody>
      </p:sp>
      <p:sp>
        <p:nvSpPr>
          <p:cNvPr id="27" name="TextBox 96"/>
          <p:cNvSpPr txBox="1"/>
          <p:nvPr/>
        </p:nvSpPr>
        <p:spPr>
          <a:xfrm>
            <a:off x="7911256" y="3597744"/>
            <a:ext cx="897834" cy="276999"/>
          </a:xfrm>
          <a:prstGeom prst="rect">
            <a:avLst/>
          </a:prstGeom>
          <a:noFill/>
        </p:spPr>
        <p:txBody>
          <a:bodyPr wrap="square" rtlCol="0">
            <a:spAutoFit/>
          </a:bodyPr>
          <a:lstStyle/>
          <a:p>
            <a:r>
              <a:rPr lang="en-US" altLang="zh-CN" sz="1200" dirty="0" smtClean="0">
                <a:cs typeface="+mn-ea"/>
                <a:sym typeface="+mn-lt"/>
              </a:rPr>
              <a:t>value 3</a:t>
            </a:r>
            <a:endParaRPr lang="en-US" altLang="zh-CN" sz="1200" dirty="0" smtClean="0">
              <a:cs typeface="+mn-ea"/>
              <a:sym typeface="+mn-lt"/>
            </a:endParaRPr>
          </a:p>
        </p:txBody>
      </p:sp>
      <p:sp>
        <p:nvSpPr>
          <p:cNvPr id="28" name="TextBox 96"/>
          <p:cNvSpPr txBox="1"/>
          <p:nvPr/>
        </p:nvSpPr>
        <p:spPr>
          <a:xfrm>
            <a:off x="7911256" y="4167977"/>
            <a:ext cx="897834" cy="276999"/>
          </a:xfrm>
          <a:prstGeom prst="rect">
            <a:avLst/>
          </a:prstGeom>
          <a:noFill/>
        </p:spPr>
        <p:txBody>
          <a:bodyPr wrap="square" rtlCol="0">
            <a:spAutoFit/>
          </a:bodyPr>
          <a:lstStyle/>
          <a:p>
            <a:r>
              <a:rPr lang="en-US" altLang="zh-CN" sz="1200" dirty="0" smtClean="0">
                <a:cs typeface="+mn-ea"/>
                <a:sym typeface="+mn-lt"/>
              </a:rPr>
              <a:t>value n</a:t>
            </a:r>
            <a:endParaRPr lang="en-US" altLang="zh-CN" sz="1200" dirty="0" smtClean="0">
              <a:cs typeface="+mn-ea"/>
              <a:sym typeface="+mn-lt"/>
            </a:endParaRPr>
          </a:p>
        </p:txBody>
      </p:sp>
      <p:sp>
        <p:nvSpPr>
          <p:cNvPr id="29" name="TextBox 96"/>
          <p:cNvSpPr txBox="1"/>
          <p:nvPr/>
        </p:nvSpPr>
        <p:spPr>
          <a:xfrm>
            <a:off x="7911256" y="3882861"/>
            <a:ext cx="550253" cy="276999"/>
          </a:xfrm>
          <a:prstGeom prst="rect">
            <a:avLst/>
          </a:prstGeom>
          <a:noFill/>
        </p:spPr>
        <p:txBody>
          <a:bodyPr wrap="square" rtlCol="0">
            <a:spAutoFit/>
          </a:bodyPr>
          <a:lstStyle/>
          <a:p>
            <a:r>
              <a:rPr lang="en-US" altLang="zh-CN" sz="1200" dirty="0" smtClean="0">
                <a:cs typeface="+mn-ea"/>
                <a:sym typeface="+mn-lt"/>
              </a:rPr>
              <a:t>……</a:t>
            </a:r>
            <a:endParaRPr lang="en-US" altLang="zh-CN" sz="1200" dirty="0" smtClean="0">
              <a:cs typeface="+mn-ea"/>
              <a:sym typeface="+mn-lt"/>
            </a:endParaRPr>
          </a:p>
        </p:txBody>
      </p:sp>
      <p:sp>
        <p:nvSpPr>
          <p:cNvPr id="30" name="TextBox 96"/>
          <p:cNvSpPr txBox="1"/>
          <p:nvPr/>
        </p:nvSpPr>
        <p:spPr>
          <a:xfrm>
            <a:off x="10045907" y="3035628"/>
            <a:ext cx="897834" cy="276999"/>
          </a:xfrm>
          <a:prstGeom prst="rect">
            <a:avLst/>
          </a:prstGeom>
          <a:noFill/>
        </p:spPr>
        <p:txBody>
          <a:bodyPr wrap="square" rtlCol="0">
            <a:spAutoFit/>
          </a:bodyPr>
          <a:lstStyle/>
          <a:p>
            <a:r>
              <a:rPr lang="en-US" altLang="zh-CN" sz="1200" dirty="0" smtClean="0">
                <a:cs typeface="+mn-ea"/>
                <a:sym typeface="+mn-lt"/>
              </a:rPr>
              <a:t>data1</a:t>
            </a:r>
            <a:endParaRPr lang="en-US" altLang="zh-CN" sz="1200" dirty="0" smtClean="0">
              <a:cs typeface="+mn-ea"/>
              <a:sym typeface="+mn-lt"/>
            </a:endParaRPr>
          </a:p>
        </p:txBody>
      </p:sp>
      <p:sp>
        <p:nvSpPr>
          <p:cNvPr id="31" name="TextBox 96"/>
          <p:cNvSpPr txBox="1"/>
          <p:nvPr/>
        </p:nvSpPr>
        <p:spPr>
          <a:xfrm>
            <a:off x="10058239" y="3335321"/>
            <a:ext cx="897834" cy="276999"/>
          </a:xfrm>
          <a:prstGeom prst="rect">
            <a:avLst/>
          </a:prstGeom>
          <a:noFill/>
        </p:spPr>
        <p:txBody>
          <a:bodyPr wrap="square" rtlCol="0">
            <a:spAutoFit/>
          </a:bodyPr>
          <a:lstStyle/>
          <a:p>
            <a:r>
              <a:rPr lang="en-US" altLang="zh-CN" sz="1200" dirty="0" smtClean="0">
                <a:cs typeface="+mn-ea"/>
                <a:sym typeface="+mn-lt"/>
              </a:rPr>
              <a:t>data2</a:t>
            </a:r>
            <a:endParaRPr lang="en-US" altLang="zh-CN" sz="1200" dirty="0" smtClean="0">
              <a:cs typeface="+mn-ea"/>
              <a:sym typeface="+mn-lt"/>
            </a:endParaRPr>
          </a:p>
        </p:txBody>
      </p:sp>
      <p:sp>
        <p:nvSpPr>
          <p:cNvPr id="32" name="TextBox 96"/>
          <p:cNvSpPr txBox="1"/>
          <p:nvPr/>
        </p:nvSpPr>
        <p:spPr>
          <a:xfrm>
            <a:off x="10058239" y="3620438"/>
            <a:ext cx="897834" cy="276999"/>
          </a:xfrm>
          <a:prstGeom prst="rect">
            <a:avLst/>
          </a:prstGeom>
          <a:noFill/>
        </p:spPr>
        <p:txBody>
          <a:bodyPr wrap="square" rtlCol="0">
            <a:spAutoFit/>
          </a:bodyPr>
          <a:lstStyle/>
          <a:p>
            <a:r>
              <a:rPr lang="en-US" altLang="zh-CN" sz="1200" dirty="0" smtClean="0">
                <a:cs typeface="+mn-ea"/>
                <a:sym typeface="+mn-lt"/>
              </a:rPr>
              <a:t>data3</a:t>
            </a:r>
            <a:endParaRPr lang="en-US" altLang="zh-CN" sz="1200" dirty="0" smtClean="0">
              <a:cs typeface="+mn-ea"/>
              <a:sym typeface="+mn-lt"/>
            </a:endParaRPr>
          </a:p>
        </p:txBody>
      </p:sp>
      <p:sp>
        <p:nvSpPr>
          <p:cNvPr id="33" name="TextBox 96"/>
          <p:cNvSpPr txBox="1"/>
          <p:nvPr/>
        </p:nvSpPr>
        <p:spPr>
          <a:xfrm>
            <a:off x="10058239" y="4190671"/>
            <a:ext cx="897834" cy="276999"/>
          </a:xfrm>
          <a:prstGeom prst="rect">
            <a:avLst/>
          </a:prstGeom>
          <a:noFill/>
        </p:spPr>
        <p:txBody>
          <a:bodyPr wrap="square" rtlCol="0">
            <a:spAutoFit/>
          </a:bodyPr>
          <a:lstStyle/>
          <a:p>
            <a:r>
              <a:rPr lang="en-US" altLang="zh-CN" sz="1200" dirty="0" err="1" smtClean="0">
                <a:cs typeface="+mn-ea"/>
                <a:sym typeface="+mn-lt"/>
              </a:rPr>
              <a:t>datan</a:t>
            </a:r>
            <a:endParaRPr lang="en-US" altLang="zh-CN" sz="1200" dirty="0" smtClean="0">
              <a:cs typeface="+mn-ea"/>
              <a:sym typeface="+mn-lt"/>
            </a:endParaRPr>
          </a:p>
        </p:txBody>
      </p:sp>
      <p:sp>
        <p:nvSpPr>
          <p:cNvPr id="34" name="TextBox 96"/>
          <p:cNvSpPr txBox="1"/>
          <p:nvPr/>
        </p:nvSpPr>
        <p:spPr>
          <a:xfrm>
            <a:off x="10058239" y="3905555"/>
            <a:ext cx="550253" cy="276999"/>
          </a:xfrm>
          <a:prstGeom prst="rect">
            <a:avLst/>
          </a:prstGeom>
          <a:noFill/>
        </p:spPr>
        <p:txBody>
          <a:bodyPr wrap="square" rtlCol="0">
            <a:spAutoFit/>
          </a:bodyPr>
          <a:lstStyle/>
          <a:p>
            <a:r>
              <a:rPr lang="en-US" altLang="zh-CN" sz="1200" dirty="0" smtClean="0">
                <a:cs typeface="+mn-ea"/>
                <a:sym typeface="+mn-lt"/>
              </a:rPr>
              <a:t>……</a:t>
            </a:r>
            <a:endParaRPr lang="en-US" altLang="zh-CN" sz="1200" dirty="0" smtClean="0">
              <a:cs typeface="+mn-ea"/>
              <a:sym typeface="+mn-lt"/>
            </a:endParaRPr>
          </a:p>
        </p:txBody>
      </p:sp>
      <p:cxnSp>
        <p:nvCxnSpPr>
          <p:cNvPr id="35" name="直接箭头连接符 34"/>
          <p:cNvCxnSpPr>
            <a:stCxn id="30" idx="1"/>
            <a:endCxn id="25" idx="3"/>
          </p:cNvCxnSpPr>
          <p:nvPr/>
        </p:nvCxnSpPr>
        <p:spPr bwMode="auto">
          <a:xfrm flipH="1" flipV="1">
            <a:off x="8809090" y="3166010"/>
            <a:ext cx="1236817" cy="811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6" name="直接箭头连接符 35"/>
          <p:cNvCxnSpPr>
            <a:stCxn id="32" idx="1"/>
            <a:endCxn id="27" idx="3"/>
          </p:cNvCxnSpPr>
          <p:nvPr/>
        </p:nvCxnSpPr>
        <p:spPr bwMode="auto">
          <a:xfrm flipH="1" flipV="1">
            <a:off x="8809090" y="3736244"/>
            <a:ext cx="1249149" cy="22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7" name="直接箭头连接符 36"/>
          <p:cNvCxnSpPr>
            <a:stCxn id="33" idx="1"/>
            <a:endCxn id="28" idx="3"/>
          </p:cNvCxnSpPr>
          <p:nvPr/>
        </p:nvCxnSpPr>
        <p:spPr bwMode="auto">
          <a:xfrm flipH="1" flipV="1">
            <a:off x="8809090" y="4306477"/>
            <a:ext cx="1249149" cy="22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8" name="流程图: 可选过程 37"/>
          <p:cNvSpPr/>
          <p:nvPr/>
        </p:nvSpPr>
        <p:spPr bwMode="auto">
          <a:xfrm>
            <a:off x="9088188" y="2969949"/>
            <a:ext cx="608212" cy="1431159"/>
          </a:xfrm>
          <a:prstGeom prst="flowChartAlternateProcess">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p>
            <a:pPr algn="ctr"/>
            <a:r>
              <a:rPr lang="zh-CN" altLang="en-US" sz="1400" b="1" dirty="0" smtClean="0">
                <a:cs typeface="+mn-ea"/>
                <a:sym typeface="+mn-lt"/>
              </a:rPr>
              <a:t>函数映射</a:t>
            </a:r>
            <a:endParaRPr lang="en-US" altLang="zh-CN" sz="1400" b="1" dirty="0" smtClean="0">
              <a:cs typeface="+mn-ea"/>
              <a:sym typeface="+mn-lt"/>
            </a:endParaRPr>
          </a:p>
          <a:p>
            <a:pPr algn="ctr"/>
            <a:r>
              <a:rPr lang="en-US" altLang="zh-CN" sz="1200" dirty="0" smtClean="0">
                <a:cs typeface="+mn-ea"/>
                <a:sym typeface="+mn-lt"/>
              </a:rPr>
              <a:t>(Hash</a:t>
            </a:r>
            <a:r>
              <a:rPr lang="zh-CN" altLang="en-US" sz="1200" dirty="0" smtClean="0">
                <a:cs typeface="+mn-ea"/>
                <a:sym typeface="+mn-lt"/>
              </a:rPr>
              <a:t>、区间、</a:t>
            </a:r>
            <a:r>
              <a:rPr lang="en-US" altLang="zh-CN" sz="1200" dirty="0" smtClean="0">
                <a:cs typeface="+mn-ea"/>
                <a:sym typeface="+mn-lt"/>
              </a:rPr>
              <a:t>List</a:t>
            </a:r>
            <a:r>
              <a:rPr lang="zh-CN" altLang="en-US" sz="1200" dirty="0" smtClean="0">
                <a:cs typeface="+mn-ea"/>
                <a:sym typeface="+mn-lt"/>
              </a:rPr>
              <a:t>）</a:t>
            </a:r>
            <a:endParaRPr lang="zh-CN" altLang="en-US" sz="1200" dirty="0">
              <a:cs typeface="+mn-ea"/>
              <a:sym typeface="+mn-lt"/>
            </a:endParaRPr>
          </a:p>
        </p:txBody>
      </p:sp>
      <p:grpSp>
        <p:nvGrpSpPr>
          <p:cNvPr id="39" name="组合 7"/>
          <p:cNvGrpSpPr/>
          <p:nvPr/>
        </p:nvGrpSpPr>
        <p:grpSpPr>
          <a:xfrm>
            <a:off x="5512099" y="2409684"/>
            <a:ext cx="996529" cy="847480"/>
            <a:chOff x="1763688" y="3861048"/>
            <a:chExt cx="1332148" cy="1260140"/>
          </a:xfrm>
        </p:grpSpPr>
        <p:sp>
          <p:nvSpPr>
            <p:cNvPr id="68" name="圆角矩形 67"/>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69"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2</a:t>
              </a:r>
              <a:endParaRPr lang="zh-CN" altLang="en-US" sz="1200" dirty="0">
                <a:cs typeface="+mn-ea"/>
                <a:sym typeface="+mn-lt"/>
              </a:endParaRPr>
            </a:p>
          </p:txBody>
        </p:sp>
      </p:grpSp>
      <p:sp>
        <p:nvSpPr>
          <p:cNvPr id="40" name="矩形 39"/>
          <p:cNvSpPr/>
          <p:nvPr/>
        </p:nvSpPr>
        <p:spPr bwMode="auto">
          <a:xfrm>
            <a:off x="5663228" y="2752118"/>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2</a:t>
            </a:r>
            <a:endParaRPr kumimoji="0" lang="zh-CN" altLang="en-US" sz="1200" b="0" i="0" u="none" strike="noStrike" cap="none" normalizeH="0" baseline="0" dirty="0" smtClean="0">
              <a:ln>
                <a:noFill/>
              </a:ln>
              <a:solidFill>
                <a:schemeClr val="tx1"/>
              </a:solidFill>
              <a:effectLst/>
              <a:cs typeface="+mn-ea"/>
              <a:sym typeface="+mn-lt"/>
            </a:endParaRPr>
          </a:p>
        </p:txBody>
      </p:sp>
      <p:grpSp>
        <p:nvGrpSpPr>
          <p:cNvPr id="42" name="组合 7"/>
          <p:cNvGrpSpPr/>
          <p:nvPr/>
        </p:nvGrpSpPr>
        <p:grpSpPr>
          <a:xfrm>
            <a:off x="5476606" y="3430688"/>
            <a:ext cx="996529" cy="847480"/>
            <a:chOff x="1763688" y="3861048"/>
            <a:chExt cx="1332148" cy="1260140"/>
          </a:xfrm>
        </p:grpSpPr>
        <p:sp>
          <p:nvSpPr>
            <p:cNvPr id="66" name="圆角矩形 65"/>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67"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3</a:t>
              </a:r>
              <a:endParaRPr lang="zh-CN" altLang="en-US" sz="1200" dirty="0">
                <a:cs typeface="+mn-ea"/>
                <a:sym typeface="+mn-lt"/>
              </a:endParaRPr>
            </a:p>
          </p:txBody>
        </p:sp>
      </p:grpSp>
      <p:sp>
        <p:nvSpPr>
          <p:cNvPr id="43" name="矩形 42"/>
          <p:cNvSpPr/>
          <p:nvPr/>
        </p:nvSpPr>
        <p:spPr bwMode="auto">
          <a:xfrm>
            <a:off x="5638992" y="3774673"/>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3</a:t>
            </a:r>
            <a:endParaRPr kumimoji="0" lang="zh-CN" altLang="en-US" sz="1200" b="0" i="0" u="none" strike="noStrike" cap="none" normalizeH="0" baseline="0" dirty="0" smtClean="0">
              <a:ln>
                <a:noFill/>
              </a:ln>
              <a:solidFill>
                <a:schemeClr val="tx1"/>
              </a:solidFill>
              <a:effectLst/>
              <a:cs typeface="+mn-ea"/>
              <a:sym typeface="+mn-lt"/>
            </a:endParaRPr>
          </a:p>
        </p:txBody>
      </p:sp>
      <p:grpSp>
        <p:nvGrpSpPr>
          <p:cNvPr id="45" name="组合 7"/>
          <p:cNvGrpSpPr/>
          <p:nvPr/>
        </p:nvGrpSpPr>
        <p:grpSpPr>
          <a:xfrm>
            <a:off x="5498438" y="4405516"/>
            <a:ext cx="996529" cy="847480"/>
            <a:chOff x="1763688" y="3861048"/>
            <a:chExt cx="1332148" cy="1260140"/>
          </a:xfrm>
        </p:grpSpPr>
        <p:sp>
          <p:nvSpPr>
            <p:cNvPr id="64" name="圆角矩形 63"/>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65"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4</a:t>
              </a:r>
              <a:endParaRPr lang="zh-CN" altLang="en-US" sz="1200" dirty="0">
                <a:cs typeface="+mn-ea"/>
                <a:sym typeface="+mn-lt"/>
              </a:endParaRPr>
            </a:p>
          </p:txBody>
        </p:sp>
      </p:grpSp>
      <p:sp>
        <p:nvSpPr>
          <p:cNvPr id="46" name="矩形 45"/>
          <p:cNvSpPr/>
          <p:nvPr/>
        </p:nvSpPr>
        <p:spPr bwMode="auto">
          <a:xfrm>
            <a:off x="5627735" y="4719075"/>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4</a:t>
            </a:r>
            <a:endParaRPr kumimoji="0" lang="zh-CN" altLang="en-US" sz="1200" b="0" i="0" u="none" strike="noStrike" cap="none" normalizeH="0" baseline="0" dirty="0" smtClean="0">
              <a:ln>
                <a:noFill/>
              </a:ln>
              <a:solidFill>
                <a:schemeClr val="tx1"/>
              </a:solidFill>
              <a:effectLst/>
              <a:cs typeface="+mn-ea"/>
              <a:sym typeface="+mn-lt"/>
            </a:endParaRPr>
          </a:p>
        </p:txBody>
      </p:sp>
      <p:grpSp>
        <p:nvGrpSpPr>
          <p:cNvPr id="48" name="组合 7"/>
          <p:cNvGrpSpPr/>
          <p:nvPr/>
        </p:nvGrpSpPr>
        <p:grpSpPr>
          <a:xfrm>
            <a:off x="5469247" y="5451471"/>
            <a:ext cx="996529" cy="847480"/>
            <a:chOff x="1763688" y="3861048"/>
            <a:chExt cx="1332148" cy="1260140"/>
          </a:xfrm>
        </p:grpSpPr>
        <p:sp>
          <p:nvSpPr>
            <p:cNvPr id="62" name="圆角矩形 61"/>
            <p:cNvSpPr/>
            <p:nvPr/>
          </p:nvSpPr>
          <p:spPr bwMode="auto">
            <a:xfrm>
              <a:off x="1763688" y="3861048"/>
              <a:ext cx="1332148" cy="1260140"/>
            </a:xfrm>
            <a:prstGeom prst="roundRect">
              <a:avLst/>
            </a:prstGeom>
            <a:solidFill>
              <a:schemeClr val="accent5">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200" b="0" i="0" u="none" strike="noStrike" cap="none" normalizeH="0" baseline="0" dirty="0" smtClean="0">
                <a:ln>
                  <a:noFill/>
                </a:ln>
                <a:solidFill>
                  <a:schemeClr val="tx1"/>
                </a:solidFill>
                <a:effectLst/>
                <a:cs typeface="+mn-ea"/>
                <a:sym typeface="+mn-lt"/>
              </a:endParaRPr>
            </a:p>
          </p:txBody>
        </p:sp>
        <p:sp>
          <p:nvSpPr>
            <p:cNvPr id="63" name="TextBox 164"/>
            <p:cNvSpPr txBox="1"/>
            <p:nvPr/>
          </p:nvSpPr>
          <p:spPr>
            <a:xfrm>
              <a:off x="2096725" y="3861048"/>
              <a:ext cx="669006" cy="411877"/>
            </a:xfrm>
            <a:prstGeom prst="rect">
              <a:avLst/>
            </a:prstGeom>
            <a:noFill/>
          </p:spPr>
          <p:txBody>
            <a:bodyPr wrap="none" rtlCol="0">
              <a:spAutoFit/>
            </a:bodyPr>
            <a:lstStyle/>
            <a:p>
              <a:r>
                <a:rPr lang="en-US" altLang="zh-CN" sz="1200" dirty="0" smtClean="0">
                  <a:cs typeface="+mn-ea"/>
                  <a:sym typeface="+mn-lt"/>
                </a:rPr>
                <a:t>DN5</a:t>
              </a:r>
              <a:endParaRPr lang="zh-CN" altLang="en-US" sz="1200" dirty="0">
                <a:cs typeface="+mn-ea"/>
                <a:sym typeface="+mn-lt"/>
              </a:endParaRPr>
            </a:p>
          </p:txBody>
        </p:sp>
      </p:grpSp>
      <p:sp>
        <p:nvSpPr>
          <p:cNvPr id="49" name="矩形 48"/>
          <p:cNvSpPr/>
          <p:nvPr/>
        </p:nvSpPr>
        <p:spPr bwMode="auto">
          <a:xfrm>
            <a:off x="5627735" y="5779494"/>
            <a:ext cx="694269" cy="294901"/>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b="0" i="0" u="none" strike="noStrike" cap="none" normalizeH="0" baseline="0" dirty="0" smtClean="0">
                <a:ln>
                  <a:noFill/>
                </a:ln>
                <a:solidFill>
                  <a:schemeClr val="tx1"/>
                </a:solidFill>
                <a:effectLst/>
                <a:cs typeface="+mn-ea"/>
                <a:sym typeface="+mn-lt"/>
              </a:rPr>
              <a:t>T2.p5</a:t>
            </a:r>
            <a:endParaRPr kumimoji="0" lang="zh-CN" altLang="en-US" sz="1200" b="0" i="0" u="none" strike="noStrike" cap="none" normalizeH="0" baseline="0" dirty="0" smtClean="0">
              <a:ln>
                <a:noFill/>
              </a:ln>
              <a:solidFill>
                <a:schemeClr val="tx1"/>
              </a:solidFill>
              <a:effectLst/>
              <a:cs typeface="+mn-ea"/>
              <a:sym typeface="+mn-lt"/>
            </a:endParaRPr>
          </a:p>
        </p:txBody>
      </p:sp>
      <p:cxnSp>
        <p:nvCxnSpPr>
          <p:cNvPr id="51" name="直接箭头连接符 50"/>
          <p:cNvCxnSpPr>
            <a:stCxn id="27" idx="1"/>
            <a:endCxn id="43" idx="3"/>
          </p:cNvCxnSpPr>
          <p:nvPr/>
        </p:nvCxnSpPr>
        <p:spPr bwMode="auto">
          <a:xfrm flipH="1">
            <a:off x="6333261" y="3736244"/>
            <a:ext cx="1577995" cy="185880"/>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cxnSp>
        <p:nvCxnSpPr>
          <p:cNvPr id="52" name="直接箭头连接符 51"/>
          <p:cNvCxnSpPr>
            <a:stCxn id="29" idx="1"/>
            <a:endCxn id="46" idx="3"/>
          </p:cNvCxnSpPr>
          <p:nvPr/>
        </p:nvCxnSpPr>
        <p:spPr bwMode="auto">
          <a:xfrm flipH="1">
            <a:off x="6322004" y="4021361"/>
            <a:ext cx="1589252" cy="845165"/>
          </a:xfrm>
          <a:prstGeom prst="straightConnector1">
            <a:avLst/>
          </a:prstGeom>
          <a:solidFill>
            <a:schemeClr val="accent1"/>
          </a:solidFill>
          <a:ln w="19050" cap="flat" cmpd="sng" algn="ctr">
            <a:solidFill>
              <a:srgbClr val="0070C0"/>
            </a:solidFill>
            <a:prstDash val="solid"/>
            <a:round/>
            <a:headEnd type="none" w="med" len="med"/>
            <a:tailEnd type="arrow"/>
          </a:ln>
          <a:effectLst/>
        </p:spPr>
      </p:cxnSp>
      <p:sp>
        <p:nvSpPr>
          <p:cNvPr id="53" name="TextBox 307"/>
          <p:cNvSpPr txBox="1"/>
          <p:nvPr/>
        </p:nvSpPr>
        <p:spPr>
          <a:xfrm>
            <a:off x="6793908" y="3056043"/>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a:latin typeface="+mn-lt"/>
                <a:ea typeface="+mn-ea"/>
                <a:cs typeface="+mn-ea"/>
                <a:sym typeface="+mn-lt"/>
              </a:rPr>
              <a:t>shard</a:t>
            </a:r>
            <a:endParaRPr lang="zh-CN" altLang="en-US" dirty="0">
              <a:latin typeface="+mn-lt"/>
              <a:ea typeface="+mn-ea"/>
              <a:cs typeface="+mn-ea"/>
              <a:sym typeface="+mn-lt"/>
            </a:endParaRPr>
          </a:p>
        </p:txBody>
      </p:sp>
      <p:sp>
        <p:nvSpPr>
          <p:cNvPr id="54" name="TextBox 307"/>
          <p:cNvSpPr txBox="1"/>
          <p:nvPr/>
        </p:nvSpPr>
        <p:spPr>
          <a:xfrm>
            <a:off x="6805516" y="3711581"/>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a:latin typeface="+mn-lt"/>
                <a:ea typeface="+mn-ea"/>
                <a:cs typeface="+mn-ea"/>
                <a:sym typeface="+mn-lt"/>
              </a:rPr>
              <a:t>shard</a:t>
            </a:r>
            <a:endParaRPr lang="zh-CN" altLang="en-US" dirty="0">
              <a:latin typeface="+mn-lt"/>
              <a:ea typeface="+mn-ea"/>
              <a:cs typeface="+mn-ea"/>
              <a:sym typeface="+mn-lt"/>
            </a:endParaRPr>
          </a:p>
        </p:txBody>
      </p:sp>
      <p:sp>
        <p:nvSpPr>
          <p:cNvPr id="55" name="TextBox 307"/>
          <p:cNvSpPr txBox="1"/>
          <p:nvPr/>
        </p:nvSpPr>
        <p:spPr>
          <a:xfrm>
            <a:off x="6833275" y="4364422"/>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a:latin typeface="+mn-lt"/>
                <a:ea typeface="+mn-ea"/>
                <a:cs typeface="+mn-ea"/>
                <a:sym typeface="+mn-lt"/>
              </a:rPr>
              <a:t>shard</a:t>
            </a:r>
            <a:endParaRPr lang="zh-CN" altLang="en-US" dirty="0">
              <a:latin typeface="+mn-lt"/>
              <a:ea typeface="+mn-ea"/>
              <a:cs typeface="+mn-ea"/>
              <a:sym typeface="+mn-lt"/>
            </a:endParaRPr>
          </a:p>
        </p:txBody>
      </p:sp>
      <p:sp>
        <p:nvSpPr>
          <p:cNvPr id="56" name="TextBox 307"/>
          <p:cNvSpPr txBox="1"/>
          <p:nvPr/>
        </p:nvSpPr>
        <p:spPr>
          <a:xfrm>
            <a:off x="6833275" y="5113214"/>
            <a:ext cx="554589" cy="227485"/>
          </a:xfrm>
          <a:prstGeom prst="rect">
            <a:avLst/>
          </a:prstGeom>
          <a:solidFill>
            <a:srgbClr val="A3E7FF"/>
          </a:solidFill>
          <a:ln w="28575" cap="flat" cmpd="sng" algn="ctr">
            <a:solidFill>
              <a:srgbClr val="00669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36000" tIns="7200" rIns="36000" bIns="7200" numCol="1" spcCol="0" rtlCol="0" fromWordArt="0" anchor="ctr" anchorCtr="1" forceAA="0" compatLnSpc="1">
            <a:noAutofit/>
          </a:bodyPr>
          <a:lstStyle>
            <a:defPPr>
              <a:defRPr lang="zh-CN"/>
            </a:defPPr>
            <a:lvl1pPr algn="ctr">
              <a:defRPr sz="1200">
                <a:latin typeface="微软雅黑" panose="020B0503020204020204" pitchFamily="34" charset="-122"/>
                <a:ea typeface="微软雅黑" panose="020B0503020204020204" pitchFamily="34" charset="-122"/>
              </a:defRPr>
            </a:lvl1pPr>
          </a:lstStyle>
          <a:p>
            <a:r>
              <a:rPr lang="en-US" altLang="zh-CN" dirty="0">
                <a:latin typeface="+mn-lt"/>
                <a:ea typeface="+mn-ea"/>
                <a:cs typeface="+mn-ea"/>
                <a:sym typeface="+mn-lt"/>
              </a:rPr>
              <a:t>shard</a:t>
            </a:r>
            <a:endParaRPr lang="zh-CN" altLang="en-US" dirty="0">
              <a:latin typeface="+mn-lt"/>
              <a:ea typeface="+mn-ea"/>
              <a:cs typeface="+mn-ea"/>
              <a:sym typeface="+mn-lt"/>
            </a:endParaRPr>
          </a:p>
        </p:txBody>
      </p:sp>
      <p:sp>
        <p:nvSpPr>
          <p:cNvPr id="77" name="TextBox 317"/>
          <p:cNvSpPr txBox="1"/>
          <p:nvPr/>
        </p:nvSpPr>
        <p:spPr>
          <a:xfrm>
            <a:off x="9849357" y="2326352"/>
            <a:ext cx="953036" cy="276999"/>
          </a:xfrm>
          <a:prstGeom prst="rect">
            <a:avLst/>
          </a:prstGeom>
          <a:noFill/>
        </p:spPr>
        <p:txBody>
          <a:bodyPr wrap="square" rtlCol="0">
            <a:spAutoFit/>
          </a:bodyPr>
          <a:lstStyle/>
          <a:p>
            <a:pPr algn="ctr"/>
            <a:r>
              <a:rPr lang="zh-CN" altLang="en-US" sz="1200" b="1" dirty="0" smtClean="0">
                <a:cs typeface="+mn-ea"/>
                <a:sym typeface="+mn-lt"/>
              </a:rPr>
              <a:t>分片字段</a:t>
            </a:r>
            <a:endParaRPr lang="zh-CN" altLang="en-US" sz="1200" b="1" dirty="0">
              <a:cs typeface="+mn-ea"/>
              <a:sym typeface="+mn-lt"/>
            </a:endParaRPr>
          </a:p>
        </p:txBody>
      </p:sp>
      <p:cxnSp>
        <p:nvCxnSpPr>
          <p:cNvPr id="78" name="直接箭头连接符 77"/>
          <p:cNvCxnSpPr>
            <a:stCxn id="77" idx="2"/>
          </p:cNvCxnSpPr>
          <p:nvPr/>
        </p:nvCxnSpPr>
        <p:spPr bwMode="auto">
          <a:xfrm>
            <a:off x="10325875" y="2603351"/>
            <a:ext cx="0" cy="263574"/>
          </a:xfrm>
          <a:prstGeom prst="straightConnector1">
            <a:avLst/>
          </a:prstGeom>
          <a:solidFill>
            <a:schemeClr val="accent1"/>
          </a:solidFill>
          <a:ln w="28575" cap="flat" cmpd="sng" algn="ctr">
            <a:solidFill>
              <a:srgbClr val="990000"/>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无共享</a:t>
            </a:r>
            <a:r>
              <a:rPr lang="en-US" altLang="zh-CN" dirty="0" smtClean="0">
                <a:latin typeface="+mn-lt"/>
                <a:ea typeface="+mn-ea"/>
                <a:cs typeface="+mn-ea"/>
                <a:sym typeface="+mn-lt"/>
              </a:rPr>
              <a:t>(Shared-Nothing)</a:t>
            </a:r>
            <a:r>
              <a:rPr lang="zh-CN" altLang="en-US" dirty="0" smtClean="0">
                <a:latin typeface="+mn-lt"/>
                <a:ea typeface="+mn-ea"/>
                <a:cs typeface="+mn-ea"/>
                <a:sym typeface="+mn-lt"/>
              </a:rPr>
              <a:t>架构</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2913" y="1233488"/>
            <a:ext cx="6161087" cy="4680000"/>
          </a:xfrm>
        </p:spPr>
        <p:txBody>
          <a:bodyPr>
            <a:normAutofit/>
          </a:bodyPr>
          <a:lstStyle/>
          <a:p>
            <a:r>
              <a:rPr lang="zh-CN" altLang="en-US" sz="2000" dirty="0" smtClean="0">
                <a:latin typeface="+mn-lt"/>
                <a:ea typeface="+mn-ea"/>
                <a:cs typeface="+mn-ea"/>
                <a:sym typeface="+mn-lt"/>
              </a:rPr>
              <a:t>无共享架构</a:t>
            </a:r>
            <a:endParaRPr lang="en-US" altLang="zh-CN" sz="2000" dirty="0" smtClean="0">
              <a:latin typeface="+mn-lt"/>
              <a:ea typeface="+mn-ea"/>
              <a:cs typeface="+mn-ea"/>
              <a:sym typeface="+mn-lt"/>
            </a:endParaRPr>
          </a:p>
          <a:p>
            <a:pPr lvl="1"/>
            <a:r>
              <a:rPr lang="zh-CN" altLang="en-US" sz="1600" dirty="0" smtClean="0">
                <a:latin typeface="+mn-lt"/>
                <a:ea typeface="+mn-ea"/>
                <a:cs typeface="+mn-ea"/>
                <a:sym typeface="+mn-lt"/>
              </a:rPr>
              <a:t>集群中每一个节点（处理单元）都完全拥有自己独立的</a:t>
            </a:r>
            <a:r>
              <a:rPr lang="en-US" altLang="zh-CN" sz="1600" dirty="0" smtClean="0">
                <a:latin typeface="+mn-lt"/>
                <a:ea typeface="+mn-ea"/>
                <a:cs typeface="+mn-ea"/>
                <a:sym typeface="+mn-lt"/>
              </a:rPr>
              <a:t>CPU/</a:t>
            </a:r>
            <a:r>
              <a:rPr lang="zh-CN" altLang="en-US" sz="1600" dirty="0" smtClean="0">
                <a:latin typeface="+mn-lt"/>
                <a:ea typeface="+mn-ea"/>
                <a:cs typeface="+mn-ea"/>
                <a:sym typeface="+mn-lt"/>
              </a:rPr>
              <a:t>内存</a:t>
            </a:r>
            <a:r>
              <a:rPr lang="en-US" altLang="zh-CN" sz="1600" dirty="0">
                <a:latin typeface="+mn-lt"/>
                <a:ea typeface="+mn-ea"/>
                <a:cs typeface="+mn-ea"/>
                <a:sym typeface="+mn-lt"/>
              </a:rPr>
              <a:t>/</a:t>
            </a:r>
            <a:r>
              <a:rPr lang="zh-CN" altLang="en-US" sz="1600" dirty="0" smtClean="0">
                <a:latin typeface="+mn-lt"/>
                <a:ea typeface="+mn-ea"/>
                <a:cs typeface="+mn-ea"/>
                <a:sym typeface="+mn-lt"/>
              </a:rPr>
              <a:t>存储，不存在共享资源。</a:t>
            </a:r>
            <a:endParaRPr lang="en-US" altLang="zh-CN" sz="1600" dirty="0" smtClean="0">
              <a:latin typeface="+mn-lt"/>
              <a:ea typeface="+mn-ea"/>
              <a:cs typeface="+mn-ea"/>
              <a:sym typeface="+mn-lt"/>
            </a:endParaRPr>
          </a:p>
          <a:p>
            <a:pPr lvl="1"/>
            <a:r>
              <a:rPr lang="zh-CN" altLang="en-US" sz="1600" dirty="0">
                <a:latin typeface="+mn-lt"/>
                <a:ea typeface="+mn-ea"/>
                <a:cs typeface="+mn-ea"/>
                <a:sym typeface="+mn-lt"/>
              </a:rPr>
              <a:t>各节点（处理单元）处理自己本地的数据，处理结果可以向上层汇总或者通过通信协议在节点间</a:t>
            </a:r>
            <a:r>
              <a:rPr lang="zh-CN" altLang="en-US" sz="1600" dirty="0" smtClean="0">
                <a:latin typeface="+mn-lt"/>
                <a:ea typeface="+mn-ea"/>
                <a:cs typeface="+mn-ea"/>
                <a:sym typeface="+mn-lt"/>
              </a:rPr>
              <a:t>流转。</a:t>
            </a:r>
            <a:endParaRPr lang="en-US" altLang="zh-CN" sz="1600" dirty="0">
              <a:latin typeface="+mn-lt"/>
              <a:ea typeface="+mn-ea"/>
              <a:cs typeface="+mn-ea"/>
              <a:sym typeface="+mn-lt"/>
            </a:endParaRPr>
          </a:p>
          <a:p>
            <a:pPr lvl="1"/>
            <a:r>
              <a:rPr lang="zh-CN" altLang="en-US" sz="1600" dirty="0" smtClean="0">
                <a:latin typeface="+mn-lt"/>
                <a:ea typeface="+mn-ea"/>
                <a:cs typeface="+mn-ea"/>
                <a:sym typeface="+mn-lt"/>
              </a:rPr>
              <a:t>节点是相互</a:t>
            </a:r>
            <a:r>
              <a:rPr lang="zh-CN" altLang="en-US" sz="1600" dirty="0">
                <a:latin typeface="+mn-lt"/>
                <a:ea typeface="+mn-ea"/>
                <a:cs typeface="+mn-ea"/>
                <a:sym typeface="+mn-lt"/>
              </a:rPr>
              <a:t>独立的</a:t>
            </a:r>
            <a:r>
              <a:rPr lang="zh-CN" altLang="en-US" sz="1600" dirty="0" smtClean="0">
                <a:latin typeface="+mn-lt"/>
                <a:ea typeface="+mn-ea"/>
                <a:cs typeface="+mn-ea"/>
                <a:sym typeface="+mn-lt"/>
              </a:rPr>
              <a:t>，扩展</a:t>
            </a:r>
            <a:r>
              <a:rPr lang="zh-CN" altLang="en-US" sz="1600" dirty="0">
                <a:latin typeface="+mn-lt"/>
                <a:ea typeface="+mn-ea"/>
                <a:cs typeface="+mn-ea"/>
                <a:sym typeface="+mn-lt"/>
              </a:rPr>
              <a:t>能力强。整个集群拥有强大的并行处理能力</a:t>
            </a:r>
            <a:r>
              <a:rPr lang="zh-CN" altLang="en-US" sz="1600" dirty="0" smtClean="0">
                <a:latin typeface="+mn-lt"/>
                <a:ea typeface="+mn-ea"/>
                <a:cs typeface="+mn-ea"/>
                <a:sym typeface="+mn-lt"/>
              </a:rPr>
              <a:t>。</a:t>
            </a:r>
            <a:endParaRPr lang="en-US" altLang="zh-CN" sz="1600" dirty="0">
              <a:latin typeface="+mn-lt"/>
              <a:ea typeface="+mn-ea"/>
              <a:cs typeface="+mn-ea"/>
              <a:sym typeface="+mn-lt"/>
            </a:endParaRPr>
          </a:p>
        </p:txBody>
      </p:sp>
      <p:cxnSp>
        <p:nvCxnSpPr>
          <p:cNvPr id="68" name="直接箭头连接符 67"/>
          <p:cNvCxnSpPr>
            <a:endCxn id="84" idx="0"/>
          </p:cNvCxnSpPr>
          <p:nvPr/>
        </p:nvCxnSpPr>
        <p:spPr bwMode="auto">
          <a:xfrm>
            <a:off x="8023282" y="2071649"/>
            <a:ext cx="21590" cy="513994"/>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grpSp>
        <p:nvGrpSpPr>
          <p:cNvPr id="69" name="组合 68"/>
          <p:cNvGrpSpPr/>
          <p:nvPr/>
        </p:nvGrpSpPr>
        <p:grpSpPr>
          <a:xfrm>
            <a:off x="7700537" y="2572292"/>
            <a:ext cx="801965" cy="1898576"/>
            <a:chOff x="7891771" y="2910165"/>
            <a:chExt cx="801965" cy="1898576"/>
          </a:xfrm>
        </p:grpSpPr>
        <p:grpSp>
          <p:nvGrpSpPr>
            <p:cNvPr id="70" name="Server"/>
            <p:cNvGrpSpPr>
              <a:grpSpLocks noChangeAspect="1"/>
            </p:cNvGrpSpPr>
            <p:nvPr>
              <p:custDataLst>
                <p:tags r:id="rId1"/>
              </p:custDataLst>
            </p:nvPr>
          </p:nvGrpSpPr>
          <p:grpSpPr>
            <a:xfrm>
              <a:off x="7991811" y="2910165"/>
              <a:ext cx="488589" cy="698614"/>
              <a:chOff x="4754879" y="1097281"/>
              <a:chExt cx="3331031" cy="4762911"/>
            </a:xfrm>
          </p:grpSpPr>
          <p:sp>
            <p:nvSpPr>
              <p:cNvPr id="83"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4"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85"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71" name="Database"/>
            <p:cNvGrpSpPr/>
            <p:nvPr>
              <p:custDataLst>
                <p:tags r:id="rId2"/>
              </p:custDataLst>
            </p:nvPr>
          </p:nvGrpSpPr>
          <p:grpSpPr>
            <a:xfrm>
              <a:off x="8090148" y="4282799"/>
              <a:ext cx="291914" cy="312093"/>
              <a:chOff x="-1607704" y="4375315"/>
              <a:chExt cx="357909" cy="378772"/>
            </a:xfrm>
          </p:grpSpPr>
          <p:sp>
            <p:nvSpPr>
              <p:cNvPr id="80"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81"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82"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76" name="文本框 75"/>
            <p:cNvSpPr txBox="1"/>
            <p:nvPr/>
          </p:nvSpPr>
          <p:spPr bwMode="auto">
            <a:xfrm>
              <a:off x="7891771" y="4624075"/>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1</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77" name="文本框 76"/>
            <p:cNvSpPr txBox="1"/>
            <p:nvPr/>
          </p:nvSpPr>
          <p:spPr bwMode="auto">
            <a:xfrm>
              <a:off x="7927113" y="3674320"/>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1</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79" name="直接箭头连接符 78"/>
            <p:cNvCxnSpPr>
              <a:stCxn id="77" idx="2"/>
              <a:endCxn id="82" idx="0"/>
            </p:cNvCxnSpPr>
            <p:nvPr/>
          </p:nvCxnSpPr>
          <p:spPr bwMode="auto">
            <a:xfrm>
              <a:off x="8236105" y="3859415"/>
              <a:ext cx="0" cy="470536"/>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grpSp>
        <p:nvGrpSpPr>
          <p:cNvPr id="86" name="组合 85"/>
          <p:cNvGrpSpPr/>
          <p:nvPr/>
        </p:nvGrpSpPr>
        <p:grpSpPr>
          <a:xfrm>
            <a:off x="8406042" y="2572292"/>
            <a:ext cx="801965" cy="1898576"/>
            <a:chOff x="8593696" y="2905411"/>
            <a:chExt cx="801965" cy="1898576"/>
          </a:xfrm>
        </p:grpSpPr>
        <p:grpSp>
          <p:nvGrpSpPr>
            <p:cNvPr id="87" name="Server"/>
            <p:cNvGrpSpPr>
              <a:grpSpLocks noChangeAspect="1"/>
            </p:cNvGrpSpPr>
            <p:nvPr>
              <p:custDataLst>
                <p:tags r:id="rId3"/>
              </p:custDataLst>
            </p:nvPr>
          </p:nvGrpSpPr>
          <p:grpSpPr>
            <a:xfrm>
              <a:off x="8693736" y="2905411"/>
              <a:ext cx="488589" cy="698614"/>
              <a:chOff x="4754879" y="1097281"/>
              <a:chExt cx="3331031" cy="4762911"/>
            </a:xfrm>
          </p:grpSpPr>
          <p:sp>
            <p:nvSpPr>
              <p:cNvPr id="95"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96"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97"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88" name="Database"/>
            <p:cNvGrpSpPr/>
            <p:nvPr>
              <p:custDataLst>
                <p:tags r:id="rId4"/>
              </p:custDataLst>
            </p:nvPr>
          </p:nvGrpSpPr>
          <p:grpSpPr>
            <a:xfrm>
              <a:off x="8792073" y="4278045"/>
              <a:ext cx="291914" cy="312093"/>
              <a:chOff x="-1607704" y="4375315"/>
              <a:chExt cx="357909" cy="378772"/>
            </a:xfrm>
          </p:grpSpPr>
          <p:sp>
            <p:nvSpPr>
              <p:cNvPr id="92"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93"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94"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89" name="文本框 88"/>
            <p:cNvSpPr txBox="1"/>
            <p:nvPr/>
          </p:nvSpPr>
          <p:spPr bwMode="auto">
            <a:xfrm>
              <a:off x="8593696" y="4619321"/>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2</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90" name="文本框 89"/>
            <p:cNvSpPr txBox="1"/>
            <p:nvPr/>
          </p:nvSpPr>
          <p:spPr bwMode="auto">
            <a:xfrm>
              <a:off x="8629038" y="3669566"/>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2</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91" name="直接箭头连接符 90"/>
            <p:cNvCxnSpPr>
              <a:stCxn id="90" idx="2"/>
              <a:endCxn id="94" idx="0"/>
            </p:cNvCxnSpPr>
            <p:nvPr/>
          </p:nvCxnSpPr>
          <p:spPr bwMode="auto">
            <a:xfrm>
              <a:off x="8938030" y="3854661"/>
              <a:ext cx="0" cy="470536"/>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grpSp>
        <p:nvGrpSpPr>
          <p:cNvPr id="98" name="组合 97"/>
          <p:cNvGrpSpPr/>
          <p:nvPr/>
        </p:nvGrpSpPr>
        <p:grpSpPr>
          <a:xfrm>
            <a:off x="9111547" y="2572292"/>
            <a:ext cx="801965" cy="1898576"/>
            <a:chOff x="9241665" y="2908605"/>
            <a:chExt cx="801965" cy="1898576"/>
          </a:xfrm>
        </p:grpSpPr>
        <p:grpSp>
          <p:nvGrpSpPr>
            <p:cNvPr id="99" name="Server"/>
            <p:cNvGrpSpPr>
              <a:grpSpLocks noChangeAspect="1"/>
            </p:cNvGrpSpPr>
            <p:nvPr>
              <p:custDataLst>
                <p:tags r:id="rId5"/>
              </p:custDataLst>
            </p:nvPr>
          </p:nvGrpSpPr>
          <p:grpSpPr>
            <a:xfrm>
              <a:off x="9341705" y="2908605"/>
              <a:ext cx="488589" cy="698614"/>
              <a:chOff x="4754879" y="1097281"/>
              <a:chExt cx="3331031" cy="4762911"/>
            </a:xfrm>
          </p:grpSpPr>
          <p:sp>
            <p:nvSpPr>
              <p:cNvPr id="107"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08"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09"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00" name="Database"/>
            <p:cNvGrpSpPr/>
            <p:nvPr>
              <p:custDataLst>
                <p:tags r:id="rId6"/>
              </p:custDataLst>
            </p:nvPr>
          </p:nvGrpSpPr>
          <p:grpSpPr>
            <a:xfrm>
              <a:off x="9440042" y="4281239"/>
              <a:ext cx="291914" cy="312093"/>
              <a:chOff x="-1607704" y="4375315"/>
              <a:chExt cx="357909" cy="378772"/>
            </a:xfrm>
          </p:grpSpPr>
          <p:sp>
            <p:nvSpPr>
              <p:cNvPr id="104"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5"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06"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01" name="文本框 100"/>
            <p:cNvSpPr txBox="1"/>
            <p:nvPr/>
          </p:nvSpPr>
          <p:spPr bwMode="auto">
            <a:xfrm>
              <a:off x="9241665" y="4622515"/>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3</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02" name="文本框 101"/>
            <p:cNvSpPr txBox="1"/>
            <p:nvPr/>
          </p:nvSpPr>
          <p:spPr bwMode="auto">
            <a:xfrm>
              <a:off x="9277007" y="3672760"/>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3</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03" name="直接箭头连接符 102"/>
            <p:cNvCxnSpPr>
              <a:stCxn id="102" idx="2"/>
              <a:endCxn id="106" idx="0"/>
            </p:cNvCxnSpPr>
            <p:nvPr/>
          </p:nvCxnSpPr>
          <p:spPr bwMode="auto">
            <a:xfrm>
              <a:off x="9585999" y="3857855"/>
              <a:ext cx="0" cy="470536"/>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grpSp>
        <p:nvGrpSpPr>
          <p:cNvPr id="110" name="组合 109"/>
          <p:cNvGrpSpPr/>
          <p:nvPr/>
        </p:nvGrpSpPr>
        <p:grpSpPr>
          <a:xfrm>
            <a:off x="9817053" y="2572292"/>
            <a:ext cx="801965" cy="1898576"/>
            <a:chOff x="10008287" y="2903851"/>
            <a:chExt cx="801965" cy="1898576"/>
          </a:xfrm>
        </p:grpSpPr>
        <p:grpSp>
          <p:nvGrpSpPr>
            <p:cNvPr id="111" name="Server"/>
            <p:cNvGrpSpPr>
              <a:grpSpLocks noChangeAspect="1"/>
            </p:cNvGrpSpPr>
            <p:nvPr>
              <p:custDataLst>
                <p:tags r:id="rId7"/>
              </p:custDataLst>
            </p:nvPr>
          </p:nvGrpSpPr>
          <p:grpSpPr>
            <a:xfrm>
              <a:off x="10108327" y="2903851"/>
              <a:ext cx="488589" cy="698614"/>
              <a:chOff x="4754879" y="1097281"/>
              <a:chExt cx="3331031" cy="4762911"/>
            </a:xfrm>
          </p:grpSpPr>
          <p:sp>
            <p:nvSpPr>
              <p:cNvPr id="119"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20"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21"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12" name="Database"/>
            <p:cNvGrpSpPr/>
            <p:nvPr>
              <p:custDataLst>
                <p:tags r:id="rId8"/>
              </p:custDataLst>
            </p:nvPr>
          </p:nvGrpSpPr>
          <p:grpSpPr>
            <a:xfrm>
              <a:off x="10206664" y="4276485"/>
              <a:ext cx="291914" cy="312093"/>
              <a:chOff x="-1607704" y="4375315"/>
              <a:chExt cx="357909" cy="378772"/>
            </a:xfrm>
          </p:grpSpPr>
          <p:sp>
            <p:nvSpPr>
              <p:cNvPr id="116"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17"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18"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13" name="文本框 112"/>
            <p:cNvSpPr txBox="1"/>
            <p:nvPr/>
          </p:nvSpPr>
          <p:spPr bwMode="auto">
            <a:xfrm>
              <a:off x="10008287" y="4617761"/>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err="1" smtClean="0">
                  <a:ln>
                    <a:noFill/>
                  </a:ln>
                  <a:solidFill>
                    <a:srgbClr val="000000"/>
                  </a:solidFill>
                  <a:effectLst/>
                  <a:uLnTx/>
                  <a:uFillTx/>
                  <a:cs typeface="+mn-ea"/>
                  <a:sym typeface="+mn-lt"/>
                </a:rPr>
                <a:t>Diskn</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14" name="文本框 113"/>
            <p:cNvSpPr txBox="1"/>
            <p:nvPr/>
          </p:nvSpPr>
          <p:spPr bwMode="auto">
            <a:xfrm>
              <a:off x="10043629" y="3668006"/>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err="1" smtClean="0">
                  <a:ln>
                    <a:noFill/>
                  </a:ln>
                  <a:solidFill>
                    <a:srgbClr val="000000"/>
                  </a:solidFill>
                  <a:effectLst/>
                  <a:uLnTx/>
                  <a:uFillTx/>
                  <a:cs typeface="+mn-ea"/>
                  <a:sym typeface="+mn-lt"/>
                </a:rPr>
                <a:t>DBn</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15" name="直接箭头连接符 114"/>
            <p:cNvCxnSpPr>
              <a:stCxn id="114" idx="2"/>
              <a:endCxn id="118" idx="0"/>
            </p:cNvCxnSpPr>
            <p:nvPr/>
          </p:nvCxnSpPr>
          <p:spPr bwMode="auto">
            <a:xfrm>
              <a:off x="10352621" y="3853101"/>
              <a:ext cx="0" cy="470536"/>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cxnSp>
        <p:nvCxnSpPr>
          <p:cNvPr id="122" name="直接箭头连接符 121"/>
          <p:cNvCxnSpPr/>
          <p:nvPr/>
        </p:nvCxnSpPr>
        <p:spPr bwMode="auto">
          <a:xfrm>
            <a:off x="8750376" y="2071649"/>
            <a:ext cx="21590" cy="513994"/>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123" name="直接箭头连接符 122"/>
          <p:cNvCxnSpPr/>
          <p:nvPr/>
        </p:nvCxnSpPr>
        <p:spPr bwMode="auto">
          <a:xfrm>
            <a:off x="9453757" y="2071649"/>
            <a:ext cx="21590" cy="513994"/>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124" name="直接箭头连接符 123"/>
          <p:cNvCxnSpPr/>
          <p:nvPr/>
        </p:nvCxnSpPr>
        <p:spPr bwMode="auto">
          <a:xfrm>
            <a:off x="10157138" y="2071649"/>
            <a:ext cx="21590" cy="513994"/>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125" name="直接箭头连接符 124"/>
          <p:cNvCxnSpPr/>
          <p:nvPr/>
        </p:nvCxnSpPr>
        <p:spPr bwMode="auto">
          <a:xfrm flipH="1">
            <a:off x="8023283" y="2071649"/>
            <a:ext cx="2133855" cy="0"/>
          </a:xfrm>
          <a:prstGeom prst="straightConnector1">
            <a:avLst/>
          </a:prstGeom>
          <a:solidFill>
            <a:srgbClr val="CCFF99"/>
          </a:solidFill>
          <a:ln w="28575" cap="flat" cmpd="sng" algn="ctr">
            <a:solidFill>
              <a:srgbClr val="C00000"/>
            </a:solidFill>
            <a:prstDash val="solid"/>
            <a:round/>
            <a:headEnd type="none" w="med" len="med"/>
            <a:tailEnd type="none" w="med" len="med"/>
          </a:ln>
          <a:effectLst/>
        </p:spPr>
      </p:cxnSp>
      <p:sp>
        <p:nvSpPr>
          <p:cNvPr id="126" name="文本框 125"/>
          <p:cNvSpPr txBox="1"/>
          <p:nvPr/>
        </p:nvSpPr>
        <p:spPr bwMode="auto">
          <a:xfrm>
            <a:off x="8542910" y="1669753"/>
            <a:ext cx="1250925"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en-US" altLang="zh-CN" sz="1200" b="1" dirty="0" smtClean="0">
                <a:solidFill>
                  <a:srgbClr val="000000"/>
                </a:solidFill>
                <a:cs typeface="+mn-ea"/>
                <a:sym typeface="+mn-lt"/>
              </a:rPr>
              <a:t>Share-Nothing</a:t>
            </a:r>
            <a:endParaRPr kumimoji="1" lang="zh-CN" altLang="en-US" sz="1200" b="1" dirty="0">
              <a:solidFill>
                <a:srgbClr val="000000"/>
              </a:solidFill>
              <a:cs typeface="+mn-ea"/>
              <a:sym typeface="+mn-lt"/>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latin typeface="+mn-lt"/>
                <a:ea typeface="+mn-ea"/>
                <a:cs typeface="+mn-ea"/>
                <a:sym typeface="+mn-lt"/>
              </a:rPr>
              <a:t>MPP</a:t>
            </a:r>
            <a:r>
              <a:rPr lang="zh-CN" altLang="en-US" dirty="0" smtClean="0">
                <a:latin typeface="+mn-lt"/>
                <a:ea typeface="+mn-ea"/>
                <a:cs typeface="+mn-ea"/>
                <a:sym typeface="+mn-lt"/>
              </a:rPr>
              <a:t>架构 </a:t>
            </a:r>
            <a:r>
              <a:rPr lang="en-US" altLang="zh-CN" dirty="0" smtClean="0">
                <a:latin typeface="+mn-lt"/>
                <a:ea typeface="+mn-ea"/>
                <a:cs typeface="+mn-ea"/>
                <a:sym typeface="+mn-lt"/>
              </a:rPr>
              <a:t>(Massively Parallel Processing)</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xfrm>
            <a:off x="442913" y="1233488"/>
            <a:ext cx="4880117" cy="4680000"/>
          </a:xfrm>
        </p:spPr>
        <p:txBody>
          <a:bodyPr/>
          <a:lstStyle/>
          <a:p>
            <a:r>
              <a:rPr lang="en-US" altLang="zh-CN" sz="1800" dirty="0" smtClean="0">
                <a:latin typeface="+mn-lt"/>
                <a:ea typeface="+mn-ea"/>
                <a:cs typeface="+mn-ea"/>
                <a:sym typeface="+mn-lt"/>
              </a:rPr>
              <a:t>MPP:</a:t>
            </a:r>
            <a:r>
              <a:rPr lang="zh-CN" altLang="en-US" sz="1800" dirty="0" smtClean="0">
                <a:latin typeface="+mn-lt"/>
                <a:ea typeface="+mn-ea"/>
                <a:cs typeface="+mn-ea"/>
                <a:sym typeface="+mn-lt"/>
              </a:rPr>
              <a:t>大规模并行处理</a:t>
            </a:r>
            <a:r>
              <a:rPr lang="en-US" altLang="zh-CN" sz="1800" dirty="0" smtClean="0">
                <a:latin typeface="+mn-lt"/>
                <a:ea typeface="+mn-ea"/>
                <a:cs typeface="+mn-ea"/>
                <a:sym typeface="+mn-lt"/>
              </a:rPr>
              <a:t>(Massively Parallel Processing</a:t>
            </a:r>
            <a:r>
              <a:rPr lang="en-US" altLang="zh-CN" sz="1800" dirty="0">
                <a:latin typeface="+mn-lt"/>
                <a:ea typeface="+mn-ea"/>
                <a:cs typeface="+mn-ea"/>
                <a:sym typeface="+mn-lt"/>
              </a:rPr>
              <a:t>)</a:t>
            </a:r>
            <a:endParaRPr lang="en-US" altLang="zh-CN" sz="1800" dirty="0" smtClean="0">
              <a:latin typeface="+mn-lt"/>
              <a:ea typeface="+mn-ea"/>
              <a:cs typeface="+mn-ea"/>
              <a:sym typeface="+mn-lt"/>
            </a:endParaRPr>
          </a:p>
          <a:p>
            <a:pPr lvl="1"/>
            <a:r>
              <a:rPr lang="en-US" altLang="zh-CN" sz="1600" dirty="0" smtClean="0">
                <a:latin typeface="+mn-lt"/>
                <a:ea typeface="+mn-ea"/>
                <a:cs typeface="+mn-ea"/>
                <a:sym typeface="+mn-lt"/>
              </a:rPr>
              <a:t>MPP</a:t>
            </a:r>
            <a:r>
              <a:rPr lang="zh-CN" altLang="en-US" sz="1600" dirty="0" smtClean="0">
                <a:latin typeface="+mn-lt"/>
                <a:ea typeface="+mn-ea"/>
                <a:cs typeface="+mn-ea"/>
                <a:sym typeface="+mn-lt"/>
              </a:rPr>
              <a:t>是将任务并行的分散到多个服务器和节点上，在每个节点上计算完成后，将各自部分的结果汇总在一起得到最终的结果。</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特征</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任务并行执行，分布式计算。</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常见的</a:t>
            </a:r>
            <a:r>
              <a:rPr lang="en-US" altLang="zh-CN" sz="1800" dirty="0" smtClean="0">
                <a:latin typeface="+mn-lt"/>
                <a:ea typeface="+mn-ea"/>
                <a:cs typeface="+mn-ea"/>
                <a:sym typeface="+mn-lt"/>
              </a:rPr>
              <a:t>MPP</a:t>
            </a:r>
            <a:r>
              <a:rPr lang="zh-CN" altLang="en-US" sz="1800" dirty="0" smtClean="0">
                <a:latin typeface="+mn-lt"/>
                <a:ea typeface="+mn-ea"/>
                <a:cs typeface="+mn-ea"/>
                <a:sym typeface="+mn-lt"/>
              </a:rPr>
              <a:t>产品</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无共享</a:t>
            </a:r>
            <a:r>
              <a:rPr lang="en-US" altLang="zh-CN" sz="1600" dirty="0" smtClean="0">
                <a:latin typeface="+mn-lt"/>
                <a:ea typeface="+mn-ea"/>
                <a:cs typeface="+mn-ea"/>
                <a:sym typeface="+mn-lt"/>
              </a:rPr>
              <a:t>Master</a:t>
            </a:r>
            <a:r>
              <a:rPr lang="zh-CN" altLang="en-US" sz="1600" dirty="0" smtClean="0">
                <a:latin typeface="+mn-lt"/>
                <a:ea typeface="+mn-ea"/>
                <a:cs typeface="+mn-ea"/>
                <a:sym typeface="+mn-lt"/>
              </a:rPr>
              <a:t>：</a:t>
            </a:r>
            <a:r>
              <a:rPr lang="en-US" altLang="zh-CN" sz="1600" dirty="0" err="1" smtClean="0">
                <a:latin typeface="+mn-lt"/>
                <a:ea typeface="+mn-ea"/>
                <a:cs typeface="+mn-ea"/>
                <a:sym typeface="+mn-lt"/>
              </a:rPr>
              <a:t>Vertica</a:t>
            </a:r>
            <a:r>
              <a:rPr lang="zh-CN" altLang="en-US" sz="1600" dirty="0" smtClean="0">
                <a:latin typeface="+mn-lt"/>
                <a:ea typeface="+mn-ea"/>
                <a:cs typeface="+mn-ea"/>
                <a:sym typeface="+mn-lt"/>
              </a:rPr>
              <a:t>，</a:t>
            </a:r>
            <a:r>
              <a:rPr lang="en-US" altLang="zh-CN" sz="1600" dirty="0" smtClean="0">
                <a:latin typeface="+mn-lt"/>
                <a:ea typeface="+mn-ea"/>
                <a:cs typeface="+mn-ea"/>
                <a:sym typeface="+mn-lt"/>
              </a:rPr>
              <a:t>Teradata</a:t>
            </a:r>
            <a:r>
              <a:rPr lang="zh-CN" altLang="en-US" sz="1600" dirty="0" smtClean="0">
                <a:latin typeface="+mn-lt"/>
                <a:ea typeface="+mn-ea"/>
                <a:cs typeface="+mn-ea"/>
                <a:sym typeface="+mn-lt"/>
              </a:rPr>
              <a:t>。</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共享</a:t>
            </a:r>
            <a:r>
              <a:rPr lang="en-US" altLang="zh-CN" sz="1600" dirty="0" smtClean="0">
                <a:latin typeface="+mn-lt"/>
                <a:ea typeface="+mn-ea"/>
                <a:cs typeface="+mn-ea"/>
                <a:sym typeface="+mn-lt"/>
              </a:rPr>
              <a:t>Master</a:t>
            </a:r>
            <a:r>
              <a:rPr lang="zh-CN" altLang="en-US" sz="1600" dirty="0" smtClean="0">
                <a:latin typeface="+mn-lt"/>
                <a:ea typeface="+mn-ea"/>
                <a:cs typeface="+mn-ea"/>
                <a:sym typeface="+mn-lt"/>
              </a:rPr>
              <a:t>：</a:t>
            </a:r>
            <a:r>
              <a:rPr lang="en-US" altLang="zh-CN" sz="1600" dirty="0" err="1" smtClean="0">
                <a:latin typeface="+mn-lt"/>
                <a:ea typeface="+mn-ea"/>
                <a:cs typeface="+mn-ea"/>
                <a:sym typeface="+mn-lt"/>
              </a:rPr>
              <a:t>Greenplum</a:t>
            </a:r>
            <a:r>
              <a:rPr lang="zh-CN" altLang="en-US" sz="1600" dirty="0" smtClean="0">
                <a:latin typeface="+mn-lt"/>
                <a:ea typeface="+mn-ea"/>
                <a:cs typeface="+mn-ea"/>
                <a:sym typeface="+mn-lt"/>
              </a:rPr>
              <a:t>，</a:t>
            </a:r>
            <a:r>
              <a:rPr lang="en-US" altLang="zh-CN" sz="1600" dirty="0" err="1" smtClean="0">
                <a:latin typeface="+mn-lt"/>
                <a:ea typeface="+mn-ea"/>
                <a:cs typeface="+mn-ea"/>
                <a:sym typeface="+mn-lt"/>
              </a:rPr>
              <a:t>Netezza</a:t>
            </a:r>
            <a:r>
              <a:rPr lang="zh-CN" altLang="en-US" sz="1600" dirty="0" smtClean="0">
                <a:latin typeface="+mn-lt"/>
                <a:ea typeface="+mn-ea"/>
                <a:cs typeface="+mn-ea"/>
                <a:sym typeface="+mn-lt"/>
              </a:rPr>
              <a:t>。</a:t>
            </a:r>
            <a:endParaRPr lang="en-US" altLang="zh-CN" sz="1600" dirty="0">
              <a:latin typeface="+mn-lt"/>
              <a:ea typeface="+mn-ea"/>
              <a:cs typeface="+mn-ea"/>
              <a:sym typeface="+mn-lt"/>
            </a:endParaRPr>
          </a:p>
        </p:txBody>
      </p:sp>
      <p:grpSp>
        <p:nvGrpSpPr>
          <p:cNvPr id="125" name="组合 124"/>
          <p:cNvGrpSpPr/>
          <p:nvPr/>
        </p:nvGrpSpPr>
        <p:grpSpPr>
          <a:xfrm>
            <a:off x="5353554" y="2330297"/>
            <a:ext cx="2918481" cy="1871885"/>
            <a:chOff x="7068108" y="3685997"/>
            <a:chExt cx="2918481" cy="1871885"/>
          </a:xfrm>
        </p:grpSpPr>
        <p:cxnSp>
          <p:nvCxnSpPr>
            <p:cNvPr id="126" name="直接箭头连接符 125"/>
            <p:cNvCxnSpPr>
              <a:endCxn id="175" idx="0"/>
            </p:cNvCxnSpPr>
            <p:nvPr/>
          </p:nvCxnSpPr>
          <p:spPr bwMode="auto">
            <a:xfrm>
              <a:off x="7449736" y="3685997"/>
              <a:ext cx="1"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grpSp>
          <p:nvGrpSpPr>
            <p:cNvPr id="129" name="Server"/>
            <p:cNvGrpSpPr>
              <a:grpSpLocks noChangeAspect="1"/>
            </p:cNvGrpSpPr>
            <p:nvPr>
              <p:custDataLst>
                <p:tags r:id="rId1"/>
              </p:custDataLst>
            </p:nvPr>
          </p:nvGrpSpPr>
          <p:grpSpPr>
            <a:xfrm>
              <a:off x="7205442" y="3929643"/>
              <a:ext cx="488589" cy="698614"/>
              <a:chOff x="4754879" y="1097281"/>
              <a:chExt cx="3331031" cy="4762911"/>
            </a:xfrm>
          </p:grpSpPr>
          <p:sp>
            <p:nvSpPr>
              <p:cNvPr id="174"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75"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76"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30" name="Database"/>
            <p:cNvGrpSpPr/>
            <p:nvPr>
              <p:custDataLst>
                <p:tags r:id="rId2"/>
              </p:custDataLst>
            </p:nvPr>
          </p:nvGrpSpPr>
          <p:grpSpPr>
            <a:xfrm>
              <a:off x="7291639" y="5077722"/>
              <a:ext cx="291914" cy="312093"/>
              <a:chOff x="-1607704" y="4375315"/>
              <a:chExt cx="357909" cy="378772"/>
            </a:xfrm>
          </p:grpSpPr>
          <p:sp>
            <p:nvSpPr>
              <p:cNvPr id="171"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72"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73"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31" name="文本框 130"/>
            <p:cNvSpPr txBox="1"/>
            <p:nvPr/>
          </p:nvSpPr>
          <p:spPr bwMode="auto">
            <a:xfrm>
              <a:off x="7068108" y="537321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1</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32" name="文本框 131"/>
            <p:cNvSpPr txBox="1"/>
            <p:nvPr/>
          </p:nvSpPr>
          <p:spPr bwMode="auto">
            <a:xfrm>
              <a:off x="7140744" y="469379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1</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33" name="直接箭头连接符 132"/>
            <p:cNvCxnSpPr>
              <a:stCxn id="132" idx="2"/>
              <a:endCxn id="173" idx="0"/>
            </p:cNvCxnSpPr>
            <p:nvPr/>
          </p:nvCxnSpPr>
          <p:spPr bwMode="auto">
            <a:xfrm flipH="1">
              <a:off x="7437596" y="4878893"/>
              <a:ext cx="12140" cy="245981"/>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nvGrpSpPr>
            <p:cNvPr id="134" name="Server"/>
            <p:cNvGrpSpPr>
              <a:grpSpLocks noChangeAspect="1"/>
            </p:cNvGrpSpPr>
            <p:nvPr>
              <p:custDataLst>
                <p:tags r:id="rId3"/>
              </p:custDataLst>
            </p:nvPr>
          </p:nvGrpSpPr>
          <p:grpSpPr>
            <a:xfrm>
              <a:off x="7910947" y="3929643"/>
              <a:ext cx="488589" cy="698614"/>
              <a:chOff x="4754879" y="1097281"/>
              <a:chExt cx="3331031" cy="4762911"/>
            </a:xfrm>
          </p:grpSpPr>
          <p:sp>
            <p:nvSpPr>
              <p:cNvPr id="168"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69"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70"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35" name="Database"/>
            <p:cNvGrpSpPr/>
            <p:nvPr>
              <p:custDataLst>
                <p:tags r:id="rId4"/>
              </p:custDataLst>
            </p:nvPr>
          </p:nvGrpSpPr>
          <p:grpSpPr>
            <a:xfrm>
              <a:off x="8009284" y="5077722"/>
              <a:ext cx="291914" cy="312093"/>
              <a:chOff x="-1607704" y="4375315"/>
              <a:chExt cx="357909" cy="378772"/>
            </a:xfrm>
          </p:grpSpPr>
          <p:sp>
            <p:nvSpPr>
              <p:cNvPr id="165"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66"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67"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36" name="文本框 135"/>
            <p:cNvSpPr txBox="1"/>
            <p:nvPr/>
          </p:nvSpPr>
          <p:spPr bwMode="auto">
            <a:xfrm>
              <a:off x="7773613" y="537321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2</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37" name="文本框 136"/>
            <p:cNvSpPr txBox="1"/>
            <p:nvPr/>
          </p:nvSpPr>
          <p:spPr bwMode="auto">
            <a:xfrm>
              <a:off x="7846249" y="469379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2</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38" name="直接箭头连接符 137"/>
            <p:cNvCxnSpPr>
              <a:stCxn id="137" idx="2"/>
              <a:endCxn id="167" idx="0"/>
            </p:cNvCxnSpPr>
            <p:nvPr/>
          </p:nvCxnSpPr>
          <p:spPr bwMode="auto">
            <a:xfrm>
              <a:off x="8155241" y="4878893"/>
              <a:ext cx="0" cy="245981"/>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nvGrpSpPr>
            <p:cNvPr id="139" name="Server"/>
            <p:cNvGrpSpPr>
              <a:grpSpLocks noChangeAspect="1"/>
            </p:cNvGrpSpPr>
            <p:nvPr>
              <p:custDataLst>
                <p:tags r:id="rId5"/>
              </p:custDataLst>
            </p:nvPr>
          </p:nvGrpSpPr>
          <p:grpSpPr>
            <a:xfrm>
              <a:off x="8616452" y="3929643"/>
              <a:ext cx="488589" cy="698614"/>
              <a:chOff x="4754879" y="1097281"/>
              <a:chExt cx="3331031" cy="4762911"/>
            </a:xfrm>
          </p:grpSpPr>
          <p:sp>
            <p:nvSpPr>
              <p:cNvPr id="162"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63"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64"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40" name="Database"/>
            <p:cNvGrpSpPr/>
            <p:nvPr>
              <p:custDataLst>
                <p:tags r:id="rId6"/>
              </p:custDataLst>
            </p:nvPr>
          </p:nvGrpSpPr>
          <p:grpSpPr>
            <a:xfrm>
              <a:off x="8720410" y="5078694"/>
              <a:ext cx="291914" cy="312093"/>
              <a:chOff x="-1607704" y="4375315"/>
              <a:chExt cx="357909" cy="378772"/>
            </a:xfrm>
          </p:grpSpPr>
          <p:sp>
            <p:nvSpPr>
              <p:cNvPr id="159"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60"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61"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41" name="文本框 140"/>
            <p:cNvSpPr txBox="1"/>
            <p:nvPr/>
          </p:nvSpPr>
          <p:spPr bwMode="auto">
            <a:xfrm>
              <a:off x="8479118" y="537321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3</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42" name="文本框 141"/>
            <p:cNvSpPr txBox="1"/>
            <p:nvPr/>
          </p:nvSpPr>
          <p:spPr bwMode="auto">
            <a:xfrm>
              <a:off x="8551754" y="469379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3</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43" name="直接箭头连接符 142"/>
            <p:cNvCxnSpPr>
              <a:stCxn id="142" idx="2"/>
              <a:endCxn id="161" idx="0"/>
            </p:cNvCxnSpPr>
            <p:nvPr/>
          </p:nvCxnSpPr>
          <p:spPr bwMode="auto">
            <a:xfrm>
              <a:off x="8860746" y="4878893"/>
              <a:ext cx="5621" cy="246953"/>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nvGrpSpPr>
            <p:cNvPr id="144" name="Server"/>
            <p:cNvGrpSpPr>
              <a:grpSpLocks noChangeAspect="1"/>
            </p:cNvGrpSpPr>
            <p:nvPr>
              <p:custDataLst>
                <p:tags r:id="rId7"/>
              </p:custDataLst>
            </p:nvPr>
          </p:nvGrpSpPr>
          <p:grpSpPr>
            <a:xfrm>
              <a:off x="9321958" y="3929643"/>
              <a:ext cx="488589" cy="698614"/>
              <a:chOff x="4754879" y="1097281"/>
              <a:chExt cx="3331031" cy="4762911"/>
            </a:xfrm>
          </p:grpSpPr>
          <p:sp>
            <p:nvSpPr>
              <p:cNvPr id="156"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57"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158"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45" name="Database"/>
            <p:cNvGrpSpPr/>
            <p:nvPr>
              <p:custDataLst>
                <p:tags r:id="rId8"/>
              </p:custDataLst>
            </p:nvPr>
          </p:nvGrpSpPr>
          <p:grpSpPr>
            <a:xfrm>
              <a:off x="9408837" y="5077722"/>
              <a:ext cx="291914" cy="312093"/>
              <a:chOff x="-1607704" y="4375315"/>
              <a:chExt cx="357909" cy="378772"/>
            </a:xfrm>
          </p:grpSpPr>
          <p:sp>
            <p:nvSpPr>
              <p:cNvPr id="153"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54"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155"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46" name="文本框 145"/>
            <p:cNvSpPr txBox="1"/>
            <p:nvPr/>
          </p:nvSpPr>
          <p:spPr bwMode="auto">
            <a:xfrm>
              <a:off x="9184624" y="537321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err="1" smtClean="0">
                  <a:ln>
                    <a:noFill/>
                  </a:ln>
                  <a:solidFill>
                    <a:srgbClr val="000000"/>
                  </a:solidFill>
                  <a:effectLst/>
                  <a:uLnTx/>
                  <a:uFillTx/>
                  <a:cs typeface="+mn-ea"/>
                  <a:sym typeface="+mn-lt"/>
                </a:rPr>
                <a:t>Diskn</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47" name="文本框 146"/>
            <p:cNvSpPr txBox="1"/>
            <p:nvPr/>
          </p:nvSpPr>
          <p:spPr bwMode="auto">
            <a:xfrm>
              <a:off x="9257260" y="469379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err="1" smtClean="0">
                  <a:ln>
                    <a:noFill/>
                  </a:ln>
                  <a:solidFill>
                    <a:srgbClr val="000000"/>
                  </a:solidFill>
                  <a:effectLst/>
                  <a:uLnTx/>
                  <a:uFillTx/>
                  <a:cs typeface="+mn-ea"/>
                  <a:sym typeface="+mn-lt"/>
                </a:rPr>
                <a:t>DBn</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48" name="直接箭头连接符 147"/>
            <p:cNvCxnSpPr>
              <a:stCxn id="147" idx="2"/>
              <a:endCxn id="155" idx="0"/>
            </p:cNvCxnSpPr>
            <p:nvPr/>
          </p:nvCxnSpPr>
          <p:spPr bwMode="auto">
            <a:xfrm flipH="1">
              <a:off x="9554794" y="4878893"/>
              <a:ext cx="11458" cy="245981"/>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cxnSp>
          <p:nvCxnSpPr>
            <p:cNvPr id="149" name="直接箭头连接符 148"/>
            <p:cNvCxnSpPr/>
            <p:nvPr/>
          </p:nvCxnSpPr>
          <p:spPr bwMode="auto">
            <a:xfrm>
              <a:off x="8174595" y="3685997"/>
              <a:ext cx="2236"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150" name="直接箭头连接符 149"/>
            <p:cNvCxnSpPr/>
            <p:nvPr/>
          </p:nvCxnSpPr>
          <p:spPr bwMode="auto">
            <a:xfrm>
              <a:off x="8880100" y="3685997"/>
              <a:ext cx="112"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151" name="直接箭头连接符 150"/>
            <p:cNvCxnSpPr/>
            <p:nvPr/>
          </p:nvCxnSpPr>
          <p:spPr bwMode="auto">
            <a:xfrm>
              <a:off x="9580378" y="3685997"/>
              <a:ext cx="3215"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152" name="直接箭头连接符 151"/>
            <p:cNvCxnSpPr/>
            <p:nvPr/>
          </p:nvCxnSpPr>
          <p:spPr bwMode="auto">
            <a:xfrm flipH="1">
              <a:off x="7453664" y="3685997"/>
              <a:ext cx="2133855" cy="0"/>
            </a:xfrm>
            <a:prstGeom prst="straightConnector1">
              <a:avLst/>
            </a:prstGeom>
            <a:solidFill>
              <a:srgbClr val="CCFF99"/>
            </a:solidFill>
            <a:ln w="28575" cap="flat" cmpd="sng" algn="ctr">
              <a:solidFill>
                <a:srgbClr val="C00000"/>
              </a:solidFill>
              <a:prstDash val="solid"/>
              <a:round/>
              <a:headEnd type="none" w="med" len="med"/>
              <a:tailEnd type="none" w="med" len="med"/>
            </a:ln>
            <a:effectLst/>
          </p:spPr>
        </p:cxnSp>
      </p:grpSp>
      <p:sp>
        <p:nvSpPr>
          <p:cNvPr id="177" name="文本框 176"/>
          <p:cNvSpPr txBox="1"/>
          <p:nvPr/>
        </p:nvSpPr>
        <p:spPr bwMode="auto">
          <a:xfrm>
            <a:off x="6131606" y="2108069"/>
            <a:ext cx="1323303" cy="184666"/>
          </a:xfrm>
          <a:prstGeom prst="rect">
            <a:avLst/>
          </a:prstGeom>
          <a:noFill/>
          <a:ln w="9525" algn="ctr">
            <a:noFill/>
            <a:miter lim="800000"/>
          </a:ln>
        </p:spPr>
        <p:txBody>
          <a:bodyPr vert="horz" wrap="square" lIns="0" tIns="0" rIns="0" bIns="0" numCol="1" rtlCol="0" anchor="ctr" anchorCtr="0" compatLnSpc="1">
            <a:spAutoFit/>
          </a:bodyPr>
          <a:lstStyle/>
          <a:p>
            <a:pPr algn="ctr" defTabSz="914400" fontAlgn="t">
              <a:spcBef>
                <a:spcPct val="0"/>
              </a:spcBef>
              <a:spcAft>
                <a:spcPct val="0"/>
              </a:spcAft>
            </a:pPr>
            <a:r>
              <a:rPr kumimoji="1" lang="zh-CN" altLang="en-US" sz="1200" b="1" dirty="0" smtClean="0">
                <a:solidFill>
                  <a:srgbClr val="C00000"/>
                </a:solidFill>
                <a:cs typeface="+mn-ea"/>
                <a:sym typeface="+mn-lt"/>
              </a:rPr>
              <a:t>无共享</a:t>
            </a:r>
            <a:r>
              <a:rPr kumimoji="1" lang="en-US" altLang="zh-CN" sz="1200" b="1" dirty="0" smtClean="0">
                <a:solidFill>
                  <a:srgbClr val="C00000"/>
                </a:solidFill>
                <a:cs typeface="+mn-ea"/>
                <a:sym typeface="+mn-lt"/>
              </a:rPr>
              <a:t>Master</a:t>
            </a:r>
            <a:r>
              <a:rPr kumimoji="1" lang="zh-CN" altLang="en-US" sz="1200" b="1" dirty="0" smtClean="0">
                <a:solidFill>
                  <a:srgbClr val="C00000"/>
                </a:solidFill>
                <a:cs typeface="+mn-ea"/>
                <a:sym typeface="+mn-lt"/>
              </a:rPr>
              <a:t>架构</a:t>
            </a:r>
            <a:endParaRPr kumimoji="1" lang="zh-CN" altLang="en-US" sz="1200" b="1" dirty="0">
              <a:solidFill>
                <a:srgbClr val="C00000"/>
              </a:solidFill>
              <a:cs typeface="+mn-ea"/>
              <a:sym typeface="+mn-lt"/>
            </a:endParaRPr>
          </a:p>
        </p:txBody>
      </p:sp>
      <p:grpSp>
        <p:nvGrpSpPr>
          <p:cNvPr id="178" name="组合 177"/>
          <p:cNvGrpSpPr/>
          <p:nvPr/>
        </p:nvGrpSpPr>
        <p:grpSpPr>
          <a:xfrm>
            <a:off x="8659049" y="1555006"/>
            <a:ext cx="2918481" cy="2793543"/>
            <a:chOff x="5773282" y="1283529"/>
            <a:chExt cx="2918481" cy="2793543"/>
          </a:xfrm>
        </p:grpSpPr>
        <p:cxnSp>
          <p:nvCxnSpPr>
            <p:cNvPr id="179" name="直接箭头连接符 178"/>
            <p:cNvCxnSpPr>
              <a:endCxn id="238" idx="0"/>
            </p:cNvCxnSpPr>
            <p:nvPr/>
          </p:nvCxnSpPr>
          <p:spPr bwMode="auto">
            <a:xfrm>
              <a:off x="6154910" y="2205187"/>
              <a:ext cx="1"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grpSp>
          <p:nvGrpSpPr>
            <p:cNvPr id="180" name="Server"/>
            <p:cNvGrpSpPr>
              <a:grpSpLocks noChangeAspect="1"/>
            </p:cNvGrpSpPr>
            <p:nvPr>
              <p:custDataLst>
                <p:tags r:id="rId9"/>
              </p:custDataLst>
            </p:nvPr>
          </p:nvGrpSpPr>
          <p:grpSpPr>
            <a:xfrm>
              <a:off x="5910616" y="2448833"/>
              <a:ext cx="488589" cy="698614"/>
              <a:chOff x="4754879" y="1097281"/>
              <a:chExt cx="3331031" cy="4762911"/>
            </a:xfrm>
          </p:grpSpPr>
          <p:sp>
            <p:nvSpPr>
              <p:cNvPr id="237"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38"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39"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81" name="Database"/>
            <p:cNvGrpSpPr/>
            <p:nvPr>
              <p:custDataLst>
                <p:tags r:id="rId10"/>
              </p:custDataLst>
            </p:nvPr>
          </p:nvGrpSpPr>
          <p:grpSpPr>
            <a:xfrm>
              <a:off x="5996813" y="3596912"/>
              <a:ext cx="291914" cy="312093"/>
              <a:chOff x="-1607704" y="4375315"/>
              <a:chExt cx="357909" cy="378772"/>
            </a:xfrm>
          </p:grpSpPr>
          <p:sp>
            <p:nvSpPr>
              <p:cNvPr id="234"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35"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36"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82" name="文本框 181"/>
            <p:cNvSpPr txBox="1"/>
            <p:nvPr/>
          </p:nvSpPr>
          <p:spPr bwMode="auto">
            <a:xfrm>
              <a:off x="5773282" y="389240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1</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83" name="文本框 182"/>
            <p:cNvSpPr txBox="1"/>
            <p:nvPr/>
          </p:nvSpPr>
          <p:spPr bwMode="auto">
            <a:xfrm>
              <a:off x="5845918" y="321298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1</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84" name="直接箭头连接符 183"/>
            <p:cNvCxnSpPr>
              <a:stCxn id="183" idx="2"/>
              <a:endCxn id="236" idx="0"/>
            </p:cNvCxnSpPr>
            <p:nvPr/>
          </p:nvCxnSpPr>
          <p:spPr bwMode="auto">
            <a:xfrm flipH="1">
              <a:off x="6142770" y="3398083"/>
              <a:ext cx="12140" cy="245981"/>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nvGrpSpPr>
            <p:cNvPr id="185" name="Server"/>
            <p:cNvGrpSpPr>
              <a:grpSpLocks noChangeAspect="1"/>
            </p:cNvGrpSpPr>
            <p:nvPr>
              <p:custDataLst>
                <p:tags r:id="rId11"/>
              </p:custDataLst>
            </p:nvPr>
          </p:nvGrpSpPr>
          <p:grpSpPr>
            <a:xfrm>
              <a:off x="6616121" y="2448833"/>
              <a:ext cx="488589" cy="698614"/>
              <a:chOff x="4754879" y="1097281"/>
              <a:chExt cx="3331031" cy="4762911"/>
            </a:xfrm>
          </p:grpSpPr>
          <p:sp>
            <p:nvSpPr>
              <p:cNvPr id="231"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32"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33"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86" name="Database"/>
            <p:cNvGrpSpPr/>
            <p:nvPr>
              <p:custDataLst>
                <p:tags r:id="rId12"/>
              </p:custDataLst>
            </p:nvPr>
          </p:nvGrpSpPr>
          <p:grpSpPr>
            <a:xfrm>
              <a:off x="6714458" y="3596912"/>
              <a:ext cx="291914" cy="312093"/>
              <a:chOff x="-1607704" y="4375315"/>
              <a:chExt cx="357909" cy="378772"/>
            </a:xfrm>
          </p:grpSpPr>
          <p:sp>
            <p:nvSpPr>
              <p:cNvPr id="228"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29"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30"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87" name="文本框 186"/>
            <p:cNvSpPr txBox="1"/>
            <p:nvPr/>
          </p:nvSpPr>
          <p:spPr bwMode="auto">
            <a:xfrm>
              <a:off x="6478787" y="389240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2</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88" name="文本框 187"/>
            <p:cNvSpPr txBox="1"/>
            <p:nvPr/>
          </p:nvSpPr>
          <p:spPr bwMode="auto">
            <a:xfrm>
              <a:off x="6551423" y="321298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2</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89" name="直接箭头连接符 188"/>
            <p:cNvCxnSpPr>
              <a:stCxn id="188" idx="2"/>
              <a:endCxn id="230" idx="0"/>
            </p:cNvCxnSpPr>
            <p:nvPr/>
          </p:nvCxnSpPr>
          <p:spPr bwMode="auto">
            <a:xfrm>
              <a:off x="6860415" y="3398083"/>
              <a:ext cx="0" cy="245981"/>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nvGrpSpPr>
            <p:cNvPr id="190" name="Server"/>
            <p:cNvGrpSpPr>
              <a:grpSpLocks noChangeAspect="1"/>
            </p:cNvGrpSpPr>
            <p:nvPr>
              <p:custDataLst>
                <p:tags r:id="rId13"/>
              </p:custDataLst>
            </p:nvPr>
          </p:nvGrpSpPr>
          <p:grpSpPr>
            <a:xfrm>
              <a:off x="7321626" y="2448833"/>
              <a:ext cx="488589" cy="698614"/>
              <a:chOff x="4754879" y="1097281"/>
              <a:chExt cx="3331031" cy="4762911"/>
            </a:xfrm>
          </p:grpSpPr>
          <p:sp>
            <p:nvSpPr>
              <p:cNvPr id="225"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26"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27"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91" name="Database"/>
            <p:cNvGrpSpPr/>
            <p:nvPr>
              <p:custDataLst>
                <p:tags r:id="rId14"/>
              </p:custDataLst>
            </p:nvPr>
          </p:nvGrpSpPr>
          <p:grpSpPr>
            <a:xfrm>
              <a:off x="7425584" y="3597884"/>
              <a:ext cx="291914" cy="312093"/>
              <a:chOff x="-1607704" y="4375315"/>
              <a:chExt cx="357909" cy="378772"/>
            </a:xfrm>
          </p:grpSpPr>
          <p:sp>
            <p:nvSpPr>
              <p:cNvPr id="222"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23"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24"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92" name="文本框 191"/>
            <p:cNvSpPr txBox="1"/>
            <p:nvPr/>
          </p:nvSpPr>
          <p:spPr bwMode="auto">
            <a:xfrm>
              <a:off x="7184292" y="389240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isk3</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93" name="文本框 192"/>
            <p:cNvSpPr txBox="1"/>
            <p:nvPr/>
          </p:nvSpPr>
          <p:spPr bwMode="auto">
            <a:xfrm>
              <a:off x="7256928" y="321298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DB3</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94" name="直接箭头连接符 193"/>
            <p:cNvCxnSpPr>
              <a:stCxn id="193" idx="2"/>
              <a:endCxn id="224" idx="0"/>
            </p:cNvCxnSpPr>
            <p:nvPr/>
          </p:nvCxnSpPr>
          <p:spPr bwMode="auto">
            <a:xfrm>
              <a:off x="7565920" y="3398083"/>
              <a:ext cx="5621" cy="246953"/>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grpSp>
          <p:nvGrpSpPr>
            <p:cNvPr id="195" name="Server"/>
            <p:cNvGrpSpPr>
              <a:grpSpLocks noChangeAspect="1"/>
            </p:cNvGrpSpPr>
            <p:nvPr>
              <p:custDataLst>
                <p:tags r:id="rId15"/>
              </p:custDataLst>
            </p:nvPr>
          </p:nvGrpSpPr>
          <p:grpSpPr>
            <a:xfrm>
              <a:off x="8027132" y="2448833"/>
              <a:ext cx="488589" cy="698614"/>
              <a:chOff x="4754879" y="1097281"/>
              <a:chExt cx="3331031" cy="4762911"/>
            </a:xfrm>
          </p:grpSpPr>
          <p:sp>
            <p:nvSpPr>
              <p:cNvPr id="219"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20"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21"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196" name="Database"/>
            <p:cNvGrpSpPr/>
            <p:nvPr>
              <p:custDataLst>
                <p:tags r:id="rId16"/>
              </p:custDataLst>
            </p:nvPr>
          </p:nvGrpSpPr>
          <p:grpSpPr>
            <a:xfrm>
              <a:off x="8114011" y="3596912"/>
              <a:ext cx="291914" cy="312093"/>
              <a:chOff x="-1607704" y="4375315"/>
              <a:chExt cx="357909" cy="378772"/>
            </a:xfrm>
          </p:grpSpPr>
          <p:sp>
            <p:nvSpPr>
              <p:cNvPr id="216" name="Flowchart: Magnetic Disk 22"/>
              <p:cNvSpPr/>
              <p:nvPr/>
            </p:nvSpPr>
            <p:spPr>
              <a:xfrm>
                <a:off x="-1607704" y="4582410"/>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17" name="Flowchart: Magnetic Disk 98"/>
              <p:cNvSpPr/>
              <p:nvPr/>
            </p:nvSpPr>
            <p:spPr>
              <a:xfrm>
                <a:off x="-1607704" y="4481556"/>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sp>
            <p:nvSpPr>
              <p:cNvPr id="218" name="Flowchart: Magnetic Disk 99"/>
              <p:cNvSpPr/>
              <p:nvPr/>
            </p:nvSpPr>
            <p:spPr>
              <a:xfrm>
                <a:off x="-1607704" y="4375315"/>
                <a:ext cx="357909" cy="171677"/>
              </a:xfrm>
              <a:prstGeom prst="flowChartMagneticDisk">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fr-FR" sz="1800" b="0" i="0" u="none" strike="noStrike" kern="0" cap="none" spc="0" normalizeH="0" baseline="0" noProof="0">
                  <a:ln>
                    <a:noFill/>
                  </a:ln>
                  <a:solidFill>
                    <a:prstClr val="white"/>
                  </a:solidFill>
                  <a:effectLst/>
                  <a:uLnTx/>
                  <a:uFillTx/>
                  <a:cs typeface="+mn-ea"/>
                  <a:sym typeface="+mn-lt"/>
                </a:endParaRPr>
              </a:p>
            </p:txBody>
          </p:sp>
        </p:grpSp>
        <p:sp>
          <p:nvSpPr>
            <p:cNvPr id="197" name="文本框 196"/>
            <p:cNvSpPr txBox="1"/>
            <p:nvPr/>
          </p:nvSpPr>
          <p:spPr bwMode="auto">
            <a:xfrm>
              <a:off x="7889798" y="3892406"/>
              <a:ext cx="80196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err="1" smtClean="0">
                  <a:ln>
                    <a:noFill/>
                  </a:ln>
                  <a:solidFill>
                    <a:srgbClr val="000000"/>
                  </a:solidFill>
                  <a:effectLst/>
                  <a:uLnTx/>
                  <a:uFillTx/>
                  <a:cs typeface="+mn-ea"/>
                  <a:sym typeface="+mn-lt"/>
                </a:rPr>
                <a:t>Diskn</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sp>
          <p:nvSpPr>
            <p:cNvPr id="198" name="文本框 197"/>
            <p:cNvSpPr txBox="1"/>
            <p:nvPr/>
          </p:nvSpPr>
          <p:spPr bwMode="auto">
            <a:xfrm>
              <a:off x="7962434" y="3212988"/>
              <a:ext cx="617984" cy="185095"/>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err="1" smtClean="0">
                  <a:ln>
                    <a:noFill/>
                  </a:ln>
                  <a:solidFill>
                    <a:srgbClr val="000000"/>
                  </a:solidFill>
                  <a:effectLst/>
                  <a:uLnTx/>
                  <a:uFillTx/>
                  <a:cs typeface="+mn-ea"/>
                  <a:sym typeface="+mn-lt"/>
                </a:rPr>
                <a:t>DBn</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199" name="直接箭头连接符 198"/>
            <p:cNvCxnSpPr>
              <a:stCxn id="198" idx="2"/>
              <a:endCxn id="218" idx="0"/>
            </p:cNvCxnSpPr>
            <p:nvPr/>
          </p:nvCxnSpPr>
          <p:spPr bwMode="auto">
            <a:xfrm flipH="1">
              <a:off x="8259968" y="3398083"/>
              <a:ext cx="11458" cy="245981"/>
            </a:xfrm>
            <a:prstGeom prst="straightConnector1">
              <a:avLst/>
            </a:prstGeom>
            <a:solidFill>
              <a:srgbClr val="CCFF99"/>
            </a:solidFill>
            <a:ln w="9525" cap="flat" cmpd="sng" algn="ctr">
              <a:solidFill>
                <a:srgbClr val="000000"/>
              </a:solidFill>
              <a:prstDash val="solid"/>
              <a:round/>
              <a:headEnd type="none" w="med" len="med"/>
              <a:tailEnd type="triangle" w="med" len="med"/>
            </a:ln>
            <a:effectLst/>
          </p:spPr>
        </p:cxnSp>
        <p:cxnSp>
          <p:nvCxnSpPr>
            <p:cNvPr id="200" name="直接箭头连接符 199"/>
            <p:cNvCxnSpPr/>
            <p:nvPr/>
          </p:nvCxnSpPr>
          <p:spPr bwMode="auto">
            <a:xfrm>
              <a:off x="6879769" y="2205187"/>
              <a:ext cx="2236"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201" name="直接箭头连接符 200"/>
            <p:cNvCxnSpPr/>
            <p:nvPr/>
          </p:nvCxnSpPr>
          <p:spPr bwMode="auto">
            <a:xfrm>
              <a:off x="7585274" y="2205187"/>
              <a:ext cx="112"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202" name="直接箭头连接符 201"/>
            <p:cNvCxnSpPr/>
            <p:nvPr/>
          </p:nvCxnSpPr>
          <p:spPr bwMode="auto">
            <a:xfrm>
              <a:off x="8285552" y="2205187"/>
              <a:ext cx="3215" cy="256997"/>
            </a:xfrm>
            <a:prstGeom prst="straightConnector1">
              <a:avLst/>
            </a:prstGeom>
            <a:solidFill>
              <a:srgbClr val="CCFF99"/>
            </a:solidFill>
            <a:ln w="9525" cap="flat" cmpd="sng" algn="ctr">
              <a:solidFill>
                <a:srgbClr val="000000"/>
              </a:solidFill>
              <a:prstDash val="solid"/>
              <a:round/>
              <a:headEnd type="none" w="med" len="med"/>
              <a:tailEnd type="none" w="med" len="med"/>
            </a:ln>
            <a:effectLst/>
          </p:spPr>
        </p:cxnSp>
        <p:cxnSp>
          <p:nvCxnSpPr>
            <p:cNvPr id="203" name="直接箭头连接符 202"/>
            <p:cNvCxnSpPr/>
            <p:nvPr/>
          </p:nvCxnSpPr>
          <p:spPr bwMode="auto">
            <a:xfrm flipH="1">
              <a:off x="6158838" y="2205187"/>
              <a:ext cx="2133855" cy="0"/>
            </a:xfrm>
            <a:prstGeom prst="straightConnector1">
              <a:avLst/>
            </a:prstGeom>
            <a:solidFill>
              <a:srgbClr val="CCFF99"/>
            </a:solidFill>
            <a:ln w="28575" cap="flat" cmpd="sng" algn="ctr">
              <a:solidFill>
                <a:srgbClr val="C00000"/>
              </a:solidFill>
              <a:prstDash val="solid"/>
              <a:round/>
              <a:headEnd type="none" w="med" len="med"/>
              <a:tailEnd type="none" w="med" len="med"/>
            </a:ln>
            <a:effectLst/>
          </p:spPr>
        </p:cxnSp>
        <p:sp>
          <p:nvSpPr>
            <p:cNvPr id="204" name="文本框 203"/>
            <p:cNvSpPr txBox="1"/>
            <p:nvPr/>
          </p:nvSpPr>
          <p:spPr bwMode="auto">
            <a:xfrm>
              <a:off x="6246452" y="1582583"/>
              <a:ext cx="705505"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Master</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grpSp>
          <p:nvGrpSpPr>
            <p:cNvPr id="205" name="Server"/>
            <p:cNvGrpSpPr>
              <a:grpSpLocks noChangeAspect="1"/>
            </p:cNvGrpSpPr>
            <p:nvPr>
              <p:custDataLst>
                <p:tags r:id="rId17"/>
              </p:custDataLst>
            </p:nvPr>
          </p:nvGrpSpPr>
          <p:grpSpPr>
            <a:xfrm>
              <a:off x="6901253" y="1292489"/>
              <a:ext cx="487498" cy="697054"/>
              <a:chOff x="4754879" y="1097281"/>
              <a:chExt cx="3331031" cy="4762911"/>
            </a:xfrm>
          </p:grpSpPr>
          <p:sp>
            <p:nvSpPr>
              <p:cNvPr id="213"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14"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15"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grpSp>
          <p:nvGrpSpPr>
            <p:cNvPr id="206" name="Server"/>
            <p:cNvGrpSpPr>
              <a:grpSpLocks noChangeAspect="1"/>
            </p:cNvGrpSpPr>
            <p:nvPr>
              <p:custDataLst>
                <p:tags r:id="rId18"/>
              </p:custDataLst>
            </p:nvPr>
          </p:nvGrpSpPr>
          <p:grpSpPr>
            <a:xfrm>
              <a:off x="7280752" y="1283529"/>
              <a:ext cx="487498" cy="697054"/>
              <a:chOff x="4754879" y="1097281"/>
              <a:chExt cx="3331031" cy="4762911"/>
            </a:xfrm>
          </p:grpSpPr>
          <p:sp>
            <p:nvSpPr>
              <p:cNvPr id="210"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11" name="Parallelogram 143"/>
              <p:cNvSpPr/>
              <p:nvPr/>
            </p:nvSpPr>
            <p:spPr>
              <a:xfrm>
                <a:off x="4754879" y="1097281"/>
                <a:ext cx="3331031" cy="1165359"/>
              </a:xfrm>
              <a:prstGeom prst="parallelogram">
                <a:avLst>
                  <a:gd name="adj" fmla="val 155028"/>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sp>
            <p:nvSpPr>
              <p:cNvPr id="212"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prstClr val="white"/>
                  </a:solidFill>
                  <a:effectLst/>
                  <a:uLnTx/>
                  <a:uFillTx/>
                  <a:cs typeface="+mn-ea"/>
                  <a:sym typeface="+mn-lt"/>
                </a:endParaRPr>
              </a:p>
            </p:txBody>
          </p:sp>
        </p:grpSp>
        <p:sp>
          <p:nvSpPr>
            <p:cNvPr id="207" name="文本框 206"/>
            <p:cNvSpPr txBox="1"/>
            <p:nvPr/>
          </p:nvSpPr>
          <p:spPr bwMode="auto">
            <a:xfrm>
              <a:off x="7797627" y="1490250"/>
              <a:ext cx="705505" cy="369332"/>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en-US" altLang="zh-CN" sz="1200" b="1" i="0" u="none" strike="noStrike" kern="0" cap="none" spc="0" normalizeH="0" baseline="0" noProof="0" dirty="0" smtClean="0">
                  <a:ln>
                    <a:noFill/>
                  </a:ln>
                  <a:solidFill>
                    <a:srgbClr val="000000"/>
                  </a:solidFill>
                  <a:effectLst/>
                  <a:uLnTx/>
                  <a:uFillTx/>
                  <a:cs typeface="+mn-ea"/>
                  <a:sym typeface="+mn-lt"/>
                </a:rPr>
                <a:t>Standby Master</a:t>
              </a:r>
              <a:endParaRPr kumimoji="1" lang="zh-CN" altLang="en-US" sz="1200" b="1" i="0" u="none" strike="noStrike" kern="0" cap="none" spc="0" normalizeH="0" baseline="0" noProof="0" dirty="0" smtClean="0">
                <a:ln>
                  <a:noFill/>
                </a:ln>
                <a:solidFill>
                  <a:srgbClr val="000000"/>
                </a:solidFill>
                <a:effectLst/>
                <a:uLnTx/>
                <a:uFillTx/>
                <a:cs typeface="+mn-ea"/>
                <a:sym typeface="+mn-lt"/>
              </a:endParaRPr>
            </a:p>
          </p:txBody>
        </p:sp>
        <p:cxnSp>
          <p:nvCxnSpPr>
            <p:cNvPr id="208" name="直接箭头连接符 207"/>
            <p:cNvCxnSpPr>
              <a:endCxn id="215" idx="122"/>
            </p:cNvCxnSpPr>
            <p:nvPr/>
          </p:nvCxnSpPr>
          <p:spPr bwMode="auto">
            <a:xfrm flipV="1">
              <a:off x="7123461" y="1987987"/>
              <a:ext cx="0" cy="231814"/>
            </a:xfrm>
            <a:prstGeom prst="straightConnector1">
              <a:avLst/>
            </a:prstGeom>
            <a:solidFill>
              <a:srgbClr val="CCFF99"/>
            </a:solidFill>
            <a:ln w="28575" cap="flat" cmpd="sng" algn="ctr">
              <a:solidFill>
                <a:srgbClr val="C00000"/>
              </a:solidFill>
              <a:prstDash val="solid"/>
              <a:round/>
              <a:headEnd type="none" w="med" len="med"/>
              <a:tailEnd type="none" w="med" len="med"/>
            </a:ln>
            <a:effectLst/>
          </p:spPr>
        </p:cxnSp>
        <p:sp>
          <p:nvSpPr>
            <p:cNvPr id="209" name="文本框 208"/>
            <p:cNvSpPr txBox="1"/>
            <p:nvPr/>
          </p:nvSpPr>
          <p:spPr bwMode="auto">
            <a:xfrm>
              <a:off x="7371090" y="1981012"/>
              <a:ext cx="1241569" cy="184666"/>
            </a:xfrm>
            <a:prstGeom prst="rect">
              <a:avLst/>
            </a:prstGeom>
            <a:noFill/>
            <a:ln w="9525" algn="ctr">
              <a:noFill/>
              <a:miter lim="800000"/>
            </a:ln>
          </p:spPr>
          <p:txBody>
            <a:bodyPr vert="horz" wrap="square" lIns="0" tIns="0" rIns="0" bIns="0" numCol="1" rtlCol="0" anchor="ctr" anchorCtr="0" compatLnSpc="1">
              <a:spAutoFit/>
            </a:bodyPr>
            <a:lstStyle/>
            <a:p>
              <a:pPr marL="0" marR="0" lvl="0" indent="0" algn="ctr" defTabSz="914400" eaLnBrk="1" fontAlgn="t" latinLnBrk="0" hangingPunct="1">
                <a:lnSpc>
                  <a:spcPct val="100000"/>
                </a:lnSpc>
                <a:spcBef>
                  <a:spcPct val="0"/>
                </a:spcBef>
                <a:spcAft>
                  <a:spcPct val="0"/>
                </a:spcAft>
                <a:buClrTx/>
                <a:buSzTx/>
                <a:buFontTx/>
                <a:buNone/>
                <a:defRPr/>
              </a:pPr>
              <a:r>
                <a:rPr kumimoji="1" lang="zh-CN" altLang="en-US" sz="1200" b="1" i="0" u="none" strike="noStrike" kern="0" cap="none" spc="0" normalizeH="0" baseline="0" noProof="0" dirty="0" smtClean="0">
                  <a:ln>
                    <a:noFill/>
                  </a:ln>
                  <a:solidFill>
                    <a:srgbClr val="C00000"/>
                  </a:solidFill>
                  <a:effectLst/>
                  <a:uLnTx/>
                  <a:uFillTx/>
                  <a:cs typeface="+mn-ea"/>
                  <a:sym typeface="+mn-lt"/>
                </a:rPr>
                <a:t>共享</a:t>
              </a:r>
              <a:r>
                <a:rPr kumimoji="1" lang="en-US" altLang="zh-CN" sz="1200" b="1" i="0" u="none" strike="noStrike" kern="0" cap="none" spc="0" normalizeH="0" baseline="0" noProof="0" dirty="0" smtClean="0">
                  <a:ln>
                    <a:noFill/>
                  </a:ln>
                  <a:solidFill>
                    <a:srgbClr val="C00000"/>
                  </a:solidFill>
                  <a:effectLst/>
                  <a:uLnTx/>
                  <a:uFillTx/>
                  <a:cs typeface="+mn-ea"/>
                  <a:sym typeface="+mn-lt"/>
                </a:rPr>
                <a:t>Master</a:t>
              </a:r>
              <a:r>
                <a:rPr kumimoji="1" lang="zh-CN" altLang="en-US" sz="1200" b="1" i="0" u="none" strike="noStrike" kern="0" cap="none" spc="0" normalizeH="0" baseline="0" noProof="0" dirty="0" smtClean="0">
                  <a:ln>
                    <a:noFill/>
                  </a:ln>
                  <a:solidFill>
                    <a:srgbClr val="C00000"/>
                  </a:solidFill>
                  <a:effectLst/>
                  <a:uLnTx/>
                  <a:uFillTx/>
                  <a:cs typeface="+mn-ea"/>
                  <a:sym typeface="+mn-lt"/>
                </a:rPr>
                <a:t>架构</a:t>
              </a:r>
              <a:endParaRPr kumimoji="1" lang="zh-CN" altLang="en-US" sz="1200" b="1" i="0" u="none" strike="noStrike" kern="0" cap="none" spc="0" normalizeH="0" baseline="0" noProof="0" dirty="0" smtClean="0">
                <a:ln>
                  <a:noFill/>
                </a:ln>
                <a:solidFill>
                  <a:srgbClr val="C00000"/>
                </a:solidFill>
                <a:effectLst/>
                <a:uLnTx/>
                <a:uFillTx/>
                <a:cs typeface="+mn-ea"/>
                <a:sym typeface="+mn-lt"/>
              </a:endParaRPr>
            </a:p>
          </p:txBody>
        </p:sp>
      </p:grpSp>
      <p:sp>
        <p:nvSpPr>
          <p:cNvPr id="240" name="Text Box 64"/>
          <p:cNvSpPr txBox="1">
            <a:spLocks noChangeArrowheads="1"/>
          </p:cNvSpPr>
          <p:nvPr/>
        </p:nvSpPr>
        <p:spPr bwMode="auto">
          <a:xfrm>
            <a:off x="7164989" y="4710986"/>
            <a:ext cx="3091868" cy="1384970"/>
          </a:xfrm>
          <a:prstGeom prst="rect">
            <a:avLst/>
          </a:prstGeom>
          <a:solidFill>
            <a:srgbClr val="CCCCCC"/>
          </a:solidFill>
          <a:ln w="28575" algn="ctr">
            <a:solidFill>
              <a:srgbClr val="C00000"/>
            </a:solidFill>
            <a:miter lim="800000"/>
          </a:ln>
          <a:effectLst/>
        </p:spPr>
        <p:txBody>
          <a:bodyPr wrap="square" lIns="91416" tIns="45708" rIns="91416" bIns="45708">
            <a:spAutoFit/>
          </a:bodyPr>
          <a:lstStyle/>
          <a:p>
            <a:pPr defTabSz="914400" fontAlgn="t">
              <a:lnSpc>
                <a:spcPct val="150000"/>
              </a:lnSpc>
              <a:spcBef>
                <a:spcPct val="0"/>
              </a:spcBef>
              <a:spcAft>
                <a:spcPct val="0"/>
              </a:spcAft>
            </a:pPr>
            <a:r>
              <a:rPr lang="zh-CN" altLang="en-US" sz="1400" dirty="0" smtClean="0">
                <a:solidFill>
                  <a:srgbClr val="000000"/>
                </a:solidFill>
                <a:cs typeface="+mn-ea"/>
                <a:sym typeface="+mn-lt"/>
              </a:rPr>
              <a:t>无共享</a:t>
            </a:r>
            <a:r>
              <a:rPr lang="en-US" altLang="zh-CN" sz="1400" dirty="0" smtClean="0">
                <a:solidFill>
                  <a:srgbClr val="000000"/>
                </a:solidFill>
                <a:cs typeface="+mn-ea"/>
                <a:sym typeface="+mn-lt"/>
              </a:rPr>
              <a:t>Master</a:t>
            </a:r>
            <a:r>
              <a:rPr lang="zh-CN" altLang="en-US" sz="1400" dirty="0" smtClean="0">
                <a:solidFill>
                  <a:srgbClr val="000000"/>
                </a:solidFill>
                <a:cs typeface="+mn-ea"/>
                <a:sym typeface="+mn-lt"/>
              </a:rPr>
              <a:t>：</a:t>
            </a:r>
            <a:endParaRPr lang="en-US" altLang="zh-CN" sz="1400" dirty="0" smtClean="0">
              <a:solidFill>
                <a:srgbClr val="000000"/>
              </a:solidFill>
              <a:cs typeface="+mn-ea"/>
              <a:sym typeface="+mn-lt"/>
            </a:endParaRPr>
          </a:p>
          <a:p>
            <a:pPr defTabSz="914400" fontAlgn="t">
              <a:lnSpc>
                <a:spcPct val="150000"/>
              </a:lnSpc>
              <a:spcBef>
                <a:spcPct val="0"/>
              </a:spcBef>
              <a:spcAft>
                <a:spcPct val="0"/>
              </a:spcAft>
            </a:pPr>
            <a:r>
              <a:rPr lang="en-US" altLang="zh-CN" sz="1400" dirty="0" smtClean="0">
                <a:solidFill>
                  <a:srgbClr val="000000"/>
                </a:solidFill>
                <a:cs typeface="+mn-ea"/>
                <a:sym typeface="+mn-lt"/>
              </a:rPr>
              <a:t>1.</a:t>
            </a:r>
            <a:r>
              <a:rPr lang="zh-CN" altLang="en-US" sz="1400" dirty="0" smtClean="0">
                <a:solidFill>
                  <a:srgbClr val="000000"/>
                </a:solidFill>
                <a:cs typeface="+mn-ea"/>
                <a:sym typeface="+mn-lt"/>
              </a:rPr>
              <a:t>所有节点对等；</a:t>
            </a:r>
            <a:endParaRPr lang="en-US" altLang="zh-CN" sz="1400" dirty="0" smtClean="0">
              <a:solidFill>
                <a:srgbClr val="000000"/>
              </a:solidFill>
              <a:cs typeface="+mn-ea"/>
              <a:sym typeface="+mn-lt"/>
            </a:endParaRPr>
          </a:p>
          <a:p>
            <a:pPr defTabSz="914400" fontAlgn="t">
              <a:lnSpc>
                <a:spcPct val="150000"/>
              </a:lnSpc>
              <a:spcBef>
                <a:spcPct val="0"/>
              </a:spcBef>
              <a:spcAft>
                <a:spcPct val="0"/>
              </a:spcAft>
            </a:pPr>
            <a:r>
              <a:rPr lang="en-US" altLang="zh-CN" sz="1400" dirty="0" smtClean="0">
                <a:solidFill>
                  <a:srgbClr val="000000"/>
                </a:solidFill>
                <a:cs typeface="+mn-ea"/>
                <a:sym typeface="+mn-lt"/>
              </a:rPr>
              <a:t>2.</a:t>
            </a:r>
            <a:r>
              <a:rPr lang="zh-CN" altLang="en-US" sz="1400" dirty="0" smtClean="0">
                <a:solidFill>
                  <a:srgbClr val="000000"/>
                </a:solidFill>
                <a:cs typeface="+mn-ea"/>
                <a:sym typeface="+mn-lt"/>
              </a:rPr>
              <a:t>可以通过任意节点查询或加载数据；</a:t>
            </a:r>
            <a:endParaRPr lang="en-US" altLang="zh-CN" sz="1400" dirty="0" smtClean="0">
              <a:solidFill>
                <a:srgbClr val="000000"/>
              </a:solidFill>
              <a:cs typeface="+mn-ea"/>
              <a:sym typeface="+mn-lt"/>
            </a:endParaRPr>
          </a:p>
          <a:p>
            <a:pPr defTabSz="914400" fontAlgn="t">
              <a:lnSpc>
                <a:spcPct val="150000"/>
              </a:lnSpc>
              <a:spcBef>
                <a:spcPct val="0"/>
              </a:spcBef>
              <a:spcAft>
                <a:spcPct val="0"/>
              </a:spcAft>
            </a:pPr>
            <a:r>
              <a:rPr lang="en-US" altLang="zh-CN" sz="1400" dirty="0" smtClean="0">
                <a:solidFill>
                  <a:srgbClr val="000000"/>
                </a:solidFill>
                <a:cs typeface="+mn-ea"/>
                <a:sym typeface="+mn-lt"/>
              </a:rPr>
              <a:t>3.</a:t>
            </a:r>
            <a:r>
              <a:rPr lang="zh-CN" altLang="en-US" sz="1400" dirty="0" smtClean="0">
                <a:solidFill>
                  <a:srgbClr val="000000"/>
                </a:solidFill>
                <a:cs typeface="+mn-ea"/>
                <a:sym typeface="+mn-lt"/>
              </a:rPr>
              <a:t>不存在性能瓶颈和单点风险。</a:t>
            </a:r>
            <a:endParaRPr lang="zh-CN" altLang="en-US" sz="1400" dirty="0">
              <a:solidFill>
                <a:srgbClr val="000000"/>
              </a:solidFill>
              <a:cs typeface="+mn-ea"/>
              <a:sym typeface="+mn-lt"/>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架构特点对比</a:t>
            </a:r>
            <a:endParaRPr lang="zh-CN" altLang="en-US" dirty="0">
              <a:latin typeface="+mn-lt"/>
              <a:ea typeface="+mn-ea"/>
              <a:cs typeface="+mn-ea"/>
              <a:sym typeface="+mn-lt"/>
            </a:endParaRPr>
          </a:p>
        </p:txBody>
      </p:sp>
      <p:graphicFrame>
        <p:nvGraphicFramePr>
          <p:cNvPr id="33" name="表格 32"/>
          <p:cNvGraphicFramePr>
            <a:graphicFrameLocks noGrp="1"/>
          </p:cNvGraphicFramePr>
          <p:nvPr/>
        </p:nvGraphicFramePr>
        <p:xfrm>
          <a:off x="1091444" y="1412776"/>
          <a:ext cx="9865097" cy="4593465"/>
        </p:xfrm>
        <a:graphic>
          <a:graphicData uri="http://schemas.openxmlformats.org/drawingml/2006/table">
            <a:tbl>
              <a:tblPr firstRow="1" bandRow="1"/>
              <a:tblGrid>
                <a:gridCol w="1253352"/>
                <a:gridCol w="1722349"/>
                <a:gridCol w="1722349"/>
                <a:gridCol w="1722349"/>
                <a:gridCol w="1722349"/>
                <a:gridCol w="1722349"/>
              </a:tblGrid>
              <a:tr h="600585">
                <a:tc>
                  <a:txBody>
                    <a:bodyPr/>
                    <a:lstStyle/>
                    <a:p>
                      <a:pPr algn="ctr"/>
                      <a:r>
                        <a:rPr lang="zh-CN" altLang="en-US" sz="1600" b="1" dirty="0" smtClean="0">
                          <a:latin typeface="+mn-lt"/>
                          <a:ea typeface="+mn-ea"/>
                          <a:cs typeface="+mn-ea"/>
                          <a:sym typeface="+mn-lt"/>
                        </a:rPr>
                        <a:t>特点</a:t>
                      </a:r>
                      <a:endParaRPr lang="zh-CN" altLang="en-US" sz="16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单机</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主备</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主从</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多主</a:t>
                      </a:r>
                      <a:endParaRPr lang="zh-CN" altLang="en-US" sz="1600" b="1" dirty="0">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zh-CN" altLang="en-US" sz="1600" b="1" dirty="0" smtClean="0">
                          <a:latin typeface="+mn-lt"/>
                          <a:ea typeface="+mn-ea"/>
                          <a:cs typeface="+mn-ea"/>
                          <a:sym typeface="+mn-lt"/>
                        </a:rPr>
                        <a:t>分片</a:t>
                      </a:r>
                      <a:endParaRPr lang="zh-CN" altLang="en-US" sz="1600" b="1"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277400">
                <a:tc>
                  <a:txBody>
                    <a:bodyPr/>
                    <a:lstStyle/>
                    <a:p>
                      <a:pPr algn="ctr"/>
                      <a:r>
                        <a:rPr lang="zh-CN" altLang="en-US" sz="1400" b="1" dirty="0" smtClean="0">
                          <a:latin typeface="+mn-lt"/>
                          <a:ea typeface="+mn-ea"/>
                          <a:cs typeface="+mn-ea"/>
                          <a:sym typeface="+mn-lt"/>
                        </a:rPr>
                        <a:t>高可用性</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ctr"/>
                      <a:r>
                        <a:rPr lang="zh-CN" altLang="en-US" sz="1400" dirty="0" smtClean="0">
                          <a:latin typeface="+mn-lt"/>
                          <a:ea typeface="+mn-ea"/>
                          <a:cs typeface="+mn-ea"/>
                          <a:sym typeface="+mn-lt"/>
                        </a:rPr>
                        <a:t>差</a:t>
                      </a:r>
                      <a:endParaRPr lang="zh-CN" altLang="en-US" sz="1400" dirty="0">
                        <a:latin typeface="+mn-lt"/>
                        <a:ea typeface="+mn-ea"/>
                        <a:cs typeface="+mn-ea"/>
                        <a:sym typeface="+mn-lt"/>
                      </a:endParaRPr>
                    </a:p>
                  </a:txBody>
                  <a:tcPr anchor="ctr"/>
                </a:tc>
                <a:tc>
                  <a:txBody>
                    <a:bodyPr/>
                    <a:lstStyle/>
                    <a:p>
                      <a:pPr algn="ctr"/>
                      <a:r>
                        <a:rPr lang="zh-CN" altLang="en-US" sz="1400" dirty="0" smtClean="0">
                          <a:latin typeface="+mn-lt"/>
                          <a:ea typeface="+mn-ea"/>
                          <a:cs typeface="+mn-ea"/>
                          <a:sym typeface="+mn-lt"/>
                        </a:rPr>
                        <a:t>一般</a:t>
                      </a:r>
                      <a:endParaRPr lang="zh-CN" altLang="en-US" sz="1400" dirty="0">
                        <a:latin typeface="+mn-lt"/>
                        <a:ea typeface="+mn-ea"/>
                        <a:cs typeface="+mn-ea"/>
                        <a:sym typeface="+mn-lt"/>
                      </a:endParaRPr>
                    </a:p>
                  </a:txBody>
                  <a:tcPr anchor="ctr"/>
                </a:tc>
                <a:tc>
                  <a:txBody>
                    <a:bodyPr/>
                    <a:lstStyle/>
                    <a:p>
                      <a:pPr algn="ctr"/>
                      <a:r>
                        <a:rPr lang="zh-CN" altLang="en-US" sz="1400" dirty="0" smtClean="0">
                          <a:latin typeface="+mn-lt"/>
                          <a:ea typeface="+mn-ea"/>
                          <a:cs typeface="+mn-ea"/>
                          <a:sym typeface="+mn-lt"/>
                        </a:rPr>
                        <a:t>较好</a:t>
                      </a:r>
                      <a:endParaRPr lang="zh-CN" altLang="en-US" sz="1400" dirty="0">
                        <a:latin typeface="+mn-lt"/>
                        <a:ea typeface="+mn-ea"/>
                        <a:cs typeface="+mn-ea"/>
                        <a:sym typeface="+mn-lt"/>
                      </a:endParaRPr>
                    </a:p>
                  </a:txBody>
                  <a:tcPr anchor="ctr"/>
                </a:tc>
                <a:tc>
                  <a:txBody>
                    <a:bodyPr/>
                    <a:lstStyle/>
                    <a:p>
                      <a:pPr algn="ctr"/>
                      <a:r>
                        <a:rPr lang="zh-CN" altLang="en-US" sz="1400" dirty="0" smtClean="0">
                          <a:latin typeface="+mn-lt"/>
                          <a:ea typeface="+mn-ea"/>
                          <a:cs typeface="+mn-ea"/>
                          <a:sym typeface="+mn-lt"/>
                        </a:rPr>
                        <a:t>好</a:t>
                      </a:r>
                      <a:endParaRPr lang="zh-CN" altLang="en-US" sz="1400" dirty="0">
                        <a:latin typeface="+mn-lt"/>
                        <a:ea typeface="+mn-ea"/>
                        <a:cs typeface="+mn-ea"/>
                        <a:sym typeface="+mn-lt"/>
                      </a:endParaRPr>
                    </a:p>
                  </a:txBody>
                  <a:tcPr anchor="ctr"/>
                </a:tc>
                <a:tc>
                  <a:txBody>
                    <a:bodyPr/>
                    <a:lstStyle/>
                    <a:p>
                      <a:pPr algn="ctr"/>
                      <a:r>
                        <a:rPr lang="zh-CN" altLang="en-US" sz="1400" dirty="0" smtClean="0">
                          <a:latin typeface="+mn-lt"/>
                          <a:ea typeface="+mn-ea"/>
                          <a:cs typeface="+mn-ea"/>
                          <a:sym typeface="+mn-lt"/>
                        </a:rPr>
                        <a:t>好</a:t>
                      </a:r>
                      <a:endParaRPr lang="zh-CN" altLang="en-US" sz="1400" dirty="0">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277400">
                <a:tc>
                  <a:txBody>
                    <a:bodyPr/>
                    <a:lstStyle/>
                    <a:p>
                      <a:pPr algn="ctr"/>
                      <a:r>
                        <a:rPr lang="zh-CN" altLang="en-US" sz="1400" b="1" dirty="0" smtClean="0">
                          <a:latin typeface="+mn-lt"/>
                          <a:ea typeface="+mn-ea"/>
                          <a:cs typeface="+mn-ea"/>
                          <a:sym typeface="+mn-lt"/>
                        </a:rPr>
                        <a:t>读写性能</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r>
                        <a:rPr lang="zh-CN" altLang="en-US" sz="1400" kern="1200" dirty="0" smtClean="0">
                          <a:solidFill>
                            <a:schemeClr val="tx1"/>
                          </a:solidFill>
                          <a:latin typeface="+mn-lt"/>
                          <a:ea typeface="+mn-ea"/>
                          <a:cs typeface="+mn-ea"/>
                          <a:sym typeface="+mn-lt"/>
                        </a:rPr>
                        <a:t>依赖于单主机的硬件性能瓶颈。</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1"/>
                          </a:solidFill>
                          <a:latin typeface="+mn-lt"/>
                          <a:ea typeface="+mn-ea"/>
                          <a:cs typeface="+mn-ea"/>
                          <a:sym typeface="+mn-lt"/>
                        </a:rPr>
                        <a:t>依赖于单主机的硬件性能瓶颈。</a:t>
                      </a:r>
                      <a:endParaRPr lang="zh-CN" altLang="en-US" sz="1400" kern="1200" dirty="0" smtClean="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利用读写分离，写性能受主机限制，读性能可以通过增加从机数量来提升并发能力。</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多个主机能够同时提供读写服务，具备较好的读写能力。</a:t>
                      </a:r>
                      <a:endParaRPr lang="zh-CN" altLang="en-US" sz="1400" kern="1200" dirty="0">
                        <a:solidFill>
                          <a:schemeClr val="tx1"/>
                        </a:solidFill>
                        <a:latin typeface="+mn-lt"/>
                        <a:ea typeface="+mn-ea"/>
                        <a:cs typeface="+mn-ea"/>
                        <a:sym typeface="+mn-lt"/>
                      </a:endParaRPr>
                    </a:p>
                  </a:txBody>
                  <a:tcPr anchor="ctr"/>
                </a:tc>
                <a:tc>
                  <a:txBody>
                    <a:bodyPr/>
                    <a:lstStyle/>
                    <a:p>
                      <a:r>
                        <a:rPr lang="en-US" altLang="zh-CN" sz="1400" kern="1200" dirty="0" smtClean="0">
                          <a:solidFill>
                            <a:schemeClr val="tx1"/>
                          </a:solidFill>
                          <a:latin typeface="+mn-lt"/>
                          <a:ea typeface="+mn-ea"/>
                          <a:cs typeface="+mn-ea"/>
                          <a:sym typeface="+mn-lt"/>
                        </a:rPr>
                        <a:t>Shared-Nothing</a:t>
                      </a:r>
                      <a:r>
                        <a:rPr lang="zh-CN" altLang="en-US" sz="1400" kern="1200" dirty="0" smtClean="0">
                          <a:solidFill>
                            <a:schemeClr val="tx1"/>
                          </a:solidFill>
                          <a:latin typeface="+mn-lt"/>
                          <a:ea typeface="+mn-ea"/>
                          <a:cs typeface="+mn-ea"/>
                          <a:sym typeface="+mn-lt"/>
                        </a:rPr>
                        <a:t>架构提供了出色的分布式计算能力，具备强大的并行处理能力。</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277400">
                <a:tc>
                  <a:txBody>
                    <a:bodyPr/>
                    <a:lstStyle/>
                    <a:p>
                      <a:pPr algn="ctr"/>
                      <a:r>
                        <a:rPr lang="zh-CN" altLang="en-US" sz="1400" b="1" dirty="0" smtClean="0">
                          <a:latin typeface="+mn-lt"/>
                          <a:ea typeface="+mn-ea"/>
                          <a:cs typeface="+mn-ea"/>
                          <a:sym typeface="+mn-lt"/>
                        </a:rPr>
                        <a:t>数据一致性</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r>
                        <a:rPr lang="zh-CN" altLang="en-US" sz="1400" kern="1200" dirty="0" smtClean="0">
                          <a:solidFill>
                            <a:schemeClr val="tx1"/>
                          </a:solidFill>
                          <a:latin typeface="+mn-lt"/>
                          <a:ea typeface="+mn-ea"/>
                          <a:cs typeface="+mn-ea"/>
                          <a:sym typeface="+mn-lt"/>
                        </a:rPr>
                        <a:t>不存在数据一致性问题。</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利用数据同步机制在主备机之间进行同步，存在数据延迟问题和数据丢失风险。</a:t>
                      </a:r>
                      <a:endParaRPr lang="zh-CN" altLang="en-US" sz="1400" kern="1200" dirty="0">
                        <a:solidFill>
                          <a:schemeClr val="tx1"/>
                        </a:solidFill>
                        <a:latin typeface="+mn-lt"/>
                        <a:ea typeface="+mn-ea"/>
                        <a:cs typeface="+mn-ea"/>
                        <a:sym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1"/>
                          </a:solidFill>
                          <a:latin typeface="+mn-lt"/>
                          <a:ea typeface="+mn-ea"/>
                          <a:cs typeface="+mn-ea"/>
                          <a:sym typeface="+mn-lt"/>
                        </a:rPr>
                        <a:t>同主备模式，而且随着从机数量的增加，数据延迟问题和数据丢失风险更为突出。</a:t>
                      </a:r>
                      <a:endParaRPr lang="zh-CN" altLang="en-US" sz="1400" kern="1200" dirty="0" smtClean="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多主机之间需要进行数据双向同步，所以容易产生数据不一致问题。但对于</a:t>
                      </a:r>
                      <a:r>
                        <a:rPr lang="en-US" altLang="zh-CN" sz="1400" kern="1200" dirty="0" smtClean="0">
                          <a:solidFill>
                            <a:schemeClr val="tx1"/>
                          </a:solidFill>
                          <a:latin typeface="+mn-lt"/>
                          <a:ea typeface="+mn-ea"/>
                          <a:cs typeface="+mn-ea"/>
                          <a:sym typeface="+mn-lt"/>
                        </a:rPr>
                        <a:t>Shared-Disk</a:t>
                      </a:r>
                      <a:r>
                        <a:rPr lang="zh-CN" altLang="en-US" sz="1400" kern="1200" dirty="0" smtClean="0">
                          <a:solidFill>
                            <a:schemeClr val="tx1"/>
                          </a:solidFill>
                          <a:latin typeface="+mn-lt"/>
                          <a:ea typeface="+mn-ea"/>
                          <a:cs typeface="+mn-ea"/>
                          <a:sym typeface="+mn-lt"/>
                        </a:rPr>
                        <a:t>架构不存在数据一致性问题。</a:t>
                      </a:r>
                      <a:endParaRPr lang="zh-CN" altLang="en-US" sz="1400" kern="1200" dirty="0">
                        <a:solidFill>
                          <a:schemeClr val="tx1"/>
                        </a:solidFill>
                        <a:latin typeface="+mn-lt"/>
                        <a:ea typeface="+mn-ea"/>
                        <a:cs typeface="+mn-ea"/>
                        <a:sym typeface="+mn-lt"/>
                      </a:endParaRPr>
                    </a:p>
                  </a:txBody>
                  <a:tcPr anchor="ctr"/>
                </a:tc>
                <a:tc>
                  <a:txBody>
                    <a:bodyPr/>
                    <a:lstStyle/>
                    <a:p>
                      <a:r>
                        <a:rPr lang="zh-CN" altLang="en-US" sz="1400" kern="1200" dirty="0" smtClean="0">
                          <a:solidFill>
                            <a:schemeClr val="tx1"/>
                          </a:solidFill>
                          <a:latin typeface="+mn-lt"/>
                          <a:ea typeface="+mn-ea"/>
                          <a:cs typeface="+mn-ea"/>
                          <a:sym typeface="+mn-lt"/>
                        </a:rPr>
                        <a:t>基于</a:t>
                      </a:r>
                      <a:r>
                        <a:rPr lang="en-US" altLang="zh-CN" sz="1400" kern="1200" dirty="0" err="1" smtClean="0">
                          <a:solidFill>
                            <a:schemeClr val="tx1"/>
                          </a:solidFill>
                          <a:latin typeface="+mn-lt"/>
                          <a:ea typeface="+mn-ea"/>
                          <a:cs typeface="+mn-ea"/>
                          <a:sym typeface="+mn-lt"/>
                        </a:rPr>
                        <a:t>sharding</a:t>
                      </a:r>
                      <a:r>
                        <a:rPr lang="zh-CN" altLang="en-US" sz="1400" kern="1200" dirty="0" smtClean="0">
                          <a:solidFill>
                            <a:schemeClr val="tx1"/>
                          </a:solidFill>
                          <a:latin typeface="+mn-lt"/>
                          <a:ea typeface="+mn-ea"/>
                          <a:cs typeface="+mn-ea"/>
                          <a:sym typeface="+mn-lt"/>
                        </a:rPr>
                        <a:t>技术，数据分散在各节点上，节点之间不需要数据同步，所以不存在数据一致性问题。</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277400">
                <a:tc>
                  <a:txBody>
                    <a:bodyPr/>
                    <a:lstStyle/>
                    <a:p>
                      <a:pPr algn="ctr"/>
                      <a:r>
                        <a:rPr lang="zh-CN" altLang="en-US" sz="1400" b="1" dirty="0" smtClean="0">
                          <a:latin typeface="+mn-lt"/>
                          <a:ea typeface="+mn-ea"/>
                          <a:cs typeface="+mn-ea"/>
                          <a:sym typeface="+mn-lt"/>
                        </a:rPr>
                        <a:t>可扩展性</a:t>
                      </a:r>
                      <a:endParaRPr lang="zh-CN" altLang="en-US" sz="1400" b="1" dirty="0">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只能纵向扩展，会遇到单机硬件性能瓶颈。</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只能纵向扩展，同样遇到单机硬件性能瓶颈。</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从机可以通过横向扩展来提升并发读能力。</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扩展性好，但是主机数量增加，会导致数据同步的复杂性急剧升高。</a:t>
                      </a:r>
                      <a:endParaRPr lang="zh-CN" altLang="en-US" sz="14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r>
                        <a:rPr lang="zh-CN" altLang="en-US" sz="1400" kern="1200" dirty="0" smtClean="0">
                          <a:solidFill>
                            <a:schemeClr val="tx1"/>
                          </a:solidFill>
                          <a:latin typeface="+mn-lt"/>
                          <a:ea typeface="+mn-ea"/>
                          <a:cs typeface="+mn-ea"/>
                          <a:sym typeface="+mn-lt"/>
                        </a:rPr>
                        <a:t>理论上可以实现线性扩展，扩展性最好。</a:t>
                      </a:r>
                      <a:endParaRPr lang="zh-CN" altLang="en-US" sz="14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b="1" dirty="0" smtClean="0">
                <a:cs typeface="+mn-ea"/>
                <a:sym typeface="+mn-lt"/>
              </a:rPr>
              <a:t>数据库技术概述</a:t>
            </a:r>
            <a:endParaRPr lang="en-US" altLang="zh-CN" b="1" dirty="0">
              <a:cs typeface="+mn-ea"/>
              <a:sym typeface="+mn-lt"/>
            </a:endParaRPr>
          </a:p>
          <a:p>
            <a:r>
              <a:rPr lang="zh-CN" altLang="en-US" dirty="0" smtClean="0">
                <a:solidFill>
                  <a:schemeClr val="bg1">
                    <a:lumMod val="50000"/>
                  </a:schemeClr>
                </a:solidFill>
                <a:cs typeface="+mn-ea"/>
                <a:sym typeface="+mn-lt"/>
              </a:rPr>
              <a:t>数据库技术发展史</a:t>
            </a:r>
            <a:endParaRPr lang="zh-CN" altLang="en-US" dirty="0">
              <a:solidFill>
                <a:schemeClr val="bg1">
                  <a:lumMod val="50000"/>
                </a:schemeClr>
              </a:solidFill>
              <a:cs typeface="+mn-ea"/>
              <a:sym typeface="+mn-lt"/>
            </a:endParaRPr>
          </a:p>
          <a:p>
            <a:r>
              <a:rPr lang="zh-CN" altLang="en-US" dirty="0" smtClean="0">
                <a:solidFill>
                  <a:schemeClr val="bg1">
                    <a:lumMod val="50000"/>
                  </a:schemeClr>
                </a:solidFill>
                <a:cs typeface="+mn-ea"/>
                <a:sym typeface="+mn-lt"/>
              </a:rPr>
              <a:t>关系型数据库架构</a:t>
            </a:r>
            <a:r>
              <a:rPr lang="zh-CN" altLang="en-US" dirty="0">
                <a:solidFill>
                  <a:schemeClr val="bg1">
                    <a:lumMod val="50000"/>
                  </a:schemeClr>
                </a:solidFill>
                <a:cs typeface="+mn-ea"/>
                <a:sym typeface="+mn-lt"/>
              </a:rPr>
              <a:t>介绍</a:t>
            </a:r>
            <a:endParaRPr lang="en-US" altLang="zh-CN" dirty="0">
              <a:solidFill>
                <a:schemeClr val="bg1">
                  <a:lumMod val="50000"/>
                </a:schemeClr>
              </a:solidFill>
              <a:cs typeface="+mn-ea"/>
              <a:sym typeface="+mn-lt"/>
            </a:endParaRPr>
          </a:p>
          <a:p>
            <a:r>
              <a:rPr lang="zh-CN" altLang="en-US" dirty="0" smtClean="0">
                <a:solidFill>
                  <a:schemeClr val="bg1">
                    <a:lumMod val="50000"/>
                  </a:schemeClr>
                </a:solidFill>
                <a:cs typeface="+mn-ea"/>
                <a:sym typeface="+mn-lt"/>
              </a:rPr>
              <a:t>关系型数据库主流应用场景</a:t>
            </a:r>
            <a:endParaRPr lang="zh-CN" altLang="en-US" dirty="0">
              <a:solidFill>
                <a:schemeClr val="bg1">
                  <a:lumMod val="50000"/>
                </a:schemeClr>
              </a:solidFill>
              <a:cs typeface="+mn-ea"/>
              <a:sym typeface="+mn-lt"/>
            </a:endParaRPr>
          </a:p>
          <a:p>
            <a:endParaRPr lang="en-US" altLang="zh-CN" dirty="0" smtClean="0">
              <a:cs typeface="+mn-ea"/>
              <a:sym typeface="+mn-lt"/>
            </a:endParaRPr>
          </a:p>
          <a:p>
            <a:endParaRPr lang="zh-CN" altLang="en-US" dirty="0">
              <a:cs typeface="+mn-ea"/>
              <a:sym typeface="+mn-lt"/>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r>
              <a:rPr lang="zh-CN" altLang="en-US" dirty="0">
                <a:solidFill>
                  <a:schemeClr val="bg1">
                    <a:lumMod val="50000"/>
                  </a:schemeClr>
                </a:solidFill>
                <a:cs typeface="+mn-ea"/>
                <a:sym typeface="+mn-lt"/>
              </a:rPr>
              <a:t>数据库技术概述</a:t>
            </a:r>
            <a:endParaRPr lang="zh-CN" altLang="en-US" dirty="0">
              <a:solidFill>
                <a:schemeClr val="bg1">
                  <a:lumMod val="50000"/>
                </a:schemeClr>
              </a:solidFill>
              <a:cs typeface="+mn-ea"/>
              <a:sym typeface="+mn-lt"/>
            </a:endParaRPr>
          </a:p>
          <a:p>
            <a:r>
              <a:rPr lang="zh-CN" altLang="en-US" dirty="0" smtClean="0">
                <a:solidFill>
                  <a:schemeClr val="bg1">
                    <a:lumMod val="50000"/>
                  </a:schemeClr>
                </a:solidFill>
                <a:cs typeface="+mn-ea"/>
                <a:sym typeface="+mn-lt"/>
              </a:rPr>
              <a:t>数据库</a:t>
            </a:r>
            <a:r>
              <a:rPr lang="zh-CN" altLang="en-US" dirty="0">
                <a:solidFill>
                  <a:schemeClr val="bg1">
                    <a:lumMod val="50000"/>
                  </a:schemeClr>
                </a:solidFill>
                <a:cs typeface="+mn-ea"/>
                <a:sym typeface="+mn-lt"/>
              </a:rPr>
              <a:t>技术发展史</a:t>
            </a:r>
            <a:endParaRPr lang="zh-CN" altLang="en-US" dirty="0">
              <a:solidFill>
                <a:schemeClr val="bg1">
                  <a:lumMod val="50000"/>
                </a:schemeClr>
              </a:solidFill>
              <a:cs typeface="+mn-ea"/>
              <a:sym typeface="+mn-lt"/>
            </a:endParaRPr>
          </a:p>
          <a:p>
            <a:r>
              <a:rPr lang="zh-CN" altLang="en-US" dirty="0">
                <a:solidFill>
                  <a:schemeClr val="bg1">
                    <a:lumMod val="50000"/>
                  </a:schemeClr>
                </a:solidFill>
                <a:cs typeface="+mn-ea"/>
                <a:sym typeface="+mn-lt"/>
              </a:rPr>
              <a:t>关系型数据库</a:t>
            </a:r>
            <a:r>
              <a:rPr lang="zh-CN" altLang="en-US" dirty="0" smtClean="0">
                <a:solidFill>
                  <a:schemeClr val="bg1">
                    <a:lumMod val="50000"/>
                  </a:schemeClr>
                </a:solidFill>
                <a:cs typeface="+mn-ea"/>
                <a:sym typeface="+mn-lt"/>
              </a:rPr>
              <a:t>架构</a:t>
            </a:r>
            <a:r>
              <a:rPr lang="zh-CN" altLang="en-US" dirty="0">
                <a:solidFill>
                  <a:schemeClr val="bg1">
                    <a:lumMod val="50000"/>
                  </a:schemeClr>
                </a:solidFill>
                <a:cs typeface="+mn-ea"/>
                <a:sym typeface="+mn-lt"/>
              </a:rPr>
              <a:t>介绍</a:t>
            </a:r>
            <a:endParaRPr lang="en-US" altLang="zh-CN" dirty="0">
              <a:solidFill>
                <a:schemeClr val="bg1">
                  <a:lumMod val="50000"/>
                </a:schemeClr>
              </a:solidFill>
              <a:cs typeface="+mn-ea"/>
              <a:sym typeface="+mn-lt"/>
            </a:endParaRPr>
          </a:p>
          <a:p>
            <a:r>
              <a:rPr lang="zh-CN" altLang="en-US" b="1" dirty="0">
                <a:cs typeface="+mn-ea"/>
                <a:sym typeface="+mn-lt"/>
              </a:rPr>
              <a:t>关系型数据库主流应用</a:t>
            </a:r>
            <a:r>
              <a:rPr lang="zh-CN" altLang="en-US" b="1" dirty="0" smtClean="0">
                <a:cs typeface="+mn-ea"/>
                <a:sym typeface="+mn-lt"/>
              </a:rPr>
              <a:t>场景</a:t>
            </a:r>
            <a:endParaRPr lang="en-US" altLang="zh-CN" dirty="0" smtClean="0">
              <a:cs typeface="+mn-ea"/>
              <a:sym typeface="+mn-lt"/>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3500" dirty="0" smtClean="0">
                <a:latin typeface="+mn-lt"/>
                <a:ea typeface="+mn-ea"/>
                <a:cs typeface="+mn-ea"/>
                <a:sym typeface="+mn-lt"/>
              </a:rPr>
              <a:t>联机事务处理 </a:t>
            </a:r>
            <a:r>
              <a:rPr lang="en-US" altLang="zh-CN" sz="3500" dirty="0" smtClean="0">
                <a:latin typeface="+mn-lt"/>
                <a:ea typeface="+mn-ea"/>
                <a:cs typeface="+mn-ea"/>
                <a:sym typeface="+mn-lt"/>
              </a:rPr>
              <a:t>(</a:t>
            </a:r>
            <a:r>
              <a:rPr lang="en-US" altLang="zh-CN" sz="3500" dirty="0" err="1" smtClean="0">
                <a:latin typeface="+mn-lt"/>
                <a:ea typeface="+mn-ea"/>
                <a:cs typeface="+mn-ea"/>
                <a:sym typeface="+mn-lt"/>
              </a:rPr>
              <a:t>OnLine</a:t>
            </a:r>
            <a:r>
              <a:rPr lang="en-US" altLang="zh-CN" sz="3500" dirty="0" smtClean="0">
                <a:latin typeface="+mn-lt"/>
                <a:ea typeface="+mn-ea"/>
                <a:cs typeface="+mn-ea"/>
                <a:sym typeface="+mn-lt"/>
              </a:rPr>
              <a:t> Transaction Processing)</a:t>
            </a:r>
            <a:endParaRPr lang="zh-CN" altLang="en-US" sz="3500"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en-US" altLang="zh-CN" sz="2000" dirty="0" smtClean="0">
                <a:latin typeface="+mn-lt"/>
                <a:ea typeface="+mn-ea"/>
                <a:cs typeface="+mn-ea"/>
                <a:sym typeface="+mn-lt"/>
              </a:rPr>
              <a:t>OLTP</a:t>
            </a:r>
            <a:r>
              <a:rPr lang="zh-CN" altLang="en-US" sz="2000" dirty="0" smtClean="0">
                <a:latin typeface="+mn-lt"/>
                <a:ea typeface="+mn-ea"/>
                <a:cs typeface="+mn-ea"/>
                <a:sym typeface="+mn-lt"/>
              </a:rPr>
              <a:t>是传统关系数据库的主要应用</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面向基本的，日常的事务处理，例如银行储蓄业务的存取交易，转账交易等。</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特点</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大吞吐量：大量的短在线事务（插入、更新、删除），非常快速的查询处理。</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高并发，（准）实时响应。</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典型的</a:t>
            </a:r>
            <a:r>
              <a:rPr lang="en-US" altLang="zh-CN" sz="2000" dirty="0" smtClean="0">
                <a:latin typeface="+mn-lt"/>
                <a:ea typeface="+mn-ea"/>
                <a:cs typeface="+mn-ea"/>
                <a:sym typeface="+mn-lt"/>
              </a:rPr>
              <a:t>OLTP</a:t>
            </a:r>
            <a:r>
              <a:rPr lang="zh-CN" altLang="en-US" sz="2000" dirty="0" smtClean="0">
                <a:latin typeface="+mn-lt"/>
                <a:ea typeface="+mn-ea"/>
                <a:cs typeface="+mn-ea"/>
                <a:sym typeface="+mn-lt"/>
              </a:rPr>
              <a:t>场景</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零售系统</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金融交易系统</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火车票销售系统</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秒杀活动</a:t>
            </a:r>
            <a:endParaRPr lang="en-US" altLang="zh-CN" sz="1800"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联机分析处理 </a:t>
            </a:r>
            <a:r>
              <a:rPr lang="en-US" altLang="zh-CN" dirty="0" smtClean="0">
                <a:latin typeface="+mn-lt"/>
                <a:ea typeface="+mn-ea"/>
                <a:cs typeface="+mn-ea"/>
                <a:sym typeface="+mn-lt"/>
              </a:rPr>
              <a:t>(</a:t>
            </a:r>
            <a:r>
              <a:rPr lang="en-US" altLang="zh-CN" dirty="0" err="1" smtClean="0">
                <a:latin typeface="+mn-lt"/>
                <a:ea typeface="+mn-ea"/>
                <a:cs typeface="+mn-ea"/>
                <a:sym typeface="+mn-lt"/>
              </a:rPr>
              <a:t>OnLine</a:t>
            </a:r>
            <a:r>
              <a:rPr lang="en-US" altLang="zh-CN" dirty="0" smtClean="0">
                <a:latin typeface="+mn-lt"/>
                <a:ea typeface="+mn-ea"/>
                <a:cs typeface="+mn-ea"/>
                <a:sym typeface="+mn-lt"/>
              </a:rPr>
              <a:t> Analytical Processing)</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en-US" altLang="zh-CN" sz="1800" dirty="0" smtClean="0">
                <a:latin typeface="+mn-lt"/>
                <a:ea typeface="+mn-ea"/>
                <a:cs typeface="+mn-ea"/>
                <a:sym typeface="+mn-lt"/>
              </a:rPr>
              <a:t>OLAP</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联机分析处理的概念最早是</a:t>
            </a:r>
            <a:r>
              <a:rPr lang="en-US" altLang="zh-CN" sz="1600" dirty="0" err="1" smtClean="0">
                <a:latin typeface="+mn-lt"/>
                <a:ea typeface="+mn-ea"/>
                <a:cs typeface="+mn-ea"/>
                <a:sym typeface="+mn-lt"/>
              </a:rPr>
              <a:t>E.F.Codd</a:t>
            </a:r>
            <a:r>
              <a:rPr lang="zh-CN" altLang="en-US" sz="1600" dirty="0" smtClean="0">
                <a:latin typeface="+mn-lt"/>
                <a:ea typeface="+mn-ea"/>
                <a:cs typeface="+mn-ea"/>
                <a:sym typeface="+mn-lt"/>
              </a:rPr>
              <a:t>于</a:t>
            </a:r>
            <a:r>
              <a:rPr lang="en-US" altLang="zh-CN" sz="1600" dirty="0" smtClean="0">
                <a:latin typeface="+mn-lt"/>
                <a:ea typeface="+mn-ea"/>
                <a:cs typeface="+mn-ea"/>
                <a:sym typeface="+mn-lt"/>
              </a:rPr>
              <a:t>1993</a:t>
            </a:r>
            <a:r>
              <a:rPr lang="zh-CN" altLang="en-US" sz="1600" dirty="0" smtClean="0">
                <a:latin typeface="+mn-lt"/>
                <a:ea typeface="+mn-ea"/>
                <a:cs typeface="+mn-ea"/>
                <a:sym typeface="+mn-lt"/>
              </a:rPr>
              <a:t>年相对于</a:t>
            </a:r>
            <a:r>
              <a:rPr lang="en-US" altLang="zh-CN" sz="1600" dirty="0" smtClean="0">
                <a:latin typeface="+mn-lt"/>
                <a:ea typeface="+mn-ea"/>
                <a:cs typeface="+mn-ea"/>
                <a:sym typeface="+mn-lt"/>
              </a:rPr>
              <a:t>OLTP</a:t>
            </a:r>
            <a:r>
              <a:rPr lang="zh-CN" altLang="en-US" sz="1600" dirty="0" smtClean="0">
                <a:latin typeface="+mn-lt"/>
                <a:ea typeface="+mn-ea"/>
                <a:cs typeface="+mn-ea"/>
                <a:sym typeface="+mn-lt"/>
              </a:rPr>
              <a:t>系统而提出的。</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是指对数据的查询和分析操作，通常对大量的历史数据查询和分析。涉及到的历史周期比较长，数据量大，在不同层级上的汇总，聚合操作使得事务处理操作比较复杂。</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特点</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主要面向侧重于复杂查询，回答一些“战略性”的问题。</a:t>
            </a:r>
            <a:endParaRPr lang="zh-CN" altLang="en-US" sz="1600" dirty="0" smtClean="0">
              <a:latin typeface="+mn-lt"/>
              <a:ea typeface="+mn-ea"/>
              <a:cs typeface="+mn-ea"/>
              <a:sym typeface="+mn-lt"/>
            </a:endParaRPr>
          </a:p>
          <a:p>
            <a:pPr lvl="1"/>
            <a:r>
              <a:rPr lang="zh-CN" altLang="en-US" sz="1600" dirty="0" smtClean="0">
                <a:latin typeface="+mn-lt"/>
                <a:ea typeface="+mn-ea"/>
                <a:cs typeface="+mn-ea"/>
                <a:sym typeface="+mn-lt"/>
              </a:rPr>
              <a:t>数据处理方面聚焦于数据的聚合，汇总，分组计算，窗口计算等“分析型”数据加工和操作。</a:t>
            </a:r>
            <a:endParaRPr lang="zh-CN" altLang="en-US" sz="1600" dirty="0" smtClean="0">
              <a:latin typeface="+mn-lt"/>
              <a:ea typeface="+mn-ea"/>
              <a:cs typeface="+mn-ea"/>
              <a:sym typeface="+mn-lt"/>
            </a:endParaRPr>
          </a:p>
          <a:p>
            <a:pPr lvl="1"/>
            <a:r>
              <a:rPr lang="zh-CN" altLang="en-US" sz="1600" dirty="0" smtClean="0">
                <a:latin typeface="+mn-lt"/>
                <a:ea typeface="+mn-ea"/>
                <a:cs typeface="+mn-ea"/>
                <a:sym typeface="+mn-lt"/>
              </a:rPr>
              <a:t>从多维度去使用和分析数据。</a:t>
            </a:r>
            <a:endParaRPr lang="en-US" altLang="zh-CN" sz="1600" dirty="0" smtClean="0">
              <a:latin typeface="+mn-lt"/>
              <a:ea typeface="+mn-ea"/>
              <a:cs typeface="+mn-ea"/>
              <a:sym typeface="+mn-lt"/>
            </a:endParaRPr>
          </a:p>
          <a:p>
            <a:r>
              <a:rPr lang="zh-CN" altLang="en-US" sz="1800" dirty="0" smtClean="0">
                <a:latin typeface="+mn-lt"/>
                <a:ea typeface="+mn-ea"/>
                <a:cs typeface="+mn-ea"/>
                <a:sym typeface="+mn-lt"/>
              </a:rPr>
              <a:t>典型的</a:t>
            </a:r>
            <a:r>
              <a:rPr lang="en-US" altLang="zh-CN" sz="1800" dirty="0" smtClean="0">
                <a:latin typeface="+mn-lt"/>
                <a:ea typeface="+mn-ea"/>
                <a:cs typeface="+mn-ea"/>
                <a:sym typeface="+mn-lt"/>
              </a:rPr>
              <a:t>OLAP</a:t>
            </a:r>
            <a:r>
              <a:rPr lang="zh-CN" altLang="en-US" sz="1800" dirty="0" smtClean="0">
                <a:latin typeface="+mn-lt"/>
                <a:ea typeface="+mn-ea"/>
                <a:cs typeface="+mn-ea"/>
                <a:sym typeface="+mn-lt"/>
              </a:rPr>
              <a:t>场景</a:t>
            </a:r>
            <a:endParaRPr lang="en-US" altLang="zh-CN" sz="1800" dirty="0" smtClean="0">
              <a:latin typeface="+mn-lt"/>
              <a:ea typeface="+mn-ea"/>
              <a:cs typeface="+mn-ea"/>
              <a:sym typeface="+mn-lt"/>
            </a:endParaRPr>
          </a:p>
          <a:p>
            <a:pPr lvl="1"/>
            <a:r>
              <a:rPr lang="zh-CN" altLang="en-US" sz="1600" dirty="0" smtClean="0">
                <a:latin typeface="+mn-lt"/>
                <a:ea typeface="+mn-ea"/>
                <a:cs typeface="+mn-ea"/>
                <a:sym typeface="+mn-lt"/>
              </a:rPr>
              <a:t>报表系统，</a:t>
            </a:r>
            <a:r>
              <a:rPr lang="en-US" altLang="zh-CN" sz="1600" dirty="0" smtClean="0">
                <a:latin typeface="+mn-lt"/>
                <a:ea typeface="+mn-ea"/>
                <a:cs typeface="+mn-ea"/>
                <a:sym typeface="+mn-lt"/>
              </a:rPr>
              <a:t>CRM</a:t>
            </a:r>
            <a:r>
              <a:rPr lang="zh-CN" altLang="en-US" sz="1600" dirty="0" smtClean="0">
                <a:latin typeface="+mn-lt"/>
                <a:ea typeface="+mn-ea"/>
                <a:cs typeface="+mn-ea"/>
                <a:sym typeface="+mn-lt"/>
              </a:rPr>
              <a:t>系统。</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金融风险预测预警系统、反洗钱系统。</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数据集市，数据仓库。</a:t>
            </a:r>
            <a:endParaRPr lang="en-US" altLang="zh-CN" sz="1600" dirty="0" smtClean="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3600" dirty="0">
                <a:latin typeface="+mn-lt"/>
                <a:ea typeface="+mn-ea"/>
                <a:cs typeface="+mn-ea"/>
                <a:sym typeface="+mn-lt"/>
              </a:rPr>
              <a:t>OLTP</a:t>
            </a:r>
            <a:r>
              <a:rPr lang="zh-CN" altLang="en-US" sz="3600" dirty="0">
                <a:latin typeface="+mn-lt"/>
                <a:ea typeface="+mn-ea"/>
                <a:cs typeface="+mn-ea"/>
                <a:sym typeface="+mn-lt"/>
              </a:rPr>
              <a:t>和</a:t>
            </a:r>
            <a:r>
              <a:rPr lang="en-US" altLang="zh-CN" sz="3600" dirty="0">
                <a:latin typeface="+mn-lt"/>
                <a:ea typeface="+mn-ea"/>
                <a:cs typeface="+mn-ea"/>
                <a:sym typeface="+mn-lt"/>
              </a:rPr>
              <a:t>OLAP</a:t>
            </a:r>
            <a:r>
              <a:rPr lang="zh-CN" altLang="en-US" sz="3600" dirty="0">
                <a:latin typeface="+mn-lt"/>
                <a:ea typeface="+mn-ea"/>
                <a:cs typeface="+mn-ea"/>
                <a:sym typeface="+mn-lt"/>
              </a:rPr>
              <a:t>对比分析</a:t>
            </a:r>
            <a:endParaRPr lang="zh-CN" altLang="en-US" dirty="0">
              <a:latin typeface="+mn-lt"/>
              <a:ea typeface="+mn-ea"/>
              <a:cs typeface="+mn-ea"/>
              <a:sym typeface="+mn-lt"/>
            </a:endParaRPr>
          </a:p>
        </p:txBody>
      </p:sp>
      <p:graphicFrame>
        <p:nvGraphicFramePr>
          <p:cNvPr id="17" name="表格 16"/>
          <p:cNvGraphicFramePr>
            <a:graphicFrameLocks noGrp="1"/>
          </p:cNvGraphicFramePr>
          <p:nvPr/>
        </p:nvGraphicFramePr>
        <p:xfrm>
          <a:off x="1273067" y="1633408"/>
          <a:ext cx="9902933" cy="4165860"/>
        </p:xfrm>
        <a:graphic>
          <a:graphicData uri="http://schemas.openxmlformats.org/drawingml/2006/table">
            <a:tbl>
              <a:tblPr firstRow="1" bandRow="1"/>
              <a:tblGrid>
                <a:gridCol w="1908212"/>
                <a:gridCol w="3903980"/>
                <a:gridCol w="4090741"/>
              </a:tblGrid>
              <a:tr h="310703">
                <a:tc>
                  <a:txBody>
                    <a:bodyPr/>
                    <a:lstStyle/>
                    <a:p>
                      <a:pPr algn="ctr"/>
                      <a:r>
                        <a:rPr lang="zh-CN" altLang="en-US" sz="1600" b="1" kern="1200" dirty="0" smtClean="0">
                          <a:solidFill>
                            <a:schemeClr val="tx1"/>
                          </a:solidFill>
                          <a:latin typeface="+mn-lt"/>
                          <a:ea typeface="+mn-ea"/>
                          <a:cs typeface="+mn-ea"/>
                          <a:sym typeface="+mn-lt"/>
                        </a:rPr>
                        <a:t>分类</a:t>
                      </a:r>
                      <a:endParaRPr lang="zh-CN" altLang="en-US" sz="1600" b="1"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en-US" altLang="zh-CN" sz="1600" b="1" kern="1200" dirty="0" smtClean="0">
                          <a:solidFill>
                            <a:schemeClr val="tx1"/>
                          </a:solidFill>
                          <a:latin typeface="+mn-lt"/>
                          <a:ea typeface="+mn-ea"/>
                          <a:cs typeface="+mn-ea"/>
                          <a:sym typeface="+mn-lt"/>
                        </a:rPr>
                        <a:t>OLTP</a:t>
                      </a:r>
                      <a:endParaRPr lang="zh-CN" altLang="en-US" sz="1600" b="1" kern="1200" dirty="0">
                        <a:solidFill>
                          <a:schemeClr val="tx1"/>
                        </a:solidFill>
                        <a:latin typeface="+mn-lt"/>
                        <a:ea typeface="+mn-ea"/>
                        <a:cs typeface="+mn-ea"/>
                        <a:sym typeface="+mn-lt"/>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algn="ctr"/>
                      <a:r>
                        <a:rPr lang="en-US" altLang="zh-CN" sz="1600" b="1" kern="1200" dirty="0" smtClean="0">
                          <a:solidFill>
                            <a:schemeClr val="tx1"/>
                          </a:solidFill>
                          <a:latin typeface="+mn-lt"/>
                          <a:ea typeface="+mn-ea"/>
                          <a:cs typeface="+mn-ea"/>
                          <a:sym typeface="+mn-lt"/>
                        </a:rPr>
                        <a:t>OLAP</a:t>
                      </a:r>
                      <a:endParaRPr lang="zh-CN" altLang="en-US" sz="1600" b="1"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tr>
              <a:tr h="383058">
                <a:tc>
                  <a:txBody>
                    <a:bodyPr/>
                    <a:lstStyle/>
                    <a:p>
                      <a:pPr algn="ctr"/>
                      <a:r>
                        <a:rPr lang="zh-CN" altLang="en-US" sz="1600" kern="1200" dirty="0" smtClean="0">
                          <a:solidFill>
                            <a:schemeClr val="tx1"/>
                          </a:solidFill>
                          <a:latin typeface="+mn-lt"/>
                          <a:ea typeface="+mn-ea"/>
                          <a:cs typeface="+mn-ea"/>
                          <a:sym typeface="+mn-lt"/>
                        </a:rPr>
                        <a:t>分析粒度</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细节的</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细节的，综合的或提炼的</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时效性</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在存取瞬间是准确的</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代表过去的数据</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数据更新需求</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可更新</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一般情况，无需更新</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操作可预知性</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操作需求事先可知道</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操作需求事先可能不知道</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实时性</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对性能要求高，响应毫秒级、秒级</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对性能要求相对宽松，响应分钟级、小时级</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数据量</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一个时刻操作一条或几条记录，数据量小</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一个时刻操作一集合，数据量大</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驱动方式</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事务驱动</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分析驱动</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应用类型</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面向应用</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面向分析</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应用场景</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tcPr>
                </a:tc>
                <a:tc>
                  <a:txBody>
                    <a:bodyPr/>
                    <a:lstStyle/>
                    <a:p>
                      <a:pPr algn="l"/>
                      <a:r>
                        <a:rPr lang="zh-CN" altLang="en-US" sz="1600" kern="1200" dirty="0" smtClean="0">
                          <a:solidFill>
                            <a:schemeClr val="tx1"/>
                          </a:solidFill>
                          <a:latin typeface="+mn-lt"/>
                          <a:ea typeface="+mn-ea"/>
                          <a:cs typeface="+mn-ea"/>
                          <a:sym typeface="+mn-lt"/>
                        </a:rPr>
                        <a:t>支持日常运营</a:t>
                      </a:r>
                      <a:endParaRPr lang="en-US" sz="1600" kern="1200" dirty="0">
                        <a:solidFill>
                          <a:schemeClr val="tx1"/>
                        </a:solidFill>
                        <a:latin typeface="+mn-lt"/>
                        <a:ea typeface="+mn-ea"/>
                        <a:cs typeface="+mn-ea"/>
                        <a:sym typeface="+mn-lt"/>
                      </a:endParaRPr>
                    </a:p>
                  </a:txBody>
                  <a:tcPr anchor="ctr"/>
                </a:tc>
                <a:tc>
                  <a:txBody>
                    <a:bodyPr/>
                    <a:lstStyle/>
                    <a:p>
                      <a:pPr algn="l"/>
                      <a:r>
                        <a:rPr lang="zh-CN" altLang="en-US" sz="1600" kern="1200" dirty="0" smtClean="0">
                          <a:solidFill>
                            <a:schemeClr val="tx1"/>
                          </a:solidFill>
                          <a:latin typeface="+mn-lt"/>
                          <a:ea typeface="+mn-ea"/>
                          <a:cs typeface="+mn-ea"/>
                          <a:sym typeface="+mn-lt"/>
                        </a:rPr>
                        <a:t>支持管理需求</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tcPr>
                </a:tc>
              </a:tr>
              <a:tr h="383058">
                <a:tc>
                  <a:txBody>
                    <a:bodyPr/>
                    <a:lstStyle/>
                    <a:p>
                      <a:pPr algn="ctr"/>
                      <a:r>
                        <a:rPr lang="zh-CN" altLang="en-US" sz="1600" kern="1200" dirty="0" smtClean="0">
                          <a:solidFill>
                            <a:schemeClr val="tx1"/>
                          </a:solidFill>
                          <a:latin typeface="+mn-lt"/>
                          <a:ea typeface="+mn-ea"/>
                          <a:cs typeface="+mn-ea"/>
                          <a:sym typeface="+mn-lt"/>
                        </a:rPr>
                        <a:t>典型应用</a:t>
                      </a:r>
                      <a:endParaRPr lang="en-US" sz="1600" kern="1200" dirty="0">
                        <a:solidFill>
                          <a:schemeClr val="tx1"/>
                        </a:solidFill>
                        <a:latin typeface="+mn-lt"/>
                        <a:ea typeface="+mn-ea"/>
                        <a:cs typeface="+mn-ea"/>
                        <a:sym typeface="+mn-lt"/>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l"/>
                      <a:r>
                        <a:rPr lang="zh-CN" altLang="en-US" sz="1600" kern="1200" dirty="0" smtClean="0">
                          <a:solidFill>
                            <a:schemeClr val="tx1"/>
                          </a:solidFill>
                          <a:latin typeface="+mn-lt"/>
                          <a:ea typeface="+mn-ea"/>
                          <a:cs typeface="+mn-ea"/>
                          <a:sym typeface="+mn-lt"/>
                        </a:rPr>
                        <a:t>银行核心系统、信用卡系统</a:t>
                      </a:r>
                      <a:endParaRPr lang="en-US" sz="1600" kern="1200" dirty="0">
                        <a:solidFill>
                          <a:schemeClr val="tx1"/>
                        </a:solidFill>
                        <a:latin typeface="+mn-lt"/>
                        <a:ea typeface="+mn-ea"/>
                        <a:cs typeface="+mn-ea"/>
                        <a:sym typeface="+mn-lt"/>
                      </a:endParaRPr>
                    </a:p>
                  </a:txBody>
                  <a:tcPr anchor="ctr">
                    <a:lnB w="28575" cap="flat" cmpd="sng" algn="ctr">
                      <a:solidFill>
                        <a:schemeClr val="tx1"/>
                      </a:solidFill>
                      <a:prstDash val="solid"/>
                      <a:round/>
                      <a:headEnd type="none" w="med" len="med"/>
                      <a:tailEnd type="none" w="med" len="med"/>
                    </a:lnB>
                  </a:tcPr>
                </a:tc>
                <a:tc>
                  <a:txBody>
                    <a:bodyPr/>
                    <a:lstStyle/>
                    <a:p>
                      <a:pPr algn="l"/>
                      <a:r>
                        <a:rPr lang="en-US" altLang="zh-CN" sz="1600" kern="1200" dirty="0" smtClean="0">
                          <a:solidFill>
                            <a:schemeClr val="tx1"/>
                          </a:solidFill>
                          <a:latin typeface="+mn-lt"/>
                          <a:ea typeface="+mn-ea"/>
                          <a:cs typeface="+mn-ea"/>
                          <a:sym typeface="+mn-lt"/>
                        </a:rPr>
                        <a:t>ACRM</a:t>
                      </a:r>
                      <a:r>
                        <a:rPr lang="zh-CN" altLang="en-US" sz="1600" kern="1200" dirty="0" smtClean="0">
                          <a:solidFill>
                            <a:schemeClr val="tx1"/>
                          </a:solidFill>
                          <a:latin typeface="+mn-lt"/>
                          <a:ea typeface="+mn-ea"/>
                          <a:cs typeface="+mn-ea"/>
                          <a:sym typeface="+mn-lt"/>
                        </a:rPr>
                        <a:t>、风险管理</a:t>
                      </a:r>
                      <a:endParaRPr lang="en-US" sz="1600" kern="1200" dirty="0">
                        <a:solidFill>
                          <a:schemeClr val="tx1"/>
                        </a:solidFill>
                        <a:latin typeface="+mn-lt"/>
                        <a:ea typeface="+mn-ea"/>
                        <a:cs typeface="+mn-ea"/>
                        <a:sym typeface="+mn-lt"/>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性能衡量指标</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en-US" altLang="zh-CN" sz="1700" dirty="0" smtClean="0">
                <a:latin typeface="+mn-lt"/>
                <a:ea typeface="+mn-ea"/>
                <a:cs typeface="+mn-ea"/>
                <a:sym typeface="+mn-lt"/>
              </a:rPr>
              <a:t>TPC</a:t>
            </a:r>
            <a:r>
              <a:rPr lang="zh-CN" altLang="en-US" sz="1700" dirty="0" smtClean="0">
                <a:latin typeface="+mn-lt"/>
                <a:ea typeface="+mn-ea"/>
                <a:cs typeface="+mn-ea"/>
                <a:sym typeface="+mn-lt"/>
              </a:rPr>
              <a:t>（</a:t>
            </a:r>
            <a:r>
              <a:rPr lang="en-US" altLang="zh-CN" sz="1700" dirty="0" smtClean="0">
                <a:latin typeface="+mn-lt"/>
                <a:ea typeface="+mn-ea"/>
                <a:cs typeface="+mn-ea"/>
                <a:sym typeface="+mn-lt"/>
              </a:rPr>
              <a:t>Transaction Processing Performance Council</a:t>
            </a:r>
            <a:r>
              <a:rPr lang="zh-CN" altLang="en-US" sz="1700" dirty="0" smtClean="0">
                <a:latin typeface="+mn-lt"/>
                <a:ea typeface="+mn-ea"/>
                <a:cs typeface="+mn-ea"/>
                <a:sym typeface="+mn-lt"/>
              </a:rPr>
              <a:t>，事务处理性能委员会</a:t>
            </a:r>
            <a:r>
              <a:rPr lang="zh-CN" altLang="en-US" sz="1700" dirty="0">
                <a:latin typeface="+mn-lt"/>
                <a:ea typeface="+mn-ea"/>
                <a:cs typeface="+mn-ea"/>
                <a:sym typeface="+mn-lt"/>
              </a:rPr>
              <a:t>）</a:t>
            </a:r>
            <a:endParaRPr lang="en-US" altLang="zh-CN" sz="1700" dirty="0" smtClean="0">
              <a:latin typeface="+mn-lt"/>
              <a:ea typeface="+mn-ea"/>
              <a:cs typeface="+mn-ea"/>
              <a:sym typeface="+mn-lt"/>
            </a:endParaRPr>
          </a:p>
          <a:p>
            <a:pPr lvl="1"/>
            <a:r>
              <a:rPr lang="zh-CN" altLang="en-US" sz="1600" dirty="0" smtClean="0">
                <a:latin typeface="+mn-lt"/>
                <a:ea typeface="+mn-ea"/>
                <a:cs typeface="+mn-ea"/>
                <a:sym typeface="+mn-lt"/>
              </a:rPr>
              <a:t>职责是制定商务应用基准测试标准</a:t>
            </a:r>
            <a:r>
              <a:rPr lang="en-US" altLang="zh-CN" sz="1600" dirty="0" smtClean="0">
                <a:latin typeface="+mn-lt"/>
                <a:ea typeface="+mn-ea"/>
                <a:cs typeface="+mn-ea"/>
                <a:sym typeface="+mn-lt"/>
              </a:rPr>
              <a:t>(Benchmark</a:t>
            </a:r>
            <a:r>
              <a:rPr lang="en-US" altLang="zh-CN" sz="1600" dirty="0">
                <a:latin typeface="+mn-lt"/>
                <a:ea typeface="+mn-ea"/>
                <a:cs typeface="+mn-ea"/>
                <a:sym typeface="+mn-lt"/>
              </a:rPr>
              <a:t>)</a:t>
            </a:r>
            <a:r>
              <a:rPr lang="zh-CN" altLang="en-US" sz="1600" dirty="0" smtClean="0">
                <a:latin typeface="+mn-lt"/>
                <a:ea typeface="+mn-ea"/>
                <a:cs typeface="+mn-ea"/>
                <a:sym typeface="+mn-lt"/>
              </a:rPr>
              <a:t>的规范、性能和价格度量，并管理测试结果的发布。</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制定的是标准规范而不是代码，任何厂家依据规范最优地构造自己系统进行评测。</a:t>
            </a:r>
            <a:endParaRPr lang="en-US" altLang="zh-CN" sz="1600" dirty="0" smtClean="0">
              <a:latin typeface="+mn-lt"/>
              <a:ea typeface="+mn-ea"/>
              <a:cs typeface="+mn-ea"/>
              <a:sym typeface="+mn-lt"/>
            </a:endParaRPr>
          </a:p>
          <a:p>
            <a:pPr lvl="1"/>
            <a:r>
              <a:rPr lang="zh-CN" altLang="en-US" sz="1600" dirty="0" smtClean="0">
                <a:latin typeface="+mn-lt"/>
                <a:ea typeface="+mn-ea"/>
                <a:cs typeface="+mn-ea"/>
                <a:sym typeface="+mn-lt"/>
              </a:rPr>
              <a:t>推出了很多基准测试标准，其中针对</a:t>
            </a:r>
            <a:r>
              <a:rPr lang="en-US" altLang="zh-CN" sz="1600" dirty="0" smtClean="0">
                <a:latin typeface="+mn-lt"/>
                <a:ea typeface="+mn-ea"/>
                <a:cs typeface="+mn-ea"/>
                <a:sym typeface="+mn-lt"/>
              </a:rPr>
              <a:t>OLTP</a:t>
            </a:r>
            <a:r>
              <a:rPr lang="zh-CN" altLang="en-US" sz="1600" dirty="0" smtClean="0">
                <a:latin typeface="+mn-lt"/>
                <a:ea typeface="+mn-ea"/>
                <a:cs typeface="+mn-ea"/>
                <a:sym typeface="+mn-lt"/>
              </a:rPr>
              <a:t>和</a:t>
            </a:r>
            <a:r>
              <a:rPr lang="en-US" altLang="zh-CN" sz="1600" dirty="0" smtClean="0">
                <a:latin typeface="+mn-lt"/>
                <a:ea typeface="+mn-ea"/>
                <a:cs typeface="+mn-ea"/>
                <a:sym typeface="+mn-lt"/>
              </a:rPr>
              <a:t>OLAP</a:t>
            </a:r>
            <a:r>
              <a:rPr lang="zh-CN" altLang="en-US" sz="1600" dirty="0" smtClean="0">
                <a:latin typeface="+mn-lt"/>
                <a:ea typeface="+mn-ea"/>
                <a:cs typeface="+mn-ea"/>
                <a:sym typeface="+mn-lt"/>
              </a:rPr>
              <a:t>分别有两个规范。</a:t>
            </a:r>
            <a:endParaRPr lang="en-US" altLang="zh-CN" sz="1600" dirty="0" smtClean="0">
              <a:latin typeface="+mn-lt"/>
              <a:ea typeface="+mn-ea"/>
              <a:cs typeface="+mn-ea"/>
              <a:sym typeface="+mn-lt"/>
            </a:endParaRPr>
          </a:p>
          <a:p>
            <a:r>
              <a:rPr lang="en-US" altLang="zh-CN" sz="1700" dirty="0" smtClean="0">
                <a:latin typeface="+mn-lt"/>
                <a:ea typeface="+mn-ea"/>
                <a:cs typeface="+mn-ea"/>
                <a:sym typeface="+mn-lt"/>
              </a:rPr>
              <a:t>TPC-C</a:t>
            </a:r>
            <a:r>
              <a:rPr lang="zh-CN" altLang="en-US" sz="1700" dirty="0" smtClean="0">
                <a:latin typeface="+mn-lt"/>
                <a:ea typeface="+mn-ea"/>
                <a:cs typeface="+mn-ea"/>
                <a:sym typeface="+mn-lt"/>
              </a:rPr>
              <a:t>规范</a:t>
            </a:r>
            <a:endParaRPr lang="en-US" altLang="zh-CN" sz="1700" dirty="0" smtClean="0">
              <a:latin typeface="+mn-lt"/>
              <a:ea typeface="+mn-ea"/>
              <a:cs typeface="+mn-ea"/>
              <a:sym typeface="+mn-lt"/>
            </a:endParaRPr>
          </a:p>
          <a:p>
            <a:pPr lvl="1"/>
            <a:r>
              <a:rPr lang="zh-CN" altLang="en-US" sz="1600" dirty="0" smtClean="0">
                <a:latin typeface="+mn-lt"/>
                <a:ea typeface="+mn-ea"/>
                <a:cs typeface="+mn-ea"/>
                <a:sym typeface="+mn-lt"/>
              </a:rPr>
              <a:t>面向</a:t>
            </a:r>
            <a:r>
              <a:rPr lang="en-US" altLang="zh-CN" sz="1600" dirty="0" smtClean="0">
                <a:latin typeface="+mn-lt"/>
                <a:ea typeface="+mn-ea"/>
                <a:cs typeface="+mn-ea"/>
                <a:sym typeface="+mn-lt"/>
              </a:rPr>
              <a:t>OLTP</a:t>
            </a:r>
            <a:r>
              <a:rPr lang="zh-CN" altLang="en-US" sz="1600" dirty="0" smtClean="0">
                <a:latin typeface="+mn-lt"/>
                <a:ea typeface="+mn-ea"/>
                <a:cs typeface="+mn-ea"/>
                <a:sym typeface="+mn-lt"/>
              </a:rPr>
              <a:t>系统，主要包括两个指标</a:t>
            </a:r>
            <a:endParaRPr lang="en-US" altLang="zh-CN" sz="16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流量指标：</a:t>
            </a:r>
            <a:r>
              <a:rPr lang="en-US" altLang="zh-CN" sz="1400" dirty="0" err="1" smtClean="0">
                <a:latin typeface="+mn-lt"/>
                <a:ea typeface="+mn-ea"/>
                <a:cs typeface="+mn-ea"/>
                <a:sym typeface="+mn-lt"/>
              </a:rPr>
              <a:t>tpmC</a:t>
            </a:r>
            <a:r>
              <a:rPr lang="zh-CN" altLang="en-US" sz="1400" dirty="0" smtClean="0">
                <a:latin typeface="+mn-lt"/>
                <a:ea typeface="+mn-ea"/>
                <a:cs typeface="+mn-ea"/>
                <a:sym typeface="+mn-lt"/>
              </a:rPr>
              <a:t>（</a:t>
            </a:r>
            <a:r>
              <a:rPr lang="en-US" altLang="zh-CN" sz="1400" dirty="0" err="1" smtClean="0">
                <a:latin typeface="+mn-lt"/>
                <a:ea typeface="+mn-ea"/>
                <a:cs typeface="+mn-ea"/>
                <a:sym typeface="+mn-lt"/>
              </a:rPr>
              <a:t>tpm</a:t>
            </a:r>
            <a:r>
              <a:rPr lang="en-US" altLang="zh-CN" sz="1400" dirty="0" smtClean="0">
                <a:latin typeface="+mn-lt"/>
                <a:ea typeface="+mn-ea"/>
                <a:cs typeface="+mn-ea"/>
                <a:sym typeface="+mn-lt"/>
              </a:rPr>
              <a:t> – transactions per </a:t>
            </a:r>
            <a:r>
              <a:rPr lang="en-US" altLang="zh-CN" sz="1400" dirty="0" err="1" smtClean="0">
                <a:latin typeface="+mn-lt"/>
                <a:ea typeface="+mn-ea"/>
                <a:cs typeface="+mn-ea"/>
                <a:sym typeface="+mn-lt"/>
              </a:rPr>
              <a:t>minuete</a:t>
            </a:r>
            <a:r>
              <a:rPr lang="en-US" altLang="zh-CN" sz="1400" dirty="0" smtClean="0">
                <a:latin typeface="+mn-lt"/>
                <a:ea typeface="+mn-ea"/>
                <a:cs typeface="+mn-ea"/>
                <a:sym typeface="+mn-lt"/>
              </a:rPr>
              <a:t>, </a:t>
            </a:r>
            <a:r>
              <a:rPr lang="zh-CN" altLang="en-US" sz="1400" dirty="0" smtClean="0">
                <a:latin typeface="+mn-lt"/>
                <a:ea typeface="+mn-ea"/>
                <a:cs typeface="+mn-ea"/>
                <a:sym typeface="+mn-lt"/>
              </a:rPr>
              <a:t>即每分钟测试系统处理的事务数量）。</a:t>
            </a:r>
            <a:endParaRPr lang="en-US" altLang="zh-CN" sz="14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性价比指标：</a:t>
            </a:r>
            <a:r>
              <a:rPr lang="en-US" altLang="zh-CN" sz="1400" dirty="0" smtClean="0">
                <a:latin typeface="+mn-lt"/>
                <a:ea typeface="+mn-ea"/>
                <a:cs typeface="+mn-ea"/>
                <a:sym typeface="+mn-lt"/>
              </a:rPr>
              <a:t>Price</a:t>
            </a:r>
            <a:r>
              <a:rPr lang="zh-CN" altLang="en-US" sz="1400" dirty="0" smtClean="0">
                <a:latin typeface="+mn-lt"/>
                <a:ea typeface="+mn-ea"/>
                <a:cs typeface="+mn-ea"/>
                <a:sym typeface="+mn-lt"/>
              </a:rPr>
              <a:t>（测试系统价格）</a:t>
            </a:r>
            <a:r>
              <a:rPr lang="en-US" altLang="zh-CN" sz="1400" dirty="0" smtClean="0">
                <a:latin typeface="+mn-lt"/>
                <a:ea typeface="+mn-ea"/>
                <a:cs typeface="+mn-ea"/>
                <a:sym typeface="+mn-lt"/>
              </a:rPr>
              <a:t>/</a:t>
            </a:r>
            <a:r>
              <a:rPr lang="en-US" altLang="zh-CN" sz="1400" dirty="0" err="1" smtClean="0">
                <a:latin typeface="+mn-lt"/>
                <a:ea typeface="+mn-ea"/>
                <a:cs typeface="+mn-ea"/>
                <a:sym typeface="+mn-lt"/>
              </a:rPr>
              <a:t>tmpC</a:t>
            </a:r>
            <a:r>
              <a:rPr lang="zh-CN" altLang="en-US" sz="1400" dirty="0" smtClean="0">
                <a:latin typeface="+mn-lt"/>
                <a:ea typeface="+mn-ea"/>
                <a:cs typeface="+mn-ea"/>
                <a:sym typeface="+mn-lt"/>
              </a:rPr>
              <a:t>。</a:t>
            </a:r>
            <a:endParaRPr lang="en-US" altLang="zh-CN" sz="1400" dirty="0" smtClean="0">
              <a:latin typeface="+mn-lt"/>
              <a:ea typeface="+mn-ea"/>
              <a:cs typeface="+mn-ea"/>
              <a:sym typeface="+mn-lt"/>
            </a:endParaRPr>
          </a:p>
          <a:p>
            <a:r>
              <a:rPr lang="en-US" altLang="zh-CN" sz="1700" dirty="0" smtClean="0">
                <a:latin typeface="+mn-lt"/>
                <a:ea typeface="+mn-ea"/>
                <a:cs typeface="+mn-ea"/>
                <a:sym typeface="+mn-lt"/>
              </a:rPr>
              <a:t>TPC-H</a:t>
            </a:r>
            <a:r>
              <a:rPr lang="zh-CN" altLang="en-US" sz="1700" dirty="0" smtClean="0">
                <a:latin typeface="+mn-lt"/>
                <a:ea typeface="+mn-ea"/>
                <a:cs typeface="+mn-ea"/>
                <a:sym typeface="+mn-lt"/>
              </a:rPr>
              <a:t>规范</a:t>
            </a:r>
            <a:endParaRPr lang="en-US" altLang="zh-CN" sz="1700" dirty="0" smtClean="0">
              <a:latin typeface="+mn-lt"/>
              <a:ea typeface="+mn-ea"/>
              <a:cs typeface="+mn-ea"/>
              <a:sym typeface="+mn-lt"/>
            </a:endParaRPr>
          </a:p>
          <a:p>
            <a:pPr lvl="1"/>
            <a:r>
              <a:rPr lang="zh-CN" altLang="en-US" sz="1600" dirty="0" smtClean="0">
                <a:latin typeface="+mn-lt"/>
                <a:ea typeface="+mn-ea"/>
                <a:cs typeface="+mn-ea"/>
                <a:sym typeface="+mn-lt"/>
              </a:rPr>
              <a:t>面向</a:t>
            </a:r>
            <a:r>
              <a:rPr lang="en-US" altLang="zh-CN" sz="1600" dirty="0" smtClean="0">
                <a:latin typeface="+mn-lt"/>
                <a:ea typeface="+mn-ea"/>
                <a:cs typeface="+mn-ea"/>
                <a:sym typeface="+mn-lt"/>
              </a:rPr>
              <a:t>OLAP</a:t>
            </a:r>
            <a:r>
              <a:rPr lang="zh-CN" altLang="en-US" sz="1600" dirty="0" smtClean="0">
                <a:latin typeface="+mn-lt"/>
                <a:ea typeface="+mn-ea"/>
                <a:cs typeface="+mn-ea"/>
                <a:sym typeface="+mn-lt"/>
              </a:rPr>
              <a:t>类系统</a:t>
            </a:r>
            <a:endParaRPr lang="en-US" altLang="zh-CN" sz="16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流量指标：</a:t>
            </a:r>
            <a:r>
              <a:rPr lang="en-US" altLang="zh-CN" sz="1400" dirty="0" err="1" smtClean="0">
                <a:latin typeface="+mn-lt"/>
                <a:ea typeface="+mn-ea"/>
                <a:cs typeface="+mn-ea"/>
                <a:sym typeface="+mn-lt"/>
              </a:rPr>
              <a:t>qphH</a:t>
            </a:r>
            <a:r>
              <a:rPr lang="en-US" altLang="zh-CN" sz="1400" dirty="0" smtClean="0">
                <a:latin typeface="+mn-lt"/>
                <a:ea typeface="+mn-ea"/>
                <a:cs typeface="+mn-ea"/>
                <a:sym typeface="+mn-lt"/>
              </a:rPr>
              <a:t> – Query per hour</a:t>
            </a:r>
            <a:r>
              <a:rPr lang="zh-CN" altLang="en-US" sz="1400" dirty="0" smtClean="0">
                <a:latin typeface="+mn-lt"/>
                <a:ea typeface="+mn-ea"/>
                <a:cs typeface="+mn-ea"/>
                <a:sym typeface="+mn-lt"/>
              </a:rPr>
              <a:t>，即每小时处理的复杂查询数量。</a:t>
            </a:r>
            <a:endParaRPr lang="en-US" altLang="zh-CN" sz="14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需要考虑测试数据集合大小，分为不同的测试数据集，指定了</a:t>
            </a:r>
            <a:r>
              <a:rPr lang="en-US" altLang="zh-CN" sz="1400" dirty="0" smtClean="0">
                <a:latin typeface="+mn-lt"/>
                <a:ea typeface="+mn-ea"/>
                <a:cs typeface="+mn-ea"/>
                <a:sym typeface="+mn-lt"/>
              </a:rPr>
              <a:t>22</a:t>
            </a:r>
            <a:r>
              <a:rPr lang="zh-CN" altLang="en-US" sz="1400" dirty="0" smtClean="0">
                <a:latin typeface="+mn-lt"/>
                <a:ea typeface="+mn-ea"/>
                <a:cs typeface="+mn-ea"/>
                <a:sym typeface="+mn-lt"/>
              </a:rPr>
              <a:t>个查询语句，可以根据产品微调。</a:t>
            </a:r>
            <a:endParaRPr lang="en-US" altLang="zh-CN" sz="1400" dirty="0" smtClean="0">
              <a:latin typeface="+mn-lt"/>
              <a:ea typeface="+mn-ea"/>
              <a:cs typeface="+mn-ea"/>
              <a:sym typeface="+mn-lt"/>
            </a:endParaRPr>
          </a:p>
          <a:p>
            <a:pPr lvl="2">
              <a:lnSpc>
                <a:spcPct val="150000"/>
              </a:lnSpc>
              <a:spcBef>
                <a:spcPts val="0"/>
              </a:spcBef>
            </a:pPr>
            <a:r>
              <a:rPr lang="zh-CN" altLang="en-US" sz="1400" dirty="0" smtClean="0">
                <a:latin typeface="+mn-lt"/>
                <a:ea typeface="+mn-ea"/>
                <a:cs typeface="+mn-ea"/>
                <a:sym typeface="+mn-lt"/>
              </a:rPr>
              <a:t>测试场景：数据加载，</a:t>
            </a:r>
            <a:r>
              <a:rPr lang="en-US" altLang="zh-CN" sz="1400" dirty="0" smtClean="0">
                <a:latin typeface="+mn-lt"/>
                <a:ea typeface="+mn-ea"/>
                <a:cs typeface="+mn-ea"/>
                <a:sym typeface="+mn-lt"/>
              </a:rPr>
              <a:t>Power</a:t>
            </a:r>
            <a:r>
              <a:rPr lang="zh-CN" altLang="en-US" sz="1400" dirty="0" smtClean="0">
                <a:latin typeface="+mn-lt"/>
                <a:ea typeface="+mn-ea"/>
                <a:cs typeface="+mn-ea"/>
                <a:sym typeface="+mn-lt"/>
              </a:rPr>
              <a:t>能力测试和</a:t>
            </a:r>
            <a:r>
              <a:rPr lang="en-US" altLang="zh-CN" sz="1400" dirty="0" err="1" smtClean="0">
                <a:latin typeface="+mn-lt"/>
                <a:ea typeface="+mn-ea"/>
                <a:cs typeface="+mn-ea"/>
                <a:sym typeface="+mn-lt"/>
              </a:rPr>
              <a:t>Througput</a:t>
            </a:r>
            <a:r>
              <a:rPr lang="zh-CN" altLang="en-US" sz="1400" dirty="0" smtClean="0">
                <a:latin typeface="+mn-lt"/>
                <a:ea typeface="+mn-ea"/>
                <a:cs typeface="+mn-ea"/>
                <a:sym typeface="+mn-lt"/>
              </a:rPr>
              <a:t>测试。</a:t>
            </a:r>
            <a:endParaRPr lang="en-US" altLang="zh-CN" sz="14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sz="quarter" idx="10"/>
          </p:nvPr>
        </p:nvSpPr>
        <p:spPr>
          <a:prstGeom prst="rect">
            <a:avLst/>
          </a:prstGeom>
        </p:spPr>
        <p:txBody>
          <a:bodyPr/>
          <a:lstStyle/>
          <a:p>
            <a:r>
              <a:rPr lang="zh-CN" altLang="en-US" dirty="0" smtClean="0">
                <a:latin typeface="+mn-lt"/>
                <a:ea typeface="+mn-ea"/>
                <a:cs typeface="+mn-ea"/>
                <a:sym typeface="+mn-lt"/>
              </a:rPr>
              <a:t>本章主要介绍了数据库、数据库系统和数据管理系统的基本概念，对数据库几十年的发展历史进行了回顾，详细介绍了数据库从早期的网状模型，层次模型发展到关系型模型的历程，并对近年来新兴的</a:t>
            </a:r>
            <a:r>
              <a:rPr lang="en-US" altLang="zh-CN" dirty="0" err="1" smtClean="0">
                <a:latin typeface="+mn-lt"/>
                <a:ea typeface="+mn-ea"/>
                <a:cs typeface="+mn-ea"/>
                <a:sym typeface="+mn-lt"/>
              </a:rPr>
              <a:t>NoSQL</a:t>
            </a:r>
            <a:r>
              <a:rPr lang="zh-CN" altLang="en-US" dirty="0" smtClean="0">
                <a:latin typeface="+mn-lt"/>
                <a:ea typeface="+mn-ea"/>
                <a:cs typeface="+mn-ea"/>
                <a:sym typeface="+mn-lt"/>
              </a:rPr>
              <a:t>和</a:t>
            </a:r>
            <a:r>
              <a:rPr lang="en-US" altLang="zh-CN" dirty="0" err="1" smtClean="0">
                <a:latin typeface="+mn-lt"/>
                <a:ea typeface="+mn-ea"/>
                <a:cs typeface="+mn-ea"/>
                <a:sym typeface="+mn-lt"/>
              </a:rPr>
              <a:t>NewSQL</a:t>
            </a:r>
            <a:r>
              <a:rPr lang="zh-CN" altLang="en-US" dirty="0" smtClean="0">
                <a:latin typeface="+mn-lt"/>
                <a:ea typeface="+mn-ea"/>
                <a:cs typeface="+mn-ea"/>
                <a:sym typeface="+mn-lt"/>
              </a:rPr>
              <a:t>概念进行了介绍。</a:t>
            </a:r>
            <a:endParaRPr lang="en-US" altLang="zh-CN" dirty="0" smtClean="0">
              <a:latin typeface="+mn-lt"/>
              <a:ea typeface="+mn-ea"/>
              <a:cs typeface="+mn-ea"/>
              <a:sym typeface="+mn-lt"/>
            </a:endParaRPr>
          </a:p>
          <a:p>
            <a:r>
              <a:rPr lang="zh-CN" altLang="en-US" dirty="0" smtClean="0">
                <a:latin typeface="+mn-lt"/>
                <a:ea typeface="+mn-ea"/>
                <a:cs typeface="+mn-ea"/>
                <a:sym typeface="+mn-lt"/>
              </a:rPr>
              <a:t>对关系型数据库的主要架构进行了对比分析和介绍，对于不同场景下各种架构的优缺点进行了简单说明。</a:t>
            </a:r>
            <a:endParaRPr lang="en-US" altLang="zh-CN" dirty="0" smtClean="0">
              <a:latin typeface="+mn-lt"/>
              <a:ea typeface="+mn-ea"/>
              <a:cs typeface="+mn-ea"/>
              <a:sym typeface="+mn-lt"/>
            </a:endParaRPr>
          </a:p>
          <a:p>
            <a:r>
              <a:rPr lang="zh-CN" altLang="en-US" dirty="0" smtClean="0">
                <a:latin typeface="+mn-lt"/>
                <a:ea typeface="+mn-ea"/>
                <a:cs typeface="+mn-ea"/>
                <a:sym typeface="+mn-lt"/>
              </a:rPr>
              <a:t>最后对关系型数据的主流应用场景</a:t>
            </a:r>
            <a:r>
              <a:rPr lang="en-US" altLang="zh-CN" dirty="0" smtClean="0">
                <a:latin typeface="+mn-lt"/>
                <a:ea typeface="+mn-ea"/>
                <a:cs typeface="+mn-ea"/>
                <a:sym typeface="+mn-lt"/>
              </a:rPr>
              <a:t>OLTP</a:t>
            </a:r>
            <a:r>
              <a:rPr lang="zh-CN" altLang="en-US" dirty="0" smtClean="0">
                <a:latin typeface="+mn-lt"/>
                <a:ea typeface="+mn-ea"/>
                <a:cs typeface="+mn-ea"/>
                <a:sym typeface="+mn-lt"/>
              </a:rPr>
              <a:t>和</a:t>
            </a:r>
            <a:r>
              <a:rPr lang="en-US" altLang="zh-CN" dirty="0" smtClean="0">
                <a:latin typeface="+mn-lt"/>
                <a:ea typeface="+mn-ea"/>
                <a:cs typeface="+mn-ea"/>
                <a:sym typeface="+mn-lt"/>
              </a:rPr>
              <a:t>OLAP</a:t>
            </a:r>
            <a:r>
              <a:rPr lang="zh-CN" altLang="en-US" dirty="0" smtClean="0">
                <a:latin typeface="+mn-lt"/>
                <a:ea typeface="+mn-ea"/>
                <a:cs typeface="+mn-ea"/>
                <a:sym typeface="+mn-lt"/>
              </a:rPr>
              <a:t>进行了介绍和对比说明。</a:t>
            </a:r>
            <a:endParaRPr lang="zh-CN" altLang="en-US" dirty="0">
              <a:latin typeface="+mn-lt"/>
              <a:ea typeface="+mn-ea"/>
              <a:cs typeface="+mn-ea"/>
              <a:sym typeface="+mn-lt"/>
            </a:endParaRPr>
          </a:p>
          <a:p>
            <a:endParaRPr lang="zh-CN" altLang="en-US"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技术</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数据库技术是数据库管理的有效技术，研究如何对数据进行科学管理，从而为人们提供可共享的、安全的、可靠的数据。</a:t>
            </a:r>
            <a:endParaRPr lang="zh-CN" altLang="en-US" sz="2000" dirty="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8" name="椭圆 57"/>
          <p:cNvSpPr/>
          <p:nvPr/>
        </p:nvSpPr>
        <p:spPr bwMode="auto">
          <a:xfrm>
            <a:off x="4806071" y="3320988"/>
            <a:ext cx="1007251" cy="972108"/>
          </a:xfrm>
          <a:prstGeom prst="ellipse">
            <a:avLst/>
          </a:prstGeom>
          <a:solidFill>
            <a:srgbClr val="99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2000" dirty="0">
                <a:solidFill>
                  <a:schemeClr val="bg1"/>
                </a:solidFill>
                <a:cs typeface="+mn-ea"/>
                <a:sym typeface="+mn-lt"/>
              </a:rPr>
              <a:t>数据</a:t>
            </a:r>
            <a:endParaRPr lang="zh-CN" altLang="en-US" sz="2000" dirty="0">
              <a:solidFill>
                <a:schemeClr val="bg1"/>
              </a:solidFill>
              <a:cs typeface="+mn-ea"/>
              <a:sym typeface="+mn-lt"/>
            </a:endParaRPr>
          </a:p>
        </p:txBody>
      </p:sp>
      <p:sp>
        <p:nvSpPr>
          <p:cNvPr id="59" name="椭圆 58"/>
          <p:cNvSpPr/>
          <p:nvPr/>
        </p:nvSpPr>
        <p:spPr bwMode="auto">
          <a:xfrm>
            <a:off x="5990213" y="3020119"/>
            <a:ext cx="1363702" cy="1314146"/>
          </a:xfrm>
          <a:prstGeom prst="ellipse">
            <a:avLst/>
          </a:prstGeom>
          <a:solidFill>
            <a:srgbClr val="0066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2000" dirty="0" smtClean="0">
                <a:solidFill>
                  <a:schemeClr val="bg1"/>
                </a:solidFill>
                <a:cs typeface="+mn-ea"/>
                <a:sym typeface="+mn-lt"/>
              </a:rPr>
              <a:t>数据库</a:t>
            </a:r>
            <a:endParaRPr lang="zh-CN" altLang="en-US" sz="2000" dirty="0">
              <a:solidFill>
                <a:schemeClr val="bg1"/>
              </a:solidFill>
              <a:cs typeface="+mn-ea"/>
              <a:sym typeface="+mn-lt"/>
            </a:endParaRPr>
          </a:p>
        </p:txBody>
      </p:sp>
      <p:sp>
        <p:nvSpPr>
          <p:cNvPr id="60" name="椭圆 59"/>
          <p:cNvSpPr/>
          <p:nvPr/>
        </p:nvSpPr>
        <p:spPr bwMode="auto">
          <a:xfrm>
            <a:off x="4234961" y="4338700"/>
            <a:ext cx="1726828" cy="1645844"/>
          </a:xfrm>
          <a:prstGeom prst="ellipse">
            <a:avLst/>
          </a:prstGeom>
          <a:solidFill>
            <a:srgbClr val="99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2000" dirty="0" smtClean="0">
                <a:cs typeface="+mn-ea"/>
                <a:sym typeface="+mn-lt"/>
              </a:rPr>
              <a:t>数据库</a:t>
            </a:r>
            <a:endParaRPr lang="en-US" altLang="zh-CN" sz="2000" dirty="0" smtClean="0">
              <a:cs typeface="+mn-ea"/>
              <a:sym typeface="+mn-lt"/>
            </a:endParaRPr>
          </a:p>
          <a:p>
            <a:pPr marL="0" marR="0" indent="0" algn="ctr" defTabSz="914400" rtl="0" eaLnBrk="1" fontAlgn="t" latinLnBrk="0" hangingPunct="1">
              <a:lnSpc>
                <a:spcPct val="100000"/>
              </a:lnSpc>
              <a:spcBef>
                <a:spcPct val="0"/>
              </a:spcBef>
              <a:spcAft>
                <a:spcPct val="0"/>
              </a:spcAft>
              <a:buClrTx/>
              <a:buSzTx/>
              <a:buFontTx/>
              <a:buNone/>
            </a:pPr>
            <a:r>
              <a:rPr lang="zh-CN" altLang="en-US" sz="2000" dirty="0" smtClean="0">
                <a:cs typeface="+mn-ea"/>
                <a:sym typeface="+mn-lt"/>
              </a:rPr>
              <a:t>管理系统</a:t>
            </a:r>
            <a:endParaRPr lang="zh-CN" altLang="en-US" sz="2000" dirty="0">
              <a:cs typeface="+mn-ea"/>
              <a:sym typeface="+mn-lt"/>
            </a:endParaRPr>
          </a:p>
        </p:txBody>
      </p:sp>
      <p:sp>
        <p:nvSpPr>
          <p:cNvPr id="63" name="椭圆 62"/>
          <p:cNvSpPr/>
          <p:nvPr/>
        </p:nvSpPr>
        <p:spPr bwMode="auto">
          <a:xfrm>
            <a:off x="5997374" y="4334265"/>
            <a:ext cx="1367514" cy="1287875"/>
          </a:xfrm>
          <a:prstGeom prst="ellipse">
            <a:avLst/>
          </a:prstGeom>
          <a:solidFill>
            <a:srgbClr val="CC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lstStyle/>
          <a:p>
            <a:pPr marL="0" marR="0" indent="0" algn="ctr" defTabSz="914400" rtl="0" eaLnBrk="1" fontAlgn="t" latinLnBrk="0" hangingPunct="1">
              <a:lnSpc>
                <a:spcPct val="100000"/>
              </a:lnSpc>
              <a:spcBef>
                <a:spcPct val="0"/>
              </a:spcBef>
              <a:spcAft>
                <a:spcPct val="0"/>
              </a:spcAft>
              <a:buClrTx/>
              <a:buSzTx/>
              <a:buFontTx/>
              <a:buNone/>
            </a:pPr>
            <a:r>
              <a:rPr lang="zh-CN" altLang="en-US" sz="2000" dirty="0" smtClean="0">
                <a:cs typeface="+mn-ea"/>
                <a:sym typeface="+mn-lt"/>
              </a:rPr>
              <a:t>数据库</a:t>
            </a:r>
            <a:endParaRPr lang="en-US" altLang="zh-CN" sz="2000" dirty="0" smtClean="0">
              <a:cs typeface="+mn-ea"/>
              <a:sym typeface="+mn-lt"/>
            </a:endParaRPr>
          </a:p>
          <a:p>
            <a:pPr marL="0" marR="0" indent="0" algn="ctr" defTabSz="914400" rtl="0" eaLnBrk="1" fontAlgn="t" latinLnBrk="0" hangingPunct="1">
              <a:lnSpc>
                <a:spcPct val="100000"/>
              </a:lnSpc>
              <a:spcBef>
                <a:spcPct val="0"/>
              </a:spcBef>
              <a:spcAft>
                <a:spcPct val="0"/>
              </a:spcAft>
              <a:buClrTx/>
              <a:buSzTx/>
              <a:buFontTx/>
              <a:buNone/>
            </a:pPr>
            <a:r>
              <a:rPr lang="zh-CN" altLang="en-US" sz="2000" dirty="0" smtClean="0">
                <a:cs typeface="+mn-ea"/>
                <a:sym typeface="+mn-lt"/>
              </a:rPr>
              <a:t>系统</a:t>
            </a:r>
            <a:endParaRPr lang="zh-CN" altLang="en-US" sz="2000" dirty="0">
              <a:cs typeface="+mn-ea"/>
              <a:sym typeface="+mn-lt"/>
            </a:endParaRPr>
          </a:p>
        </p:txBody>
      </p:sp>
      <p:sp>
        <p:nvSpPr>
          <p:cNvPr id="64" name="椭圆 63"/>
          <p:cNvSpPr/>
          <p:nvPr/>
        </p:nvSpPr>
        <p:spPr bwMode="auto">
          <a:xfrm>
            <a:off x="3275040" y="2060848"/>
            <a:ext cx="5076564" cy="4258802"/>
          </a:xfrm>
          <a:prstGeom prst="ellipse">
            <a:avLst/>
          </a:prstGeom>
          <a:noFill/>
          <a:ln w="9525" cap="flat" cmpd="sng" algn="ctr">
            <a:solidFill>
              <a:srgbClr val="990000"/>
            </a:solidFill>
            <a:prstDash val="solid"/>
            <a:round/>
            <a:headEnd type="none" w="med" len="med"/>
            <a:tailEnd type="none" w="med" len="med"/>
          </a:ln>
          <a:effectLst/>
        </p:spPr>
        <p:txBody>
          <a:bodyPr vert="horz" wrap="square" lIns="91440" tIns="45720" rIns="91440" bIns="45720" numCol="1" rtlCol="0" anchor="ctr" anchorCtr="0" compatLnSpc="1"/>
          <a:lstStyle/>
          <a:p>
            <a:pPr marL="0" marR="0" indent="0" algn="ctr" defTabSz="914400" rtl="0" eaLnBrk="1" fontAlgn="t" latinLnBrk="0" hangingPunct="1">
              <a:lnSpc>
                <a:spcPct val="100000"/>
              </a:lnSpc>
              <a:spcBef>
                <a:spcPct val="0"/>
              </a:spcBef>
              <a:spcAft>
                <a:spcPct val="0"/>
              </a:spcAft>
              <a:buClrTx/>
              <a:buSzTx/>
              <a:buFontTx/>
              <a:buNone/>
            </a:pPr>
            <a:endParaRPr lang="zh-CN" altLang="en-US" sz="2000" dirty="0">
              <a:cs typeface="+mn-ea"/>
              <a:sym typeface="+mn-lt"/>
            </a:endParaRPr>
          </a:p>
        </p:txBody>
      </p:sp>
      <p:sp>
        <p:nvSpPr>
          <p:cNvPr id="65" name="文本框 64"/>
          <p:cNvSpPr txBox="1"/>
          <p:nvPr/>
        </p:nvSpPr>
        <p:spPr bwMode="auto">
          <a:xfrm>
            <a:off x="4583832" y="2302147"/>
            <a:ext cx="2088232" cy="430887"/>
          </a:xfrm>
          <a:prstGeom prst="rect">
            <a:avLst/>
          </a:prstGeom>
          <a:noFill/>
          <a:ln w="9525" algn="ctr">
            <a:noFill/>
            <a:miter lim="800000"/>
          </a:ln>
        </p:spPr>
        <p:txBody>
          <a:bodyPr vert="horz" wrap="square" lIns="0" tIns="0" rIns="0" bIns="0" numCol="1" rtlCol="0" anchor="ctr" anchorCtr="0" compatLnSpc="1">
            <a:spAutoFit/>
          </a:bodyPr>
          <a:lstStyle/>
          <a:p>
            <a:pPr algn="ctr"/>
            <a:r>
              <a:rPr lang="zh-CN" altLang="en-US" sz="2800" dirty="0">
                <a:cs typeface="+mn-ea"/>
                <a:sym typeface="+mn-lt"/>
              </a:rPr>
              <a:t>数据库技术</a:t>
            </a:r>
            <a:endParaRPr lang="zh-CN" altLang="en-US" sz="2800" dirty="0">
              <a:cs typeface="+mn-ea"/>
              <a:sym typeface="+mn-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 </a:t>
            </a:r>
            <a:r>
              <a:rPr lang="en-US" altLang="zh-CN" dirty="0" smtClean="0">
                <a:latin typeface="+mn-lt"/>
                <a:ea typeface="+mn-ea"/>
                <a:cs typeface="+mn-ea"/>
                <a:sym typeface="+mn-lt"/>
              </a:rPr>
              <a:t>(Data)</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lstStyle/>
          <a:p>
            <a:r>
              <a:rPr lang="zh-CN" altLang="en-US" sz="2000" dirty="0" smtClean="0">
                <a:latin typeface="+mn-lt"/>
                <a:ea typeface="+mn-ea"/>
                <a:cs typeface="+mn-ea"/>
                <a:sym typeface="+mn-lt"/>
              </a:rPr>
              <a:t>早期的计算机系统主要用于科学计算，处理的数据是</a:t>
            </a:r>
            <a:r>
              <a:rPr lang="zh-CN" altLang="en-US" sz="2000" b="1" dirty="0" smtClean="0">
                <a:solidFill>
                  <a:srgbClr val="C00000"/>
                </a:solidFill>
                <a:latin typeface="+mn-lt"/>
                <a:ea typeface="+mn-ea"/>
                <a:cs typeface="+mn-ea"/>
                <a:sym typeface="+mn-lt"/>
              </a:rPr>
              <a:t>数值型数据</a:t>
            </a:r>
            <a:r>
              <a:rPr lang="zh-CN" altLang="en-US" sz="2000" dirty="0" smtClean="0">
                <a:latin typeface="+mn-lt"/>
                <a:ea typeface="+mn-ea"/>
                <a:cs typeface="+mn-ea"/>
                <a:sym typeface="+mn-lt"/>
              </a:rPr>
              <a:t>：</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整数</a:t>
            </a:r>
            <a:r>
              <a:rPr lang="en-US" altLang="zh-CN" sz="1800" dirty="0" smtClean="0">
                <a:latin typeface="+mn-lt"/>
                <a:ea typeface="+mn-ea"/>
                <a:cs typeface="+mn-ea"/>
                <a:sym typeface="+mn-lt"/>
              </a:rPr>
              <a:t>:</a:t>
            </a:r>
            <a:r>
              <a:rPr lang="zh-CN" altLang="en-US" sz="1800" dirty="0">
                <a:latin typeface="+mn-lt"/>
                <a:ea typeface="+mn-ea"/>
                <a:cs typeface="+mn-ea"/>
                <a:sym typeface="+mn-lt"/>
              </a:rPr>
              <a:t> </a:t>
            </a:r>
            <a:r>
              <a:rPr lang="en-US" altLang="zh-CN" sz="1800" dirty="0" smtClean="0">
                <a:latin typeface="+mn-lt"/>
                <a:ea typeface="+mn-ea"/>
                <a:cs typeface="+mn-ea"/>
                <a:sym typeface="+mn-lt"/>
              </a:rPr>
              <a:t>1,2,3,4,5….</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浮点数：</a:t>
            </a:r>
            <a:r>
              <a:rPr lang="en-US" altLang="zh-CN" sz="1800" dirty="0" smtClean="0">
                <a:latin typeface="+mn-lt"/>
                <a:ea typeface="+mn-ea"/>
                <a:cs typeface="+mn-ea"/>
                <a:sym typeface="+mn-lt"/>
              </a:rPr>
              <a:t>3.14, 100.34, -25.336…</a:t>
            </a:r>
            <a:endParaRPr lang="en-US" altLang="zh-CN" sz="1800" dirty="0" smtClean="0">
              <a:latin typeface="+mn-lt"/>
              <a:ea typeface="+mn-ea"/>
              <a:cs typeface="+mn-ea"/>
              <a:sym typeface="+mn-lt"/>
            </a:endParaRPr>
          </a:p>
          <a:p>
            <a:r>
              <a:rPr lang="zh-CN" altLang="en-US" sz="2000" dirty="0" smtClean="0">
                <a:latin typeface="+mn-lt"/>
                <a:ea typeface="+mn-ea"/>
                <a:cs typeface="+mn-ea"/>
                <a:sym typeface="+mn-lt"/>
              </a:rPr>
              <a:t>现代计算机系统的数据概念是广义的：</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字</a:t>
            </a:r>
            <a:r>
              <a:rPr lang="zh-CN" altLang="en-US" sz="1800" dirty="0">
                <a:latin typeface="+mn-lt"/>
                <a:ea typeface="+mn-ea"/>
                <a:cs typeface="+mn-ea"/>
                <a:sym typeface="+mn-lt"/>
              </a:rPr>
              <a:t>、</a:t>
            </a:r>
            <a:r>
              <a:rPr lang="zh-CN" altLang="en-US" sz="1800" dirty="0" smtClean="0">
                <a:latin typeface="+mn-lt"/>
                <a:ea typeface="+mn-ea"/>
                <a:cs typeface="+mn-ea"/>
                <a:sym typeface="+mn-lt"/>
              </a:rPr>
              <a:t>文字、图形、图像、音频、视频等。</a:t>
            </a:r>
            <a:endParaRPr lang="en-US" altLang="zh-CN" sz="1800" dirty="0" smtClean="0">
              <a:latin typeface="+mn-lt"/>
              <a:ea typeface="+mn-ea"/>
              <a:cs typeface="+mn-ea"/>
              <a:sym typeface="+mn-lt"/>
            </a:endParaRPr>
          </a:p>
          <a:p>
            <a:r>
              <a:rPr lang="zh-CN" altLang="en-US" sz="2000" dirty="0">
                <a:latin typeface="+mn-lt"/>
                <a:ea typeface="+mn-ea"/>
                <a:cs typeface="+mn-ea"/>
                <a:sym typeface="+mn-lt"/>
              </a:rPr>
              <a:t>描述事务的符号记录称为数据。</a:t>
            </a:r>
            <a:endParaRPr lang="en-US" altLang="zh-CN" sz="2000" dirty="0">
              <a:latin typeface="+mn-lt"/>
              <a:ea typeface="+mn-ea"/>
              <a:cs typeface="+mn-ea"/>
              <a:sym typeface="+mn-lt"/>
            </a:endParaRPr>
          </a:p>
          <a:p>
            <a:r>
              <a:rPr lang="zh-CN" altLang="en-US" sz="2000" dirty="0">
                <a:latin typeface="+mn-lt"/>
                <a:ea typeface="+mn-ea"/>
                <a:cs typeface="+mn-ea"/>
                <a:sym typeface="+mn-lt"/>
              </a:rPr>
              <a:t>数据除了表现形式之外，</a:t>
            </a:r>
            <a:r>
              <a:rPr lang="zh-CN" altLang="en-US" sz="2000" dirty="0" smtClean="0">
                <a:latin typeface="+mn-lt"/>
                <a:ea typeface="+mn-ea"/>
                <a:cs typeface="+mn-ea"/>
                <a:sym typeface="+mn-lt"/>
              </a:rPr>
              <a:t>还有语义。</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据的含义称为数据的</a:t>
            </a:r>
            <a:r>
              <a:rPr lang="zh-CN" altLang="en-US" b="1" dirty="0" smtClean="0">
                <a:solidFill>
                  <a:srgbClr val="C00000"/>
                </a:solidFill>
                <a:latin typeface="+mn-lt"/>
                <a:ea typeface="+mn-ea"/>
                <a:cs typeface="+mn-ea"/>
                <a:sym typeface="+mn-lt"/>
              </a:rPr>
              <a:t>语义。</a:t>
            </a:r>
            <a:endParaRPr lang="zh-CN" altLang="en-US" b="1" dirty="0">
              <a:solidFill>
                <a:srgbClr val="C00000"/>
              </a:solidFill>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grpSp>
        <p:nvGrpSpPr>
          <p:cNvPr id="59" name="组合 58"/>
          <p:cNvGrpSpPr/>
          <p:nvPr/>
        </p:nvGrpSpPr>
        <p:grpSpPr>
          <a:xfrm>
            <a:off x="7104112" y="1880828"/>
            <a:ext cx="3146541" cy="2681171"/>
            <a:chOff x="7237699" y="2708920"/>
            <a:chExt cx="3146541" cy="2681171"/>
          </a:xfrm>
        </p:grpSpPr>
        <p:grpSp>
          <p:nvGrpSpPr>
            <p:cNvPr id="91" name="Server"/>
            <p:cNvGrpSpPr>
              <a:grpSpLocks noChangeAspect="1"/>
            </p:cNvGrpSpPr>
            <p:nvPr>
              <p:custDataLst>
                <p:tags r:id="rId47"/>
              </p:custDataLst>
            </p:nvPr>
          </p:nvGrpSpPr>
          <p:grpSpPr>
            <a:xfrm>
              <a:off x="9232716" y="4514919"/>
              <a:ext cx="612068" cy="875172"/>
              <a:chOff x="4754879" y="1097281"/>
              <a:chExt cx="3331031" cy="4762911"/>
            </a:xfrm>
            <a:solidFill>
              <a:srgbClr val="006699"/>
            </a:solidFill>
          </p:grpSpPr>
          <p:sp>
            <p:nvSpPr>
              <p:cNvPr id="92" name="Freeform: Shape 1262"/>
              <p:cNvSpPr/>
              <p:nvPr/>
            </p:nvSpPr>
            <p:spPr>
              <a:xfrm>
                <a:off x="4754879" y="2325190"/>
                <a:ext cx="1518329" cy="3535002"/>
              </a:xfrm>
              <a:custGeom>
                <a:avLst/>
                <a:gdLst>
                  <a:gd name="connsiteX0" fmla="*/ 131756 w 1518329"/>
                  <a:gd name="connsiteY0" fmla="*/ 3382149 h 3535002"/>
                  <a:gd name="connsiteX1" fmla="*/ 131756 w 1518329"/>
                  <a:gd name="connsiteY1" fmla="*/ 3429154 h 3535002"/>
                  <a:gd name="connsiteX2" fmla="*/ 1386573 w 1518329"/>
                  <a:gd name="connsiteY2" fmla="*/ 3429154 h 3535002"/>
                  <a:gd name="connsiteX3" fmla="*/ 1386573 w 1518329"/>
                  <a:gd name="connsiteY3" fmla="*/ 3382149 h 3535002"/>
                  <a:gd name="connsiteX4" fmla="*/ 131756 w 1518329"/>
                  <a:gd name="connsiteY4" fmla="*/ 3296844 h 3535002"/>
                  <a:gd name="connsiteX5" fmla="*/ 131756 w 1518329"/>
                  <a:gd name="connsiteY5" fmla="*/ 3343849 h 3535002"/>
                  <a:gd name="connsiteX6" fmla="*/ 1386573 w 1518329"/>
                  <a:gd name="connsiteY6" fmla="*/ 3343849 h 3535002"/>
                  <a:gd name="connsiteX7" fmla="*/ 1386573 w 1518329"/>
                  <a:gd name="connsiteY7" fmla="*/ 3296844 h 3535002"/>
                  <a:gd name="connsiteX8" fmla="*/ 131756 w 1518329"/>
                  <a:gd name="connsiteY8" fmla="*/ 3211539 h 3535002"/>
                  <a:gd name="connsiteX9" fmla="*/ 131756 w 1518329"/>
                  <a:gd name="connsiteY9" fmla="*/ 3258544 h 3535002"/>
                  <a:gd name="connsiteX10" fmla="*/ 1386573 w 1518329"/>
                  <a:gd name="connsiteY10" fmla="*/ 3258544 h 3535002"/>
                  <a:gd name="connsiteX11" fmla="*/ 1386573 w 1518329"/>
                  <a:gd name="connsiteY11" fmla="*/ 3211539 h 3535002"/>
                  <a:gd name="connsiteX12" fmla="*/ 131756 w 1518329"/>
                  <a:gd name="connsiteY12" fmla="*/ 3126234 h 3535002"/>
                  <a:gd name="connsiteX13" fmla="*/ 131756 w 1518329"/>
                  <a:gd name="connsiteY13" fmla="*/ 3173239 h 3535002"/>
                  <a:gd name="connsiteX14" fmla="*/ 1386573 w 1518329"/>
                  <a:gd name="connsiteY14" fmla="*/ 3173239 h 3535002"/>
                  <a:gd name="connsiteX15" fmla="*/ 1386573 w 1518329"/>
                  <a:gd name="connsiteY15" fmla="*/ 3126234 h 3535002"/>
                  <a:gd name="connsiteX16" fmla="*/ 131756 w 1518329"/>
                  <a:gd name="connsiteY16" fmla="*/ 3040929 h 3535002"/>
                  <a:gd name="connsiteX17" fmla="*/ 131756 w 1518329"/>
                  <a:gd name="connsiteY17" fmla="*/ 3087934 h 3535002"/>
                  <a:gd name="connsiteX18" fmla="*/ 1386573 w 1518329"/>
                  <a:gd name="connsiteY18" fmla="*/ 3087934 h 3535002"/>
                  <a:gd name="connsiteX19" fmla="*/ 1386573 w 1518329"/>
                  <a:gd name="connsiteY19" fmla="*/ 3040929 h 3535002"/>
                  <a:gd name="connsiteX20" fmla="*/ 131756 w 1518329"/>
                  <a:gd name="connsiteY20" fmla="*/ 2955624 h 3535002"/>
                  <a:gd name="connsiteX21" fmla="*/ 131756 w 1518329"/>
                  <a:gd name="connsiteY21" fmla="*/ 3002629 h 3535002"/>
                  <a:gd name="connsiteX22" fmla="*/ 1386573 w 1518329"/>
                  <a:gd name="connsiteY22" fmla="*/ 3002629 h 3535002"/>
                  <a:gd name="connsiteX23" fmla="*/ 1386573 w 1518329"/>
                  <a:gd name="connsiteY23" fmla="*/ 2955624 h 3535002"/>
                  <a:gd name="connsiteX24" fmla="*/ 131756 w 1518329"/>
                  <a:gd name="connsiteY24" fmla="*/ 2870319 h 3535002"/>
                  <a:gd name="connsiteX25" fmla="*/ 131756 w 1518329"/>
                  <a:gd name="connsiteY25" fmla="*/ 2917324 h 3535002"/>
                  <a:gd name="connsiteX26" fmla="*/ 1386573 w 1518329"/>
                  <a:gd name="connsiteY26" fmla="*/ 2917324 h 3535002"/>
                  <a:gd name="connsiteX27" fmla="*/ 1386573 w 1518329"/>
                  <a:gd name="connsiteY27" fmla="*/ 2870319 h 3535002"/>
                  <a:gd name="connsiteX28" fmla="*/ 131756 w 1518329"/>
                  <a:gd name="connsiteY28" fmla="*/ 2785014 h 3535002"/>
                  <a:gd name="connsiteX29" fmla="*/ 131756 w 1518329"/>
                  <a:gd name="connsiteY29" fmla="*/ 2832019 h 3535002"/>
                  <a:gd name="connsiteX30" fmla="*/ 1386573 w 1518329"/>
                  <a:gd name="connsiteY30" fmla="*/ 2832019 h 3535002"/>
                  <a:gd name="connsiteX31" fmla="*/ 1386573 w 1518329"/>
                  <a:gd name="connsiteY31" fmla="*/ 2785014 h 3535002"/>
                  <a:gd name="connsiteX32" fmla="*/ 992334 w 1518329"/>
                  <a:gd name="connsiteY32" fmla="*/ 964744 h 3535002"/>
                  <a:gd name="connsiteX33" fmla="*/ 975775 w 1518329"/>
                  <a:gd name="connsiteY33" fmla="*/ 967071 h 3535002"/>
                  <a:gd name="connsiteX34" fmla="*/ 943210 w 1518329"/>
                  <a:gd name="connsiteY34" fmla="*/ 996214 h 3535002"/>
                  <a:gd name="connsiteX35" fmla="*/ 911134 w 1518329"/>
                  <a:gd name="connsiteY35" fmla="*/ 1084379 h 3535002"/>
                  <a:gd name="connsiteX36" fmla="*/ 1051680 w 1518329"/>
                  <a:gd name="connsiteY36" fmla="*/ 1226423 h 3535002"/>
                  <a:gd name="connsiteX37" fmla="*/ 1192225 w 1518329"/>
                  <a:gd name="connsiteY37" fmla="*/ 1084379 h 3535002"/>
                  <a:gd name="connsiteX38" fmla="*/ 1160150 w 1518329"/>
                  <a:gd name="connsiteY38" fmla="*/ 996214 h 3535002"/>
                  <a:gd name="connsiteX39" fmla="*/ 1127584 w 1518329"/>
                  <a:gd name="connsiteY39" fmla="*/ 967071 h 3535002"/>
                  <a:gd name="connsiteX40" fmla="*/ 1097957 w 1518329"/>
                  <a:gd name="connsiteY40" fmla="*/ 974908 h 3535002"/>
                  <a:gd name="connsiteX41" fmla="*/ 1105547 w 1518329"/>
                  <a:gd name="connsiteY41" fmla="*/ 1004786 h 3535002"/>
                  <a:gd name="connsiteX42" fmla="*/ 1128074 w 1518329"/>
                  <a:gd name="connsiteY42" fmla="*/ 1025603 h 3535002"/>
                  <a:gd name="connsiteX43" fmla="*/ 1148886 w 1518329"/>
                  <a:gd name="connsiteY43" fmla="*/ 1084379 h 3535002"/>
                  <a:gd name="connsiteX44" fmla="*/ 1120483 w 1518329"/>
                  <a:gd name="connsiteY44" fmla="*/ 1153932 h 3535002"/>
                  <a:gd name="connsiteX45" fmla="*/ 1051680 w 1518329"/>
                  <a:gd name="connsiteY45" fmla="*/ 1182585 h 3535002"/>
                  <a:gd name="connsiteX46" fmla="*/ 982876 w 1518329"/>
                  <a:gd name="connsiteY46" fmla="*/ 1153932 h 3535002"/>
                  <a:gd name="connsiteX47" fmla="*/ 954473 w 1518329"/>
                  <a:gd name="connsiteY47" fmla="*/ 1084379 h 3535002"/>
                  <a:gd name="connsiteX48" fmla="*/ 976265 w 1518329"/>
                  <a:gd name="connsiteY48" fmla="*/ 1024133 h 3535002"/>
                  <a:gd name="connsiteX49" fmla="*/ 991691 w 1518329"/>
                  <a:gd name="connsiteY49" fmla="*/ 1009194 h 3535002"/>
                  <a:gd name="connsiteX50" fmla="*/ 996588 w 1518329"/>
                  <a:gd name="connsiteY50" fmla="*/ 1005520 h 3535002"/>
                  <a:gd name="connsiteX51" fmla="*/ 997567 w 1518329"/>
                  <a:gd name="connsiteY51" fmla="*/ 1004786 h 3535002"/>
                  <a:gd name="connsiteX52" fmla="*/ 997812 w 1518329"/>
                  <a:gd name="connsiteY52" fmla="*/ 1004786 h 3535002"/>
                  <a:gd name="connsiteX53" fmla="*/ 1005403 w 1518329"/>
                  <a:gd name="connsiteY53" fmla="*/ 974908 h 3535002"/>
                  <a:gd name="connsiteX54" fmla="*/ 992334 w 1518329"/>
                  <a:gd name="connsiteY54" fmla="*/ 964744 h 3535002"/>
                  <a:gd name="connsiteX55" fmla="*/ 463936 w 1518329"/>
                  <a:gd name="connsiteY55" fmla="*/ 949638 h 3535002"/>
                  <a:gd name="connsiteX56" fmla="*/ 405457 w 1518329"/>
                  <a:gd name="connsiteY56" fmla="*/ 1008117 h 3535002"/>
                  <a:gd name="connsiteX57" fmla="*/ 463936 w 1518329"/>
                  <a:gd name="connsiteY57" fmla="*/ 1066596 h 3535002"/>
                  <a:gd name="connsiteX58" fmla="*/ 522415 w 1518329"/>
                  <a:gd name="connsiteY58" fmla="*/ 1008117 h 3535002"/>
                  <a:gd name="connsiteX59" fmla="*/ 463936 w 1518329"/>
                  <a:gd name="connsiteY59" fmla="*/ 949638 h 3535002"/>
                  <a:gd name="connsiteX60" fmla="*/ 279637 w 1518329"/>
                  <a:gd name="connsiteY60" fmla="*/ 949638 h 3535002"/>
                  <a:gd name="connsiteX61" fmla="*/ 221158 w 1518329"/>
                  <a:gd name="connsiteY61" fmla="*/ 1008117 h 3535002"/>
                  <a:gd name="connsiteX62" fmla="*/ 279637 w 1518329"/>
                  <a:gd name="connsiteY62" fmla="*/ 1066596 h 3535002"/>
                  <a:gd name="connsiteX63" fmla="*/ 338116 w 1518329"/>
                  <a:gd name="connsiteY63" fmla="*/ 1008117 h 3535002"/>
                  <a:gd name="connsiteX64" fmla="*/ 279637 w 1518329"/>
                  <a:gd name="connsiteY64" fmla="*/ 949638 h 3535002"/>
                  <a:gd name="connsiteX65" fmla="*/ 1051679 w 1518329"/>
                  <a:gd name="connsiteY65" fmla="*/ 919956 h 3535002"/>
                  <a:gd name="connsiteX66" fmla="*/ 1030207 w 1518329"/>
                  <a:gd name="connsiteY66" fmla="*/ 941774 h 3535002"/>
                  <a:gd name="connsiteX67" fmla="*/ 1030207 w 1518329"/>
                  <a:gd name="connsiteY67" fmla="*/ 1007472 h 3535002"/>
                  <a:gd name="connsiteX68" fmla="*/ 1030207 w 1518329"/>
                  <a:gd name="connsiteY68" fmla="*/ 1073170 h 3535002"/>
                  <a:gd name="connsiteX69" fmla="*/ 1051679 w 1518329"/>
                  <a:gd name="connsiteY69" fmla="*/ 1094987 h 3535002"/>
                  <a:gd name="connsiteX70" fmla="*/ 1073151 w 1518329"/>
                  <a:gd name="connsiteY70" fmla="*/ 1073170 h 3535002"/>
                  <a:gd name="connsiteX71" fmla="*/ 1073151 w 1518329"/>
                  <a:gd name="connsiteY71" fmla="*/ 1007472 h 3535002"/>
                  <a:gd name="connsiteX72" fmla="*/ 1073151 w 1518329"/>
                  <a:gd name="connsiteY72" fmla="*/ 941774 h 3535002"/>
                  <a:gd name="connsiteX73" fmla="*/ 1051679 w 1518329"/>
                  <a:gd name="connsiteY73" fmla="*/ 919956 h 3535002"/>
                  <a:gd name="connsiteX74" fmla="*/ 131756 w 1518329"/>
                  <a:gd name="connsiteY74" fmla="*/ 714104 h 3535002"/>
                  <a:gd name="connsiteX75" fmla="*/ 131756 w 1518329"/>
                  <a:gd name="connsiteY75" fmla="*/ 836024 h 3535002"/>
                  <a:gd name="connsiteX76" fmla="*/ 1386573 w 1518329"/>
                  <a:gd name="connsiteY76" fmla="*/ 836024 h 3535002"/>
                  <a:gd name="connsiteX77" fmla="*/ 1386573 w 1518329"/>
                  <a:gd name="connsiteY77" fmla="*/ 714104 h 3535002"/>
                  <a:gd name="connsiteX78" fmla="*/ 131756 w 1518329"/>
                  <a:gd name="connsiteY78" fmla="*/ 535578 h 3535002"/>
                  <a:gd name="connsiteX79" fmla="*/ 131756 w 1518329"/>
                  <a:gd name="connsiteY79" fmla="*/ 657498 h 3535002"/>
                  <a:gd name="connsiteX80" fmla="*/ 1386573 w 1518329"/>
                  <a:gd name="connsiteY80" fmla="*/ 657498 h 3535002"/>
                  <a:gd name="connsiteX81" fmla="*/ 1386573 w 1518329"/>
                  <a:gd name="connsiteY81" fmla="*/ 535578 h 3535002"/>
                  <a:gd name="connsiteX82" fmla="*/ 131756 w 1518329"/>
                  <a:gd name="connsiteY82" fmla="*/ 357052 h 3535002"/>
                  <a:gd name="connsiteX83" fmla="*/ 131756 w 1518329"/>
                  <a:gd name="connsiteY83" fmla="*/ 478972 h 3535002"/>
                  <a:gd name="connsiteX84" fmla="*/ 1386573 w 1518329"/>
                  <a:gd name="connsiteY84" fmla="*/ 478972 h 3535002"/>
                  <a:gd name="connsiteX85" fmla="*/ 1386573 w 1518329"/>
                  <a:gd name="connsiteY85" fmla="*/ 357052 h 3535002"/>
                  <a:gd name="connsiteX86" fmla="*/ 131756 w 1518329"/>
                  <a:gd name="connsiteY86" fmla="*/ 178526 h 3535002"/>
                  <a:gd name="connsiteX87" fmla="*/ 131756 w 1518329"/>
                  <a:gd name="connsiteY87" fmla="*/ 300446 h 3535002"/>
                  <a:gd name="connsiteX88" fmla="*/ 1386573 w 1518329"/>
                  <a:gd name="connsiteY88" fmla="*/ 300446 h 3535002"/>
                  <a:gd name="connsiteX89" fmla="*/ 1386573 w 1518329"/>
                  <a:gd name="connsiteY89" fmla="*/ 178526 h 3535002"/>
                  <a:gd name="connsiteX90" fmla="*/ 0 w 1518329"/>
                  <a:gd name="connsiteY90" fmla="*/ 0 h 3535002"/>
                  <a:gd name="connsiteX91" fmla="*/ 1518329 w 1518329"/>
                  <a:gd name="connsiteY91" fmla="*/ 0 h 3535002"/>
                  <a:gd name="connsiteX92" fmla="*/ 1518329 w 1518329"/>
                  <a:gd name="connsiteY92" fmla="*/ 3535002 h 3535002"/>
                  <a:gd name="connsiteX93" fmla="*/ 0 w 1518329"/>
                  <a:gd name="connsiteY93" fmla="*/ 3535002 h 35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518329" h="3535002">
                    <a:moveTo>
                      <a:pt x="131756" y="3382149"/>
                    </a:moveTo>
                    <a:lnTo>
                      <a:pt x="131756" y="3429154"/>
                    </a:lnTo>
                    <a:lnTo>
                      <a:pt x="1386573" y="3429154"/>
                    </a:lnTo>
                    <a:lnTo>
                      <a:pt x="1386573" y="3382149"/>
                    </a:lnTo>
                    <a:close/>
                    <a:moveTo>
                      <a:pt x="131756" y="3296844"/>
                    </a:moveTo>
                    <a:lnTo>
                      <a:pt x="131756" y="3343849"/>
                    </a:lnTo>
                    <a:lnTo>
                      <a:pt x="1386573" y="3343849"/>
                    </a:lnTo>
                    <a:lnTo>
                      <a:pt x="1386573" y="3296844"/>
                    </a:lnTo>
                    <a:close/>
                    <a:moveTo>
                      <a:pt x="131756" y="3211539"/>
                    </a:moveTo>
                    <a:lnTo>
                      <a:pt x="131756" y="3258544"/>
                    </a:lnTo>
                    <a:lnTo>
                      <a:pt x="1386573" y="3258544"/>
                    </a:lnTo>
                    <a:lnTo>
                      <a:pt x="1386573" y="3211539"/>
                    </a:lnTo>
                    <a:close/>
                    <a:moveTo>
                      <a:pt x="131756" y="3126234"/>
                    </a:moveTo>
                    <a:lnTo>
                      <a:pt x="131756" y="3173239"/>
                    </a:lnTo>
                    <a:lnTo>
                      <a:pt x="1386573" y="3173239"/>
                    </a:lnTo>
                    <a:lnTo>
                      <a:pt x="1386573" y="3126234"/>
                    </a:lnTo>
                    <a:close/>
                    <a:moveTo>
                      <a:pt x="131756" y="3040929"/>
                    </a:moveTo>
                    <a:lnTo>
                      <a:pt x="131756" y="3087934"/>
                    </a:lnTo>
                    <a:lnTo>
                      <a:pt x="1386573" y="3087934"/>
                    </a:lnTo>
                    <a:lnTo>
                      <a:pt x="1386573" y="3040929"/>
                    </a:lnTo>
                    <a:close/>
                    <a:moveTo>
                      <a:pt x="131756" y="2955624"/>
                    </a:moveTo>
                    <a:lnTo>
                      <a:pt x="131756" y="3002629"/>
                    </a:lnTo>
                    <a:lnTo>
                      <a:pt x="1386573" y="3002629"/>
                    </a:lnTo>
                    <a:lnTo>
                      <a:pt x="1386573" y="2955624"/>
                    </a:lnTo>
                    <a:close/>
                    <a:moveTo>
                      <a:pt x="131756" y="2870319"/>
                    </a:moveTo>
                    <a:lnTo>
                      <a:pt x="131756" y="2917324"/>
                    </a:lnTo>
                    <a:lnTo>
                      <a:pt x="1386573" y="2917324"/>
                    </a:lnTo>
                    <a:lnTo>
                      <a:pt x="1386573" y="2870319"/>
                    </a:lnTo>
                    <a:close/>
                    <a:moveTo>
                      <a:pt x="131756" y="2785014"/>
                    </a:moveTo>
                    <a:lnTo>
                      <a:pt x="131756" y="2832019"/>
                    </a:lnTo>
                    <a:lnTo>
                      <a:pt x="1386573" y="2832019"/>
                    </a:lnTo>
                    <a:lnTo>
                      <a:pt x="1386573" y="2785014"/>
                    </a:lnTo>
                    <a:close/>
                    <a:moveTo>
                      <a:pt x="992334" y="964744"/>
                    </a:moveTo>
                    <a:cubicBezTo>
                      <a:pt x="986977" y="963336"/>
                      <a:pt x="981040" y="964009"/>
                      <a:pt x="975775" y="967071"/>
                    </a:cubicBezTo>
                    <a:cubicBezTo>
                      <a:pt x="974551" y="967805"/>
                      <a:pt x="959125" y="977112"/>
                      <a:pt x="943210" y="996214"/>
                    </a:cubicBezTo>
                    <a:cubicBezTo>
                      <a:pt x="927539" y="1015072"/>
                      <a:pt x="911134" y="1044950"/>
                      <a:pt x="911134" y="1084379"/>
                    </a:cubicBezTo>
                    <a:cubicBezTo>
                      <a:pt x="911134" y="1162748"/>
                      <a:pt x="974061" y="1226423"/>
                      <a:pt x="1051680" y="1226423"/>
                    </a:cubicBezTo>
                    <a:cubicBezTo>
                      <a:pt x="1129298" y="1226423"/>
                      <a:pt x="1192225" y="1162748"/>
                      <a:pt x="1192225" y="1084379"/>
                    </a:cubicBezTo>
                    <a:cubicBezTo>
                      <a:pt x="1192225" y="1044950"/>
                      <a:pt x="1176065" y="1015072"/>
                      <a:pt x="1160150" y="996214"/>
                    </a:cubicBezTo>
                    <a:cubicBezTo>
                      <a:pt x="1144234" y="977112"/>
                      <a:pt x="1128808" y="967805"/>
                      <a:pt x="1127584" y="967071"/>
                    </a:cubicBezTo>
                    <a:cubicBezTo>
                      <a:pt x="1117300" y="960948"/>
                      <a:pt x="1103833" y="964377"/>
                      <a:pt x="1097957" y="974908"/>
                    </a:cubicBezTo>
                    <a:cubicBezTo>
                      <a:pt x="1091836" y="985194"/>
                      <a:pt x="1095264" y="998663"/>
                      <a:pt x="1105547" y="1004786"/>
                    </a:cubicBezTo>
                    <a:cubicBezTo>
                      <a:pt x="1106772" y="1005520"/>
                      <a:pt x="1117790" y="1012623"/>
                      <a:pt x="1128074" y="1025603"/>
                    </a:cubicBezTo>
                    <a:cubicBezTo>
                      <a:pt x="1138847" y="1039072"/>
                      <a:pt x="1148886" y="1058175"/>
                      <a:pt x="1148886" y="1084379"/>
                    </a:cubicBezTo>
                    <a:cubicBezTo>
                      <a:pt x="1148886" y="1111564"/>
                      <a:pt x="1138113" y="1136054"/>
                      <a:pt x="1120483" y="1153932"/>
                    </a:cubicBezTo>
                    <a:cubicBezTo>
                      <a:pt x="1102854" y="1171810"/>
                      <a:pt x="1078614" y="1182585"/>
                      <a:pt x="1051680" y="1182585"/>
                    </a:cubicBezTo>
                    <a:cubicBezTo>
                      <a:pt x="1024746" y="1182585"/>
                      <a:pt x="1000506" y="1171810"/>
                      <a:pt x="982876" y="1153932"/>
                    </a:cubicBezTo>
                    <a:cubicBezTo>
                      <a:pt x="965247" y="1136054"/>
                      <a:pt x="954473" y="1111564"/>
                      <a:pt x="954473" y="1084379"/>
                    </a:cubicBezTo>
                    <a:cubicBezTo>
                      <a:pt x="954473" y="1057195"/>
                      <a:pt x="965247" y="1037848"/>
                      <a:pt x="976265" y="1024133"/>
                    </a:cubicBezTo>
                    <a:cubicBezTo>
                      <a:pt x="981897" y="1017521"/>
                      <a:pt x="987528" y="1012378"/>
                      <a:pt x="991691" y="1009194"/>
                    </a:cubicBezTo>
                    <a:cubicBezTo>
                      <a:pt x="993894" y="1007480"/>
                      <a:pt x="995608" y="1006255"/>
                      <a:pt x="996588" y="1005520"/>
                    </a:cubicBezTo>
                    <a:cubicBezTo>
                      <a:pt x="997078" y="1005276"/>
                      <a:pt x="997567" y="1005031"/>
                      <a:pt x="997567" y="1004786"/>
                    </a:cubicBezTo>
                    <a:cubicBezTo>
                      <a:pt x="997812" y="1004786"/>
                      <a:pt x="997812" y="1004786"/>
                      <a:pt x="997812" y="1004786"/>
                    </a:cubicBezTo>
                    <a:cubicBezTo>
                      <a:pt x="1008096" y="998663"/>
                      <a:pt x="1011524" y="985194"/>
                      <a:pt x="1005403" y="974908"/>
                    </a:cubicBezTo>
                    <a:cubicBezTo>
                      <a:pt x="1002465" y="969642"/>
                      <a:pt x="997690" y="966152"/>
                      <a:pt x="992334" y="964744"/>
                    </a:cubicBezTo>
                    <a:close/>
                    <a:moveTo>
                      <a:pt x="463936" y="949638"/>
                    </a:moveTo>
                    <a:cubicBezTo>
                      <a:pt x="431639" y="949638"/>
                      <a:pt x="405457" y="975820"/>
                      <a:pt x="405457" y="1008117"/>
                    </a:cubicBezTo>
                    <a:cubicBezTo>
                      <a:pt x="405457" y="1040414"/>
                      <a:pt x="431639" y="1066596"/>
                      <a:pt x="463936" y="1066596"/>
                    </a:cubicBezTo>
                    <a:cubicBezTo>
                      <a:pt x="496233" y="1066596"/>
                      <a:pt x="522415" y="1040414"/>
                      <a:pt x="522415" y="1008117"/>
                    </a:cubicBezTo>
                    <a:cubicBezTo>
                      <a:pt x="522415" y="975820"/>
                      <a:pt x="496233" y="949638"/>
                      <a:pt x="463936" y="949638"/>
                    </a:cubicBezTo>
                    <a:close/>
                    <a:moveTo>
                      <a:pt x="279637" y="949638"/>
                    </a:moveTo>
                    <a:cubicBezTo>
                      <a:pt x="247340" y="949638"/>
                      <a:pt x="221158" y="975820"/>
                      <a:pt x="221158" y="1008117"/>
                    </a:cubicBezTo>
                    <a:cubicBezTo>
                      <a:pt x="221158" y="1040414"/>
                      <a:pt x="247340" y="1066596"/>
                      <a:pt x="279637" y="1066596"/>
                    </a:cubicBezTo>
                    <a:cubicBezTo>
                      <a:pt x="311934" y="1066596"/>
                      <a:pt x="338116" y="1040414"/>
                      <a:pt x="338116" y="1008117"/>
                    </a:cubicBezTo>
                    <a:cubicBezTo>
                      <a:pt x="338116" y="975820"/>
                      <a:pt x="311934" y="949638"/>
                      <a:pt x="279637" y="949638"/>
                    </a:cubicBezTo>
                    <a:close/>
                    <a:moveTo>
                      <a:pt x="1051679" y="919956"/>
                    </a:moveTo>
                    <a:cubicBezTo>
                      <a:pt x="1039723" y="919956"/>
                      <a:pt x="1030207" y="929762"/>
                      <a:pt x="1030207" y="941774"/>
                    </a:cubicBezTo>
                    <a:lnTo>
                      <a:pt x="1030207" y="1007472"/>
                    </a:lnTo>
                    <a:lnTo>
                      <a:pt x="1030207" y="1073170"/>
                    </a:lnTo>
                    <a:cubicBezTo>
                      <a:pt x="1030207" y="1085181"/>
                      <a:pt x="1039723" y="1094987"/>
                      <a:pt x="1051679" y="1094987"/>
                    </a:cubicBezTo>
                    <a:cubicBezTo>
                      <a:pt x="1063635" y="1094987"/>
                      <a:pt x="1073151" y="1085181"/>
                      <a:pt x="1073151" y="1073170"/>
                    </a:cubicBezTo>
                    <a:lnTo>
                      <a:pt x="1073151" y="1007472"/>
                    </a:lnTo>
                    <a:lnTo>
                      <a:pt x="1073151" y="941774"/>
                    </a:lnTo>
                    <a:cubicBezTo>
                      <a:pt x="1073151" y="929762"/>
                      <a:pt x="1063635" y="919956"/>
                      <a:pt x="1051679" y="919956"/>
                    </a:cubicBezTo>
                    <a:close/>
                    <a:moveTo>
                      <a:pt x="131756" y="714104"/>
                    </a:moveTo>
                    <a:lnTo>
                      <a:pt x="131756" y="836024"/>
                    </a:lnTo>
                    <a:lnTo>
                      <a:pt x="1386573" y="836024"/>
                    </a:lnTo>
                    <a:lnTo>
                      <a:pt x="1386573" y="714104"/>
                    </a:lnTo>
                    <a:close/>
                    <a:moveTo>
                      <a:pt x="131756" y="535578"/>
                    </a:moveTo>
                    <a:lnTo>
                      <a:pt x="131756" y="657498"/>
                    </a:lnTo>
                    <a:lnTo>
                      <a:pt x="1386573" y="657498"/>
                    </a:lnTo>
                    <a:lnTo>
                      <a:pt x="1386573" y="535578"/>
                    </a:lnTo>
                    <a:close/>
                    <a:moveTo>
                      <a:pt x="131756" y="357052"/>
                    </a:moveTo>
                    <a:lnTo>
                      <a:pt x="131756" y="478972"/>
                    </a:lnTo>
                    <a:lnTo>
                      <a:pt x="1386573" y="478972"/>
                    </a:lnTo>
                    <a:lnTo>
                      <a:pt x="1386573" y="357052"/>
                    </a:lnTo>
                    <a:close/>
                    <a:moveTo>
                      <a:pt x="131756" y="178526"/>
                    </a:moveTo>
                    <a:lnTo>
                      <a:pt x="131756" y="300446"/>
                    </a:lnTo>
                    <a:lnTo>
                      <a:pt x="1386573" y="300446"/>
                    </a:lnTo>
                    <a:lnTo>
                      <a:pt x="1386573" y="178526"/>
                    </a:lnTo>
                    <a:close/>
                    <a:moveTo>
                      <a:pt x="0" y="0"/>
                    </a:moveTo>
                    <a:lnTo>
                      <a:pt x="1518329" y="0"/>
                    </a:lnTo>
                    <a:lnTo>
                      <a:pt x="1518329" y="3535002"/>
                    </a:lnTo>
                    <a:lnTo>
                      <a:pt x="0" y="353500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93" name="Parallelogram 143"/>
              <p:cNvSpPr/>
              <p:nvPr/>
            </p:nvSpPr>
            <p:spPr>
              <a:xfrm>
                <a:off x="4754879" y="1097281"/>
                <a:ext cx="3331031" cy="1165359"/>
              </a:xfrm>
              <a:prstGeom prst="parallelogram">
                <a:avLst>
                  <a:gd name="adj" fmla="val 1550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94" name="Freeform: Shape 1270"/>
              <p:cNvSpPr/>
              <p:nvPr/>
            </p:nvSpPr>
            <p:spPr>
              <a:xfrm rot="5400000" flipH="1">
                <a:off x="4875143" y="2638790"/>
                <a:ext cx="4671470" cy="1750063"/>
              </a:xfrm>
              <a:custGeom>
                <a:avLst/>
                <a:gdLst>
                  <a:gd name="connsiteX0" fmla="*/ 3724402 w 4671470"/>
                  <a:gd name="connsiteY0" fmla="*/ 599823 h 1750063"/>
                  <a:gd name="connsiteX1" fmla="*/ 3699601 w 4671470"/>
                  <a:gd name="connsiteY1" fmla="*/ 624624 h 1750063"/>
                  <a:gd name="connsiteX2" fmla="*/ 3674800 w 4671470"/>
                  <a:gd name="connsiteY2" fmla="*/ 599823 h 1750063"/>
                  <a:gd name="connsiteX3" fmla="*/ 3699601 w 4671470"/>
                  <a:gd name="connsiteY3" fmla="*/ 575022 h 1750063"/>
                  <a:gd name="connsiteX4" fmla="*/ 3724402 w 4671470"/>
                  <a:gd name="connsiteY4" fmla="*/ 599823 h 1750063"/>
                  <a:gd name="connsiteX5" fmla="*/ 3768160 w 4671470"/>
                  <a:gd name="connsiteY5" fmla="*/ 523881 h 1750063"/>
                  <a:gd name="connsiteX6" fmla="*/ 3743360 w 4671470"/>
                  <a:gd name="connsiteY6" fmla="*/ 548682 h 1750063"/>
                  <a:gd name="connsiteX7" fmla="*/ 3718559 w 4671470"/>
                  <a:gd name="connsiteY7" fmla="*/ 523881 h 1750063"/>
                  <a:gd name="connsiteX8" fmla="*/ 3743360 w 4671470"/>
                  <a:gd name="connsiteY8" fmla="*/ 499080 h 1750063"/>
                  <a:gd name="connsiteX9" fmla="*/ 3768160 w 4671470"/>
                  <a:gd name="connsiteY9" fmla="*/ 523881 h 1750063"/>
                  <a:gd name="connsiteX10" fmla="*/ 3811919 w 4671470"/>
                  <a:gd name="connsiteY10" fmla="*/ 447943 h 1750063"/>
                  <a:gd name="connsiteX11" fmla="*/ 3787119 w 4671470"/>
                  <a:gd name="connsiteY11" fmla="*/ 472744 h 1750063"/>
                  <a:gd name="connsiteX12" fmla="*/ 3762317 w 4671470"/>
                  <a:gd name="connsiteY12" fmla="*/ 447943 h 1750063"/>
                  <a:gd name="connsiteX13" fmla="*/ 3787119 w 4671470"/>
                  <a:gd name="connsiteY13" fmla="*/ 423142 h 1750063"/>
                  <a:gd name="connsiteX14" fmla="*/ 3811919 w 4671470"/>
                  <a:gd name="connsiteY14" fmla="*/ 447943 h 1750063"/>
                  <a:gd name="connsiteX15" fmla="*/ 3817761 w 4671470"/>
                  <a:gd name="connsiteY15" fmla="*/ 599823 h 1750063"/>
                  <a:gd name="connsiteX16" fmla="*/ 3792960 w 4671470"/>
                  <a:gd name="connsiteY16" fmla="*/ 624624 h 1750063"/>
                  <a:gd name="connsiteX17" fmla="*/ 3768160 w 4671470"/>
                  <a:gd name="connsiteY17" fmla="*/ 599823 h 1750063"/>
                  <a:gd name="connsiteX18" fmla="*/ 3792960 w 4671470"/>
                  <a:gd name="connsiteY18" fmla="*/ 575022 h 1750063"/>
                  <a:gd name="connsiteX19" fmla="*/ 3817761 w 4671470"/>
                  <a:gd name="connsiteY19" fmla="*/ 599823 h 1750063"/>
                  <a:gd name="connsiteX20" fmla="*/ 3855678 w 4671470"/>
                  <a:gd name="connsiteY20" fmla="*/ 371999 h 1750063"/>
                  <a:gd name="connsiteX21" fmla="*/ 3830878 w 4671470"/>
                  <a:gd name="connsiteY21" fmla="*/ 396800 h 1750063"/>
                  <a:gd name="connsiteX22" fmla="*/ 3806076 w 4671470"/>
                  <a:gd name="connsiteY22" fmla="*/ 371999 h 1750063"/>
                  <a:gd name="connsiteX23" fmla="*/ 3830878 w 4671470"/>
                  <a:gd name="connsiteY23" fmla="*/ 347198 h 1750063"/>
                  <a:gd name="connsiteX24" fmla="*/ 3855678 w 4671470"/>
                  <a:gd name="connsiteY24" fmla="*/ 371999 h 1750063"/>
                  <a:gd name="connsiteX25" fmla="*/ 3861520 w 4671470"/>
                  <a:gd name="connsiteY25" fmla="*/ 523881 h 1750063"/>
                  <a:gd name="connsiteX26" fmla="*/ 3836719 w 4671470"/>
                  <a:gd name="connsiteY26" fmla="*/ 548682 h 1750063"/>
                  <a:gd name="connsiteX27" fmla="*/ 3811919 w 4671470"/>
                  <a:gd name="connsiteY27" fmla="*/ 523881 h 1750063"/>
                  <a:gd name="connsiteX28" fmla="*/ 3836719 w 4671470"/>
                  <a:gd name="connsiteY28" fmla="*/ 499080 h 1750063"/>
                  <a:gd name="connsiteX29" fmla="*/ 3861520 w 4671470"/>
                  <a:gd name="connsiteY29" fmla="*/ 523881 h 1750063"/>
                  <a:gd name="connsiteX30" fmla="*/ 3899432 w 4671470"/>
                  <a:gd name="connsiteY30" fmla="*/ 296070 h 1750063"/>
                  <a:gd name="connsiteX31" fmla="*/ 3874632 w 4671470"/>
                  <a:gd name="connsiteY31" fmla="*/ 320871 h 1750063"/>
                  <a:gd name="connsiteX32" fmla="*/ 3849831 w 4671470"/>
                  <a:gd name="connsiteY32" fmla="*/ 296070 h 1750063"/>
                  <a:gd name="connsiteX33" fmla="*/ 3874632 w 4671470"/>
                  <a:gd name="connsiteY33" fmla="*/ 271269 h 1750063"/>
                  <a:gd name="connsiteX34" fmla="*/ 3899432 w 4671470"/>
                  <a:gd name="connsiteY34" fmla="*/ 296070 h 1750063"/>
                  <a:gd name="connsiteX35" fmla="*/ 3905279 w 4671470"/>
                  <a:gd name="connsiteY35" fmla="*/ 447943 h 1750063"/>
                  <a:gd name="connsiteX36" fmla="*/ 3880478 w 4671470"/>
                  <a:gd name="connsiteY36" fmla="*/ 472744 h 1750063"/>
                  <a:gd name="connsiteX37" fmla="*/ 3855678 w 4671470"/>
                  <a:gd name="connsiteY37" fmla="*/ 447943 h 1750063"/>
                  <a:gd name="connsiteX38" fmla="*/ 3880478 w 4671470"/>
                  <a:gd name="connsiteY38" fmla="*/ 423142 h 1750063"/>
                  <a:gd name="connsiteX39" fmla="*/ 3905279 w 4671470"/>
                  <a:gd name="connsiteY39" fmla="*/ 447943 h 1750063"/>
                  <a:gd name="connsiteX40" fmla="*/ 3911120 w 4671470"/>
                  <a:gd name="connsiteY40" fmla="*/ 599823 h 1750063"/>
                  <a:gd name="connsiteX41" fmla="*/ 3886319 w 4671470"/>
                  <a:gd name="connsiteY41" fmla="*/ 624624 h 1750063"/>
                  <a:gd name="connsiteX42" fmla="*/ 3861519 w 4671470"/>
                  <a:gd name="connsiteY42" fmla="*/ 599823 h 1750063"/>
                  <a:gd name="connsiteX43" fmla="*/ 3886319 w 4671470"/>
                  <a:gd name="connsiteY43" fmla="*/ 575022 h 1750063"/>
                  <a:gd name="connsiteX44" fmla="*/ 3911120 w 4671470"/>
                  <a:gd name="connsiteY44" fmla="*/ 599823 h 1750063"/>
                  <a:gd name="connsiteX45" fmla="*/ 3943188 w 4671470"/>
                  <a:gd name="connsiteY45" fmla="*/ 220112 h 1750063"/>
                  <a:gd name="connsiteX46" fmla="*/ 3918388 w 4671470"/>
                  <a:gd name="connsiteY46" fmla="*/ 244913 h 1750063"/>
                  <a:gd name="connsiteX47" fmla="*/ 3893586 w 4671470"/>
                  <a:gd name="connsiteY47" fmla="*/ 220112 h 1750063"/>
                  <a:gd name="connsiteX48" fmla="*/ 3918388 w 4671470"/>
                  <a:gd name="connsiteY48" fmla="*/ 195311 h 1750063"/>
                  <a:gd name="connsiteX49" fmla="*/ 3943188 w 4671470"/>
                  <a:gd name="connsiteY49" fmla="*/ 220112 h 1750063"/>
                  <a:gd name="connsiteX50" fmla="*/ 3949038 w 4671470"/>
                  <a:gd name="connsiteY50" fmla="*/ 371999 h 1750063"/>
                  <a:gd name="connsiteX51" fmla="*/ 3924237 w 4671470"/>
                  <a:gd name="connsiteY51" fmla="*/ 396800 h 1750063"/>
                  <a:gd name="connsiteX52" fmla="*/ 3899437 w 4671470"/>
                  <a:gd name="connsiteY52" fmla="*/ 371999 h 1750063"/>
                  <a:gd name="connsiteX53" fmla="*/ 3924237 w 4671470"/>
                  <a:gd name="connsiteY53" fmla="*/ 347198 h 1750063"/>
                  <a:gd name="connsiteX54" fmla="*/ 3949038 w 4671470"/>
                  <a:gd name="connsiteY54" fmla="*/ 371999 h 1750063"/>
                  <a:gd name="connsiteX55" fmla="*/ 3954879 w 4671470"/>
                  <a:gd name="connsiteY55" fmla="*/ 523881 h 1750063"/>
                  <a:gd name="connsiteX56" fmla="*/ 3930078 w 4671470"/>
                  <a:gd name="connsiteY56" fmla="*/ 548682 h 1750063"/>
                  <a:gd name="connsiteX57" fmla="*/ 3905278 w 4671470"/>
                  <a:gd name="connsiteY57" fmla="*/ 523881 h 1750063"/>
                  <a:gd name="connsiteX58" fmla="*/ 3930078 w 4671470"/>
                  <a:gd name="connsiteY58" fmla="*/ 499080 h 1750063"/>
                  <a:gd name="connsiteX59" fmla="*/ 3954879 w 4671470"/>
                  <a:gd name="connsiteY59" fmla="*/ 523881 h 1750063"/>
                  <a:gd name="connsiteX60" fmla="*/ 3992793 w 4671470"/>
                  <a:gd name="connsiteY60" fmla="*/ 296070 h 1750063"/>
                  <a:gd name="connsiteX61" fmla="*/ 3967991 w 4671470"/>
                  <a:gd name="connsiteY61" fmla="*/ 320871 h 1750063"/>
                  <a:gd name="connsiteX62" fmla="*/ 3943191 w 4671470"/>
                  <a:gd name="connsiteY62" fmla="*/ 296070 h 1750063"/>
                  <a:gd name="connsiteX63" fmla="*/ 3967991 w 4671470"/>
                  <a:gd name="connsiteY63" fmla="*/ 271269 h 1750063"/>
                  <a:gd name="connsiteX64" fmla="*/ 3992793 w 4671470"/>
                  <a:gd name="connsiteY64" fmla="*/ 296070 h 1750063"/>
                  <a:gd name="connsiteX65" fmla="*/ 3998638 w 4671470"/>
                  <a:gd name="connsiteY65" fmla="*/ 447943 h 1750063"/>
                  <a:gd name="connsiteX66" fmla="*/ 3973837 w 4671470"/>
                  <a:gd name="connsiteY66" fmla="*/ 472744 h 1750063"/>
                  <a:gd name="connsiteX67" fmla="*/ 3949037 w 4671470"/>
                  <a:gd name="connsiteY67" fmla="*/ 447943 h 1750063"/>
                  <a:gd name="connsiteX68" fmla="*/ 3973837 w 4671470"/>
                  <a:gd name="connsiteY68" fmla="*/ 423142 h 1750063"/>
                  <a:gd name="connsiteX69" fmla="*/ 3998638 w 4671470"/>
                  <a:gd name="connsiteY69" fmla="*/ 447943 h 1750063"/>
                  <a:gd name="connsiteX70" fmla="*/ 4004480 w 4671470"/>
                  <a:gd name="connsiteY70" fmla="*/ 599823 h 1750063"/>
                  <a:gd name="connsiteX71" fmla="*/ 3979679 w 4671470"/>
                  <a:gd name="connsiteY71" fmla="*/ 624624 h 1750063"/>
                  <a:gd name="connsiteX72" fmla="*/ 3954878 w 4671470"/>
                  <a:gd name="connsiteY72" fmla="*/ 599823 h 1750063"/>
                  <a:gd name="connsiteX73" fmla="*/ 3979679 w 4671470"/>
                  <a:gd name="connsiteY73" fmla="*/ 575022 h 1750063"/>
                  <a:gd name="connsiteX74" fmla="*/ 4004480 w 4671470"/>
                  <a:gd name="connsiteY74" fmla="*/ 599823 h 1750063"/>
                  <a:gd name="connsiteX75" fmla="*/ 4036548 w 4671470"/>
                  <a:gd name="connsiteY75" fmla="*/ 220112 h 1750063"/>
                  <a:gd name="connsiteX76" fmla="*/ 4011747 w 4671470"/>
                  <a:gd name="connsiteY76" fmla="*/ 244913 h 1750063"/>
                  <a:gd name="connsiteX77" fmla="*/ 3986947 w 4671470"/>
                  <a:gd name="connsiteY77" fmla="*/ 220112 h 1750063"/>
                  <a:gd name="connsiteX78" fmla="*/ 4011747 w 4671470"/>
                  <a:gd name="connsiteY78" fmla="*/ 195311 h 1750063"/>
                  <a:gd name="connsiteX79" fmla="*/ 4036548 w 4671470"/>
                  <a:gd name="connsiteY79" fmla="*/ 220112 h 1750063"/>
                  <a:gd name="connsiteX80" fmla="*/ 4042397 w 4671470"/>
                  <a:gd name="connsiteY80" fmla="*/ 371999 h 1750063"/>
                  <a:gd name="connsiteX81" fmla="*/ 4017596 w 4671470"/>
                  <a:gd name="connsiteY81" fmla="*/ 396800 h 1750063"/>
                  <a:gd name="connsiteX82" fmla="*/ 3992796 w 4671470"/>
                  <a:gd name="connsiteY82" fmla="*/ 371999 h 1750063"/>
                  <a:gd name="connsiteX83" fmla="*/ 4017596 w 4671470"/>
                  <a:gd name="connsiteY83" fmla="*/ 347198 h 1750063"/>
                  <a:gd name="connsiteX84" fmla="*/ 4042397 w 4671470"/>
                  <a:gd name="connsiteY84" fmla="*/ 371999 h 1750063"/>
                  <a:gd name="connsiteX85" fmla="*/ 4048240 w 4671470"/>
                  <a:gd name="connsiteY85" fmla="*/ 523881 h 1750063"/>
                  <a:gd name="connsiteX86" fmla="*/ 4023438 w 4671470"/>
                  <a:gd name="connsiteY86" fmla="*/ 548682 h 1750063"/>
                  <a:gd name="connsiteX87" fmla="*/ 3998637 w 4671470"/>
                  <a:gd name="connsiteY87" fmla="*/ 523881 h 1750063"/>
                  <a:gd name="connsiteX88" fmla="*/ 4023438 w 4671470"/>
                  <a:gd name="connsiteY88" fmla="*/ 499080 h 1750063"/>
                  <a:gd name="connsiteX89" fmla="*/ 4048240 w 4671470"/>
                  <a:gd name="connsiteY89" fmla="*/ 523881 h 1750063"/>
                  <a:gd name="connsiteX90" fmla="*/ 4086152 w 4671470"/>
                  <a:gd name="connsiteY90" fmla="*/ 296070 h 1750063"/>
                  <a:gd name="connsiteX91" fmla="*/ 4061350 w 4671470"/>
                  <a:gd name="connsiteY91" fmla="*/ 320871 h 1750063"/>
                  <a:gd name="connsiteX92" fmla="*/ 4036550 w 4671470"/>
                  <a:gd name="connsiteY92" fmla="*/ 296070 h 1750063"/>
                  <a:gd name="connsiteX93" fmla="*/ 4061350 w 4671470"/>
                  <a:gd name="connsiteY93" fmla="*/ 271269 h 1750063"/>
                  <a:gd name="connsiteX94" fmla="*/ 4086152 w 4671470"/>
                  <a:gd name="connsiteY94" fmla="*/ 296070 h 1750063"/>
                  <a:gd name="connsiteX95" fmla="*/ 4091999 w 4671470"/>
                  <a:gd name="connsiteY95" fmla="*/ 447943 h 1750063"/>
                  <a:gd name="connsiteX96" fmla="*/ 4067197 w 4671470"/>
                  <a:gd name="connsiteY96" fmla="*/ 472744 h 1750063"/>
                  <a:gd name="connsiteX97" fmla="*/ 4042396 w 4671470"/>
                  <a:gd name="connsiteY97" fmla="*/ 447943 h 1750063"/>
                  <a:gd name="connsiteX98" fmla="*/ 4067197 w 4671470"/>
                  <a:gd name="connsiteY98" fmla="*/ 423142 h 1750063"/>
                  <a:gd name="connsiteX99" fmla="*/ 4091999 w 4671470"/>
                  <a:gd name="connsiteY99" fmla="*/ 447943 h 1750063"/>
                  <a:gd name="connsiteX100" fmla="*/ 4129907 w 4671470"/>
                  <a:gd name="connsiteY100" fmla="*/ 220112 h 1750063"/>
                  <a:gd name="connsiteX101" fmla="*/ 4105106 w 4671470"/>
                  <a:gd name="connsiteY101" fmla="*/ 244913 h 1750063"/>
                  <a:gd name="connsiteX102" fmla="*/ 4080306 w 4671470"/>
                  <a:gd name="connsiteY102" fmla="*/ 220112 h 1750063"/>
                  <a:gd name="connsiteX103" fmla="*/ 4105106 w 4671470"/>
                  <a:gd name="connsiteY103" fmla="*/ 195311 h 1750063"/>
                  <a:gd name="connsiteX104" fmla="*/ 4129907 w 4671470"/>
                  <a:gd name="connsiteY104" fmla="*/ 220112 h 1750063"/>
                  <a:gd name="connsiteX105" fmla="*/ 4135758 w 4671470"/>
                  <a:gd name="connsiteY105" fmla="*/ 371999 h 1750063"/>
                  <a:gd name="connsiteX106" fmla="*/ 4110956 w 4671470"/>
                  <a:gd name="connsiteY106" fmla="*/ 396800 h 1750063"/>
                  <a:gd name="connsiteX107" fmla="*/ 4086155 w 4671470"/>
                  <a:gd name="connsiteY107" fmla="*/ 371999 h 1750063"/>
                  <a:gd name="connsiteX108" fmla="*/ 4110956 w 4671470"/>
                  <a:gd name="connsiteY108" fmla="*/ 347198 h 1750063"/>
                  <a:gd name="connsiteX109" fmla="*/ 4135758 w 4671470"/>
                  <a:gd name="connsiteY109" fmla="*/ 371999 h 1750063"/>
                  <a:gd name="connsiteX110" fmla="*/ 4179512 w 4671470"/>
                  <a:gd name="connsiteY110" fmla="*/ 296070 h 1750063"/>
                  <a:gd name="connsiteX111" fmla="*/ 4154710 w 4671470"/>
                  <a:gd name="connsiteY111" fmla="*/ 320871 h 1750063"/>
                  <a:gd name="connsiteX112" fmla="*/ 4129909 w 4671470"/>
                  <a:gd name="connsiteY112" fmla="*/ 296070 h 1750063"/>
                  <a:gd name="connsiteX113" fmla="*/ 4154710 w 4671470"/>
                  <a:gd name="connsiteY113" fmla="*/ 271269 h 1750063"/>
                  <a:gd name="connsiteX114" fmla="*/ 4179512 w 4671470"/>
                  <a:gd name="connsiteY114" fmla="*/ 296070 h 1750063"/>
                  <a:gd name="connsiteX115" fmla="*/ 4223268 w 4671470"/>
                  <a:gd name="connsiteY115" fmla="*/ 220112 h 1750063"/>
                  <a:gd name="connsiteX116" fmla="*/ 4198466 w 4671470"/>
                  <a:gd name="connsiteY116" fmla="*/ 244913 h 1750063"/>
                  <a:gd name="connsiteX117" fmla="*/ 4173665 w 4671470"/>
                  <a:gd name="connsiteY117" fmla="*/ 220112 h 1750063"/>
                  <a:gd name="connsiteX118" fmla="*/ 4198466 w 4671470"/>
                  <a:gd name="connsiteY118" fmla="*/ 195311 h 1750063"/>
                  <a:gd name="connsiteX119" fmla="*/ 4223268 w 4671470"/>
                  <a:gd name="connsiteY119" fmla="*/ 220112 h 1750063"/>
                  <a:gd name="connsiteX120" fmla="*/ 4671470 w 4671470"/>
                  <a:gd name="connsiteY120" fmla="*/ 0 h 1750063"/>
                  <a:gd name="connsiteX121" fmla="*/ 1143544 w 4671470"/>
                  <a:gd name="connsiteY121" fmla="*/ 0 h 1750063"/>
                  <a:gd name="connsiteX122" fmla="*/ 0 w 4671470"/>
                  <a:gd name="connsiteY122" fmla="*/ 1750063 h 1750063"/>
                  <a:gd name="connsiteX123" fmla="*/ 3527926 w 4671470"/>
                  <a:gd name="connsiteY123" fmla="*/ 1750063 h 175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671470" h="1750063">
                    <a:moveTo>
                      <a:pt x="3724402" y="599823"/>
                    </a:moveTo>
                    <a:cubicBezTo>
                      <a:pt x="3724402" y="613520"/>
                      <a:pt x="3713298" y="624624"/>
                      <a:pt x="3699601" y="624624"/>
                    </a:cubicBezTo>
                    <a:cubicBezTo>
                      <a:pt x="3685904" y="624624"/>
                      <a:pt x="3674800" y="613520"/>
                      <a:pt x="3674800" y="599823"/>
                    </a:cubicBezTo>
                    <a:cubicBezTo>
                      <a:pt x="3674800" y="586126"/>
                      <a:pt x="3685904" y="575022"/>
                      <a:pt x="3699601" y="575022"/>
                    </a:cubicBezTo>
                    <a:cubicBezTo>
                      <a:pt x="3713298" y="575022"/>
                      <a:pt x="3724402" y="586126"/>
                      <a:pt x="3724402" y="599823"/>
                    </a:cubicBezTo>
                    <a:close/>
                    <a:moveTo>
                      <a:pt x="3768160" y="523881"/>
                    </a:moveTo>
                    <a:cubicBezTo>
                      <a:pt x="3768160" y="537578"/>
                      <a:pt x="3757056" y="548682"/>
                      <a:pt x="3743360" y="548682"/>
                    </a:cubicBezTo>
                    <a:cubicBezTo>
                      <a:pt x="3729663" y="548682"/>
                      <a:pt x="3718559" y="537578"/>
                      <a:pt x="3718559" y="523881"/>
                    </a:cubicBezTo>
                    <a:cubicBezTo>
                      <a:pt x="3718559" y="510184"/>
                      <a:pt x="3729663" y="499080"/>
                      <a:pt x="3743360" y="499080"/>
                    </a:cubicBezTo>
                    <a:cubicBezTo>
                      <a:pt x="3757056" y="499080"/>
                      <a:pt x="3768160" y="510184"/>
                      <a:pt x="3768160" y="523881"/>
                    </a:cubicBezTo>
                    <a:close/>
                    <a:moveTo>
                      <a:pt x="3811919" y="447943"/>
                    </a:moveTo>
                    <a:cubicBezTo>
                      <a:pt x="3811919" y="461640"/>
                      <a:pt x="3800815" y="472744"/>
                      <a:pt x="3787119" y="472744"/>
                    </a:cubicBezTo>
                    <a:cubicBezTo>
                      <a:pt x="3773422" y="472744"/>
                      <a:pt x="3762317" y="461640"/>
                      <a:pt x="3762317" y="447943"/>
                    </a:cubicBezTo>
                    <a:cubicBezTo>
                      <a:pt x="3762317" y="434246"/>
                      <a:pt x="3773422" y="423142"/>
                      <a:pt x="3787119" y="423142"/>
                    </a:cubicBezTo>
                    <a:cubicBezTo>
                      <a:pt x="3800815" y="423142"/>
                      <a:pt x="3811919" y="434246"/>
                      <a:pt x="3811919" y="447943"/>
                    </a:cubicBezTo>
                    <a:close/>
                    <a:moveTo>
                      <a:pt x="3817761" y="599823"/>
                    </a:moveTo>
                    <a:cubicBezTo>
                      <a:pt x="3817761" y="613520"/>
                      <a:pt x="3806658" y="624624"/>
                      <a:pt x="3792960" y="624624"/>
                    </a:cubicBezTo>
                    <a:cubicBezTo>
                      <a:pt x="3779263" y="624624"/>
                      <a:pt x="3768160" y="613520"/>
                      <a:pt x="3768160" y="599823"/>
                    </a:cubicBezTo>
                    <a:cubicBezTo>
                      <a:pt x="3768160" y="586126"/>
                      <a:pt x="3779263" y="575022"/>
                      <a:pt x="3792960" y="575022"/>
                    </a:cubicBezTo>
                    <a:cubicBezTo>
                      <a:pt x="3806658" y="575022"/>
                      <a:pt x="3817761" y="586126"/>
                      <a:pt x="3817761" y="599823"/>
                    </a:cubicBezTo>
                    <a:close/>
                    <a:moveTo>
                      <a:pt x="3855678" y="371999"/>
                    </a:moveTo>
                    <a:cubicBezTo>
                      <a:pt x="3855678" y="385696"/>
                      <a:pt x="3844574" y="396800"/>
                      <a:pt x="3830878" y="396800"/>
                    </a:cubicBezTo>
                    <a:cubicBezTo>
                      <a:pt x="3817181" y="396800"/>
                      <a:pt x="3806076" y="385696"/>
                      <a:pt x="3806076" y="371999"/>
                    </a:cubicBezTo>
                    <a:cubicBezTo>
                      <a:pt x="3806076" y="358302"/>
                      <a:pt x="3817181" y="347198"/>
                      <a:pt x="3830878" y="347198"/>
                    </a:cubicBezTo>
                    <a:cubicBezTo>
                      <a:pt x="3844574" y="347198"/>
                      <a:pt x="3855678" y="358302"/>
                      <a:pt x="3855678" y="371999"/>
                    </a:cubicBezTo>
                    <a:close/>
                    <a:moveTo>
                      <a:pt x="3861520" y="523881"/>
                    </a:moveTo>
                    <a:cubicBezTo>
                      <a:pt x="3861520" y="537578"/>
                      <a:pt x="3850417" y="548682"/>
                      <a:pt x="3836719" y="548682"/>
                    </a:cubicBezTo>
                    <a:cubicBezTo>
                      <a:pt x="3823022" y="548682"/>
                      <a:pt x="3811919" y="537578"/>
                      <a:pt x="3811919" y="523881"/>
                    </a:cubicBezTo>
                    <a:cubicBezTo>
                      <a:pt x="3811919" y="510184"/>
                      <a:pt x="3823022" y="499080"/>
                      <a:pt x="3836719" y="499080"/>
                    </a:cubicBezTo>
                    <a:cubicBezTo>
                      <a:pt x="3850417" y="499080"/>
                      <a:pt x="3861520" y="510184"/>
                      <a:pt x="3861520" y="523881"/>
                    </a:cubicBezTo>
                    <a:close/>
                    <a:moveTo>
                      <a:pt x="3899432" y="296070"/>
                    </a:moveTo>
                    <a:cubicBezTo>
                      <a:pt x="3899432" y="309767"/>
                      <a:pt x="3888329" y="320871"/>
                      <a:pt x="3874632" y="320871"/>
                    </a:cubicBezTo>
                    <a:cubicBezTo>
                      <a:pt x="3860934" y="320871"/>
                      <a:pt x="3849831" y="309767"/>
                      <a:pt x="3849831" y="296070"/>
                    </a:cubicBezTo>
                    <a:cubicBezTo>
                      <a:pt x="3849831" y="282373"/>
                      <a:pt x="3860934" y="271269"/>
                      <a:pt x="3874632" y="271269"/>
                    </a:cubicBezTo>
                    <a:cubicBezTo>
                      <a:pt x="3888329" y="271269"/>
                      <a:pt x="3899432" y="282373"/>
                      <a:pt x="3899432" y="296070"/>
                    </a:cubicBezTo>
                    <a:close/>
                    <a:moveTo>
                      <a:pt x="3905279" y="447943"/>
                    </a:moveTo>
                    <a:cubicBezTo>
                      <a:pt x="3905279" y="461640"/>
                      <a:pt x="3894176" y="472744"/>
                      <a:pt x="3880478" y="472744"/>
                    </a:cubicBezTo>
                    <a:cubicBezTo>
                      <a:pt x="3866781" y="472744"/>
                      <a:pt x="3855678" y="461640"/>
                      <a:pt x="3855678" y="447943"/>
                    </a:cubicBezTo>
                    <a:cubicBezTo>
                      <a:pt x="3855678" y="434246"/>
                      <a:pt x="3866781" y="423142"/>
                      <a:pt x="3880478" y="423142"/>
                    </a:cubicBezTo>
                    <a:cubicBezTo>
                      <a:pt x="3894176" y="423142"/>
                      <a:pt x="3905279" y="434246"/>
                      <a:pt x="3905279" y="447943"/>
                    </a:cubicBezTo>
                    <a:close/>
                    <a:moveTo>
                      <a:pt x="3911120" y="599823"/>
                    </a:moveTo>
                    <a:cubicBezTo>
                      <a:pt x="3911120" y="613520"/>
                      <a:pt x="3900017" y="624624"/>
                      <a:pt x="3886319" y="624624"/>
                    </a:cubicBezTo>
                    <a:cubicBezTo>
                      <a:pt x="3872622" y="624624"/>
                      <a:pt x="3861519" y="613520"/>
                      <a:pt x="3861519" y="599823"/>
                    </a:cubicBezTo>
                    <a:cubicBezTo>
                      <a:pt x="3861519" y="586126"/>
                      <a:pt x="3872622" y="575022"/>
                      <a:pt x="3886319" y="575022"/>
                    </a:cubicBezTo>
                    <a:cubicBezTo>
                      <a:pt x="3900017" y="575022"/>
                      <a:pt x="3911120" y="586126"/>
                      <a:pt x="3911120" y="599823"/>
                    </a:cubicBezTo>
                    <a:close/>
                    <a:moveTo>
                      <a:pt x="3943188" y="220112"/>
                    </a:moveTo>
                    <a:cubicBezTo>
                      <a:pt x="3943188" y="233809"/>
                      <a:pt x="3932085" y="244913"/>
                      <a:pt x="3918388" y="244913"/>
                    </a:cubicBezTo>
                    <a:cubicBezTo>
                      <a:pt x="3904690" y="244913"/>
                      <a:pt x="3893586" y="233809"/>
                      <a:pt x="3893586" y="220112"/>
                    </a:cubicBezTo>
                    <a:cubicBezTo>
                      <a:pt x="3893586" y="206415"/>
                      <a:pt x="3904690" y="195311"/>
                      <a:pt x="3918388" y="195311"/>
                    </a:cubicBezTo>
                    <a:cubicBezTo>
                      <a:pt x="3932085" y="195311"/>
                      <a:pt x="3943188" y="206415"/>
                      <a:pt x="3943188" y="220112"/>
                    </a:cubicBezTo>
                    <a:close/>
                    <a:moveTo>
                      <a:pt x="3949038" y="371999"/>
                    </a:moveTo>
                    <a:cubicBezTo>
                      <a:pt x="3949038" y="385696"/>
                      <a:pt x="3937935" y="396800"/>
                      <a:pt x="3924237" y="396800"/>
                    </a:cubicBezTo>
                    <a:cubicBezTo>
                      <a:pt x="3910540" y="396800"/>
                      <a:pt x="3899437" y="385696"/>
                      <a:pt x="3899437" y="371999"/>
                    </a:cubicBezTo>
                    <a:cubicBezTo>
                      <a:pt x="3899437" y="358302"/>
                      <a:pt x="3910540" y="347198"/>
                      <a:pt x="3924237" y="347198"/>
                    </a:cubicBezTo>
                    <a:cubicBezTo>
                      <a:pt x="3937935" y="347198"/>
                      <a:pt x="3949038" y="358302"/>
                      <a:pt x="3949038" y="371999"/>
                    </a:cubicBezTo>
                    <a:close/>
                    <a:moveTo>
                      <a:pt x="3954879" y="523881"/>
                    </a:moveTo>
                    <a:cubicBezTo>
                      <a:pt x="3954879" y="537578"/>
                      <a:pt x="3943776" y="548682"/>
                      <a:pt x="3930078" y="548682"/>
                    </a:cubicBezTo>
                    <a:cubicBezTo>
                      <a:pt x="3916381" y="548682"/>
                      <a:pt x="3905278" y="537578"/>
                      <a:pt x="3905278" y="523881"/>
                    </a:cubicBezTo>
                    <a:cubicBezTo>
                      <a:pt x="3905278" y="510184"/>
                      <a:pt x="3916381" y="499080"/>
                      <a:pt x="3930078" y="499080"/>
                    </a:cubicBezTo>
                    <a:cubicBezTo>
                      <a:pt x="3943776" y="499080"/>
                      <a:pt x="3954879" y="510184"/>
                      <a:pt x="3954879" y="523881"/>
                    </a:cubicBezTo>
                    <a:close/>
                    <a:moveTo>
                      <a:pt x="3992793" y="296070"/>
                    </a:moveTo>
                    <a:cubicBezTo>
                      <a:pt x="3992793" y="309767"/>
                      <a:pt x="3981688" y="320871"/>
                      <a:pt x="3967991" y="320871"/>
                    </a:cubicBezTo>
                    <a:cubicBezTo>
                      <a:pt x="3954294" y="320871"/>
                      <a:pt x="3943191" y="309767"/>
                      <a:pt x="3943191" y="296070"/>
                    </a:cubicBezTo>
                    <a:cubicBezTo>
                      <a:pt x="3943191" y="282373"/>
                      <a:pt x="3954294" y="271269"/>
                      <a:pt x="3967991" y="271269"/>
                    </a:cubicBezTo>
                    <a:cubicBezTo>
                      <a:pt x="3981688" y="271269"/>
                      <a:pt x="3992793" y="282373"/>
                      <a:pt x="3992793" y="296070"/>
                    </a:cubicBezTo>
                    <a:close/>
                    <a:moveTo>
                      <a:pt x="3998638" y="447943"/>
                    </a:moveTo>
                    <a:cubicBezTo>
                      <a:pt x="3998638" y="461640"/>
                      <a:pt x="3987535" y="472744"/>
                      <a:pt x="3973837" y="472744"/>
                    </a:cubicBezTo>
                    <a:cubicBezTo>
                      <a:pt x="3960140" y="472744"/>
                      <a:pt x="3949037" y="461640"/>
                      <a:pt x="3949037" y="447943"/>
                    </a:cubicBezTo>
                    <a:cubicBezTo>
                      <a:pt x="3949037" y="434246"/>
                      <a:pt x="3960140" y="423142"/>
                      <a:pt x="3973837" y="423142"/>
                    </a:cubicBezTo>
                    <a:cubicBezTo>
                      <a:pt x="3987535" y="423142"/>
                      <a:pt x="3998638" y="434246"/>
                      <a:pt x="3998638" y="447943"/>
                    </a:cubicBezTo>
                    <a:close/>
                    <a:moveTo>
                      <a:pt x="4004480" y="599823"/>
                    </a:moveTo>
                    <a:cubicBezTo>
                      <a:pt x="4004480" y="613520"/>
                      <a:pt x="3993376" y="624624"/>
                      <a:pt x="3979679" y="624624"/>
                    </a:cubicBezTo>
                    <a:cubicBezTo>
                      <a:pt x="3965982" y="624624"/>
                      <a:pt x="3954878" y="613520"/>
                      <a:pt x="3954878" y="599823"/>
                    </a:cubicBezTo>
                    <a:cubicBezTo>
                      <a:pt x="3954878" y="586126"/>
                      <a:pt x="3965982" y="575022"/>
                      <a:pt x="3979679" y="575022"/>
                    </a:cubicBezTo>
                    <a:cubicBezTo>
                      <a:pt x="3993376" y="575022"/>
                      <a:pt x="4004480" y="586126"/>
                      <a:pt x="4004480" y="599823"/>
                    </a:cubicBezTo>
                    <a:close/>
                    <a:moveTo>
                      <a:pt x="4036548" y="220112"/>
                    </a:moveTo>
                    <a:cubicBezTo>
                      <a:pt x="4036548" y="233809"/>
                      <a:pt x="4025445" y="244913"/>
                      <a:pt x="4011747" y="244913"/>
                    </a:cubicBezTo>
                    <a:cubicBezTo>
                      <a:pt x="3998050" y="244913"/>
                      <a:pt x="3986947" y="233809"/>
                      <a:pt x="3986947" y="220112"/>
                    </a:cubicBezTo>
                    <a:cubicBezTo>
                      <a:pt x="3986947" y="206415"/>
                      <a:pt x="3998050" y="195311"/>
                      <a:pt x="4011747" y="195311"/>
                    </a:cubicBezTo>
                    <a:cubicBezTo>
                      <a:pt x="4025445" y="195311"/>
                      <a:pt x="4036548" y="206415"/>
                      <a:pt x="4036548" y="220112"/>
                    </a:cubicBezTo>
                    <a:close/>
                    <a:moveTo>
                      <a:pt x="4042397" y="371999"/>
                    </a:moveTo>
                    <a:cubicBezTo>
                      <a:pt x="4042397" y="385696"/>
                      <a:pt x="4031294" y="396800"/>
                      <a:pt x="4017596" y="396800"/>
                    </a:cubicBezTo>
                    <a:cubicBezTo>
                      <a:pt x="4003899" y="396800"/>
                      <a:pt x="3992796" y="385696"/>
                      <a:pt x="3992796" y="371999"/>
                    </a:cubicBezTo>
                    <a:cubicBezTo>
                      <a:pt x="3992796" y="358302"/>
                      <a:pt x="4003899" y="347198"/>
                      <a:pt x="4017596" y="347198"/>
                    </a:cubicBezTo>
                    <a:cubicBezTo>
                      <a:pt x="4031294" y="347198"/>
                      <a:pt x="4042397" y="358302"/>
                      <a:pt x="4042397" y="371999"/>
                    </a:cubicBezTo>
                    <a:close/>
                    <a:moveTo>
                      <a:pt x="4048240" y="523881"/>
                    </a:moveTo>
                    <a:cubicBezTo>
                      <a:pt x="4048240" y="537578"/>
                      <a:pt x="4037135" y="548682"/>
                      <a:pt x="4023438" y="548682"/>
                    </a:cubicBezTo>
                    <a:cubicBezTo>
                      <a:pt x="4009742" y="548682"/>
                      <a:pt x="3998637" y="537578"/>
                      <a:pt x="3998637" y="523881"/>
                    </a:cubicBezTo>
                    <a:cubicBezTo>
                      <a:pt x="3998637" y="510184"/>
                      <a:pt x="4009742" y="499080"/>
                      <a:pt x="4023438" y="499080"/>
                    </a:cubicBezTo>
                    <a:cubicBezTo>
                      <a:pt x="4037135" y="499080"/>
                      <a:pt x="4048240" y="510184"/>
                      <a:pt x="4048240" y="523881"/>
                    </a:cubicBezTo>
                    <a:close/>
                    <a:moveTo>
                      <a:pt x="4086152" y="296070"/>
                    </a:moveTo>
                    <a:cubicBezTo>
                      <a:pt x="4086152" y="309767"/>
                      <a:pt x="4075047" y="320871"/>
                      <a:pt x="4061350" y="320871"/>
                    </a:cubicBezTo>
                    <a:cubicBezTo>
                      <a:pt x="4047653" y="320871"/>
                      <a:pt x="4036550" y="309767"/>
                      <a:pt x="4036550" y="296070"/>
                    </a:cubicBezTo>
                    <a:cubicBezTo>
                      <a:pt x="4036550" y="282373"/>
                      <a:pt x="4047653" y="271269"/>
                      <a:pt x="4061350" y="271269"/>
                    </a:cubicBezTo>
                    <a:cubicBezTo>
                      <a:pt x="4075047" y="271269"/>
                      <a:pt x="4086152" y="282373"/>
                      <a:pt x="4086152" y="296070"/>
                    </a:cubicBezTo>
                    <a:close/>
                    <a:moveTo>
                      <a:pt x="4091999" y="447943"/>
                    </a:moveTo>
                    <a:cubicBezTo>
                      <a:pt x="4091999" y="461640"/>
                      <a:pt x="4080894" y="472744"/>
                      <a:pt x="4067197" y="472744"/>
                    </a:cubicBezTo>
                    <a:cubicBezTo>
                      <a:pt x="4053501" y="472744"/>
                      <a:pt x="4042396" y="461640"/>
                      <a:pt x="4042396" y="447943"/>
                    </a:cubicBezTo>
                    <a:cubicBezTo>
                      <a:pt x="4042396" y="434246"/>
                      <a:pt x="4053501" y="423142"/>
                      <a:pt x="4067197" y="423142"/>
                    </a:cubicBezTo>
                    <a:cubicBezTo>
                      <a:pt x="4080894" y="423142"/>
                      <a:pt x="4091999" y="434246"/>
                      <a:pt x="4091999" y="447943"/>
                    </a:cubicBezTo>
                    <a:close/>
                    <a:moveTo>
                      <a:pt x="4129907" y="220112"/>
                    </a:moveTo>
                    <a:cubicBezTo>
                      <a:pt x="4129907" y="233809"/>
                      <a:pt x="4118804" y="244913"/>
                      <a:pt x="4105106" y="244913"/>
                    </a:cubicBezTo>
                    <a:cubicBezTo>
                      <a:pt x="4091409" y="244913"/>
                      <a:pt x="4080306" y="233809"/>
                      <a:pt x="4080306" y="220112"/>
                    </a:cubicBezTo>
                    <a:cubicBezTo>
                      <a:pt x="4080306" y="206415"/>
                      <a:pt x="4091409" y="195311"/>
                      <a:pt x="4105106" y="195311"/>
                    </a:cubicBezTo>
                    <a:cubicBezTo>
                      <a:pt x="4118804" y="195311"/>
                      <a:pt x="4129907" y="206415"/>
                      <a:pt x="4129907" y="220112"/>
                    </a:cubicBezTo>
                    <a:close/>
                    <a:moveTo>
                      <a:pt x="4135758" y="371999"/>
                    </a:moveTo>
                    <a:cubicBezTo>
                      <a:pt x="4135758" y="385696"/>
                      <a:pt x="4124653" y="396800"/>
                      <a:pt x="4110956" y="396800"/>
                    </a:cubicBezTo>
                    <a:cubicBezTo>
                      <a:pt x="4097260" y="396800"/>
                      <a:pt x="4086155" y="385696"/>
                      <a:pt x="4086155" y="371999"/>
                    </a:cubicBezTo>
                    <a:cubicBezTo>
                      <a:pt x="4086155" y="358302"/>
                      <a:pt x="4097260" y="347198"/>
                      <a:pt x="4110956" y="347198"/>
                    </a:cubicBezTo>
                    <a:cubicBezTo>
                      <a:pt x="4124653" y="347198"/>
                      <a:pt x="4135758" y="358302"/>
                      <a:pt x="4135758" y="371999"/>
                    </a:cubicBezTo>
                    <a:close/>
                    <a:moveTo>
                      <a:pt x="4179512" y="296070"/>
                    </a:moveTo>
                    <a:cubicBezTo>
                      <a:pt x="4179512" y="309767"/>
                      <a:pt x="4168407" y="320871"/>
                      <a:pt x="4154710" y="320871"/>
                    </a:cubicBezTo>
                    <a:cubicBezTo>
                      <a:pt x="4141014" y="320871"/>
                      <a:pt x="4129909" y="309767"/>
                      <a:pt x="4129909" y="296070"/>
                    </a:cubicBezTo>
                    <a:cubicBezTo>
                      <a:pt x="4129909" y="282373"/>
                      <a:pt x="4141014" y="271269"/>
                      <a:pt x="4154710" y="271269"/>
                    </a:cubicBezTo>
                    <a:cubicBezTo>
                      <a:pt x="4168407" y="271269"/>
                      <a:pt x="4179512" y="282373"/>
                      <a:pt x="4179512" y="296070"/>
                    </a:cubicBezTo>
                    <a:close/>
                    <a:moveTo>
                      <a:pt x="4223268" y="220112"/>
                    </a:moveTo>
                    <a:cubicBezTo>
                      <a:pt x="4223268" y="233809"/>
                      <a:pt x="4212163" y="244913"/>
                      <a:pt x="4198466" y="244913"/>
                    </a:cubicBezTo>
                    <a:cubicBezTo>
                      <a:pt x="4184770" y="244913"/>
                      <a:pt x="4173665" y="233809"/>
                      <a:pt x="4173665" y="220112"/>
                    </a:cubicBezTo>
                    <a:cubicBezTo>
                      <a:pt x="4173665" y="206415"/>
                      <a:pt x="4184770" y="195311"/>
                      <a:pt x="4198466" y="195311"/>
                    </a:cubicBezTo>
                    <a:cubicBezTo>
                      <a:pt x="4212163" y="195311"/>
                      <a:pt x="4223268" y="206415"/>
                      <a:pt x="4223268" y="220112"/>
                    </a:cubicBezTo>
                    <a:close/>
                    <a:moveTo>
                      <a:pt x="4671470" y="0"/>
                    </a:moveTo>
                    <a:lnTo>
                      <a:pt x="1143544" y="0"/>
                    </a:lnTo>
                    <a:lnTo>
                      <a:pt x="0" y="1750063"/>
                    </a:lnTo>
                    <a:lnTo>
                      <a:pt x="3527926" y="175006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grpSp>
        <p:grpSp>
          <p:nvGrpSpPr>
            <p:cNvPr id="7" name="组合 6"/>
            <p:cNvGrpSpPr/>
            <p:nvPr/>
          </p:nvGrpSpPr>
          <p:grpSpPr>
            <a:xfrm>
              <a:off x="7237699" y="2708920"/>
              <a:ext cx="3146541" cy="1556290"/>
              <a:chOff x="6611093" y="2208239"/>
              <a:chExt cx="4032448" cy="1908212"/>
            </a:xfrm>
          </p:grpSpPr>
          <p:grpSp>
            <p:nvGrpSpPr>
              <p:cNvPr id="4" name="组合 3"/>
              <p:cNvGrpSpPr/>
              <p:nvPr/>
            </p:nvGrpSpPr>
            <p:grpSpPr>
              <a:xfrm>
                <a:off x="7320136" y="2514415"/>
                <a:ext cx="2603372" cy="1238621"/>
                <a:chOff x="7006610" y="2623973"/>
                <a:chExt cx="2603372" cy="1238621"/>
              </a:xfrm>
            </p:grpSpPr>
            <p:sp>
              <p:nvSpPr>
                <p:cNvPr id="57" name="文本框 56"/>
                <p:cNvSpPr txBox="1"/>
                <p:nvPr/>
              </p:nvSpPr>
              <p:spPr bwMode="auto">
                <a:xfrm>
                  <a:off x="8011303" y="3082972"/>
                  <a:ext cx="604979" cy="22642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zh-CN" altLang="en-US" sz="1200" b="1" dirty="0">
                      <a:solidFill>
                        <a:srgbClr val="C00000"/>
                      </a:solidFill>
                      <a:cs typeface="+mn-ea"/>
                      <a:sym typeface="+mn-lt"/>
                    </a:rPr>
                    <a:t>计算机</a:t>
                  </a:r>
                  <a:endParaRPr kumimoji="1" lang="zh-CN" altLang="en-US" sz="1400" b="1" dirty="0">
                    <a:solidFill>
                      <a:srgbClr val="C00000"/>
                    </a:solidFill>
                    <a:cs typeface="+mn-ea"/>
                    <a:sym typeface="+mn-lt"/>
                  </a:endParaRPr>
                </a:p>
              </p:txBody>
            </p:sp>
            <p:sp>
              <p:nvSpPr>
                <p:cNvPr id="61" name="文本框 60"/>
                <p:cNvSpPr txBox="1"/>
                <p:nvPr/>
              </p:nvSpPr>
              <p:spPr bwMode="auto">
                <a:xfrm>
                  <a:off x="7651262" y="2761427"/>
                  <a:ext cx="468051" cy="226424"/>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200" dirty="0" smtClean="0">
                      <a:solidFill>
                        <a:srgbClr val="C00000"/>
                      </a:solidFill>
                      <a:cs typeface="+mn-ea"/>
                      <a:sym typeface="+mn-lt"/>
                    </a:rPr>
                    <a:t>1080</a:t>
                  </a:r>
                  <a:endParaRPr kumimoji="1" lang="zh-CN" altLang="en-US" sz="1400" dirty="0">
                    <a:solidFill>
                      <a:srgbClr val="C00000"/>
                    </a:solidFill>
                    <a:cs typeface="+mn-ea"/>
                    <a:sym typeface="+mn-lt"/>
                  </a:endParaRPr>
                </a:p>
              </p:txBody>
            </p:sp>
            <p:sp>
              <p:nvSpPr>
                <p:cNvPr id="66" name="文本框 65"/>
                <p:cNvSpPr txBox="1"/>
                <p:nvPr/>
              </p:nvSpPr>
              <p:spPr bwMode="auto">
                <a:xfrm>
                  <a:off x="8497444" y="2763759"/>
                  <a:ext cx="504057" cy="264162"/>
                </a:xfrm>
                <a:prstGeom prst="rect">
                  <a:avLst/>
                </a:prstGeom>
                <a:noFill/>
                <a:ln w="9525" algn="ctr">
                  <a:noFill/>
                  <a:miter lim="800000"/>
                </a:ln>
              </p:spPr>
              <p:txBody>
                <a:bodyPr vert="horz" wrap="square" lIns="0" tIns="0" rIns="0" bIns="0" numCol="1" rtlCol="0" anchor="ctr" anchorCtr="0" compatLnSpc="1">
                  <a:spAutoFit/>
                </a:bodyPr>
                <a:lstStyle/>
                <a:p>
                  <a:pPr algn="ctr"/>
                  <a:r>
                    <a:rPr kumimoji="1" lang="en-US" altLang="zh-CN" sz="1400" b="1" dirty="0" smtClean="0">
                      <a:solidFill>
                        <a:srgbClr val="C00000"/>
                      </a:solidFill>
                      <a:cs typeface="+mn-ea"/>
                      <a:sym typeface="+mn-lt"/>
                    </a:rPr>
                    <a:t>ABC</a:t>
                  </a:r>
                  <a:endParaRPr kumimoji="1" lang="en-US" altLang="zh-CN" sz="1400" b="1" dirty="0" smtClean="0">
                    <a:solidFill>
                      <a:srgbClr val="C00000"/>
                    </a:solidFill>
                    <a:cs typeface="+mn-ea"/>
                    <a:sym typeface="+mn-lt"/>
                  </a:endParaRPr>
                </a:p>
              </p:txBody>
            </p:sp>
            <p:grpSp>
              <p:nvGrpSpPr>
                <p:cNvPr id="70" name="Book4"/>
                <p:cNvGrpSpPr>
                  <a:grpSpLocks noChangeAspect="1"/>
                </p:cNvGrpSpPr>
                <p:nvPr>
                  <p:custDataLst>
                    <p:tags r:id="rId48"/>
                  </p:custDataLst>
                </p:nvPr>
              </p:nvGrpSpPr>
              <p:grpSpPr>
                <a:xfrm>
                  <a:off x="7006610" y="2752774"/>
                  <a:ext cx="354203" cy="405428"/>
                  <a:chOff x="6627813" y="4986338"/>
                  <a:chExt cx="1284288" cy="1470025"/>
                </a:xfrm>
                <a:solidFill>
                  <a:srgbClr val="990000"/>
                </a:solidFill>
              </p:grpSpPr>
              <p:sp>
                <p:nvSpPr>
                  <p:cNvPr id="71" name="Freeform 138"/>
                  <p:cNvSpPr/>
                  <p:nvPr/>
                </p:nvSpPr>
                <p:spPr bwMode="auto">
                  <a:xfrm>
                    <a:off x="6627813" y="4986338"/>
                    <a:ext cx="1284288" cy="1470025"/>
                  </a:xfrm>
                  <a:custGeom>
                    <a:avLst/>
                    <a:gdLst>
                      <a:gd name="T0" fmla="*/ 162 w 175"/>
                      <a:gd name="T1" fmla="*/ 25 h 200"/>
                      <a:gd name="T2" fmla="*/ 162 w 175"/>
                      <a:gd name="T3" fmla="*/ 188 h 200"/>
                      <a:gd name="T4" fmla="*/ 31 w 175"/>
                      <a:gd name="T5" fmla="*/ 188 h 200"/>
                      <a:gd name="T6" fmla="*/ 12 w 175"/>
                      <a:gd name="T7" fmla="*/ 169 h 200"/>
                      <a:gd name="T8" fmla="*/ 31 w 175"/>
                      <a:gd name="T9" fmla="*/ 150 h 200"/>
                      <a:gd name="T10" fmla="*/ 150 w 175"/>
                      <a:gd name="T11" fmla="*/ 150 h 200"/>
                      <a:gd name="T12" fmla="*/ 150 w 175"/>
                      <a:gd name="T13" fmla="*/ 0 h 200"/>
                      <a:gd name="T14" fmla="*/ 25 w 175"/>
                      <a:gd name="T15" fmla="*/ 0 h 200"/>
                      <a:gd name="T16" fmla="*/ 0 w 175"/>
                      <a:gd name="T17" fmla="*/ 25 h 200"/>
                      <a:gd name="T18" fmla="*/ 0 w 175"/>
                      <a:gd name="T19" fmla="*/ 175 h 200"/>
                      <a:gd name="T20" fmla="*/ 25 w 175"/>
                      <a:gd name="T21" fmla="*/ 200 h 200"/>
                      <a:gd name="T22" fmla="*/ 175 w 175"/>
                      <a:gd name="T23" fmla="*/ 200 h 200"/>
                      <a:gd name="T24" fmla="*/ 175 w 175"/>
                      <a:gd name="T25" fmla="*/ 25 h 200"/>
                      <a:gd name="T26" fmla="*/ 162 w 175"/>
                      <a:gd name="T27" fmla="*/ 2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200">
                        <a:moveTo>
                          <a:pt x="162" y="25"/>
                        </a:moveTo>
                        <a:lnTo>
                          <a:pt x="162" y="188"/>
                        </a:lnTo>
                        <a:lnTo>
                          <a:pt x="31" y="188"/>
                        </a:lnTo>
                        <a:cubicBezTo>
                          <a:pt x="20" y="188"/>
                          <a:pt x="12" y="179"/>
                          <a:pt x="12" y="169"/>
                        </a:cubicBezTo>
                        <a:cubicBezTo>
                          <a:pt x="12" y="158"/>
                          <a:pt x="20" y="150"/>
                          <a:pt x="31" y="150"/>
                        </a:cubicBezTo>
                        <a:lnTo>
                          <a:pt x="150" y="150"/>
                        </a:lnTo>
                        <a:lnTo>
                          <a:pt x="150" y="0"/>
                        </a:lnTo>
                        <a:lnTo>
                          <a:pt x="25" y="0"/>
                        </a:lnTo>
                        <a:cubicBezTo>
                          <a:pt x="11" y="0"/>
                          <a:pt x="0" y="11"/>
                          <a:pt x="0" y="25"/>
                        </a:cubicBezTo>
                        <a:lnTo>
                          <a:pt x="0" y="175"/>
                        </a:lnTo>
                        <a:cubicBezTo>
                          <a:pt x="0" y="189"/>
                          <a:pt x="11" y="200"/>
                          <a:pt x="25" y="200"/>
                        </a:cubicBezTo>
                        <a:lnTo>
                          <a:pt x="175" y="200"/>
                        </a:lnTo>
                        <a:lnTo>
                          <a:pt x="175" y="25"/>
                        </a:lnTo>
                        <a:lnTo>
                          <a:pt x="162" y="25"/>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sp>
                <p:nvSpPr>
                  <p:cNvPr id="72" name="Freeform 139"/>
                  <p:cNvSpPr/>
                  <p:nvPr/>
                </p:nvSpPr>
                <p:spPr bwMode="auto">
                  <a:xfrm>
                    <a:off x="6811963" y="6184901"/>
                    <a:ext cx="909638" cy="88900"/>
                  </a:xfrm>
                  <a:custGeom>
                    <a:avLst/>
                    <a:gdLst>
                      <a:gd name="T0" fmla="*/ 6 w 124"/>
                      <a:gd name="T1" fmla="*/ 0 h 12"/>
                      <a:gd name="T2" fmla="*/ 6 w 124"/>
                      <a:gd name="T3" fmla="*/ 0 h 12"/>
                      <a:gd name="T4" fmla="*/ 6 w 124"/>
                      <a:gd name="T5" fmla="*/ 0 h 12"/>
                      <a:gd name="T6" fmla="*/ 0 w 124"/>
                      <a:gd name="T7" fmla="*/ 6 h 12"/>
                      <a:gd name="T8" fmla="*/ 6 w 124"/>
                      <a:gd name="T9" fmla="*/ 12 h 12"/>
                      <a:gd name="T10" fmla="*/ 6 w 124"/>
                      <a:gd name="T11" fmla="*/ 12 h 12"/>
                      <a:gd name="T12" fmla="*/ 6 w 124"/>
                      <a:gd name="T13" fmla="*/ 12 h 12"/>
                      <a:gd name="T14" fmla="*/ 124 w 124"/>
                      <a:gd name="T15" fmla="*/ 12 h 12"/>
                      <a:gd name="T16" fmla="*/ 124 w 124"/>
                      <a:gd name="T17" fmla="*/ 0 h 12"/>
                      <a:gd name="T18" fmla="*/ 6 w 12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
                        <a:moveTo>
                          <a:pt x="6" y="0"/>
                        </a:moveTo>
                        <a:lnTo>
                          <a:pt x="6" y="0"/>
                        </a:lnTo>
                        <a:lnTo>
                          <a:pt x="6" y="0"/>
                        </a:lnTo>
                        <a:cubicBezTo>
                          <a:pt x="2" y="0"/>
                          <a:pt x="0" y="2"/>
                          <a:pt x="0" y="6"/>
                        </a:cubicBezTo>
                        <a:cubicBezTo>
                          <a:pt x="0" y="9"/>
                          <a:pt x="2" y="12"/>
                          <a:pt x="6" y="12"/>
                        </a:cubicBezTo>
                        <a:lnTo>
                          <a:pt x="6" y="12"/>
                        </a:lnTo>
                        <a:lnTo>
                          <a:pt x="6" y="12"/>
                        </a:lnTo>
                        <a:lnTo>
                          <a:pt x="124" y="12"/>
                        </a:lnTo>
                        <a:lnTo>
                          <a:pt x="124" y="0"/>
                        </a:lnTo>
                        <a:lnTo>
                          <a:pt x="6"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grpSp>
            <p:sp>
              <p:nvSpPr>
                <p:cNvPr id="74" name="Music2"/>
                <p:cNvSpPr>
                  <a:spLocks noChangeAspect="1"/>
                </p:cNvSpPr>
                <p:nvPr>
                  <p:custDataLst>
                    <p:tags r:id="rId49"/>
                  </p:custDataLst>
                </p:nvPr>
              </p:nvSpPr>
              <p:spPr bwMode="auto">
                <a:xfrm>
                  <a:off x="8497444" y="3424468"/>
                  <a:ext cx="356836" cy="381207"/>
                </a:xfrm>
                <a:custGeom>
                  <a:avLst/>
                  <a:gdLst>
                    <a:gd name="T0" fmla="*/ 510 w 546"/>
                    <a:gd name="T1" fmla="*/ 6 h 582"/>
                    <a:gd name="T2" fmla="*/ 190 w 546"/>
                    <a:gd name="T3" fmla="*/ 66 h 582"/>
                    <a:gd name="T4" fmla="*/ 163 w 546"/>
                    <a:gd name="T5" fmla="*/ 112 h 582"/>
                    <a:gd name="T6" fmla="*/ 163 w 546"/>
                    <a:gd name="T7" fmla="*/ 329 h 582"/>
                    <a:gd name="T8" fmla="*/ 104 w 546"/>
                    <a:gd name="T9" fmla="*/ 404 h 582"/>
                    <a:gd name="T10" fmla="*/ 101 w 546"/>
                    <a:gd name="T11" fmla="*/ 404 h 582"/>
                    <a:gd name="T12" fmla="*/ 99 w 546"/>
                    <a:gd name="T13" fmla="*/ 405 h 582"/>
                    <a:gd name="T14" fmla="*/ 99 w 546"/>
                    <a:gd name="T15" fmla="*/ 405 h 582"/>
                    <a:gd name="T16" fmla="*/ 53 w 546"/>
                    <a:gd name="T17" fmla="*/ 425 h 582"/>
                    <a:gd name="T18" fmla="*/ 27 w 546"/>
                    <a:gd name="T19" fmla="*/ 545 h 582"/>
                    <a:gd name="T20" fmla="*/ 150 w 546"/>
                    <a:gd name="T21" fmla="*/ 550 h 582"/>
                    <a:gd name="T22" fmla="*/ 196 w 546"/>
                    <a:gd name="T23" fmla="*/ 431 h 582"/>
                    <a:gd name="T24" fmla="*/ 196 w 546"/>
                    <a:gd name="T25" fmla="*/ 208 h 582"/>
                    <a:gd name="T26" fmla="*/ 513 w 546"/>
                    <a:gd name="T27" fmla="*/ 148 h 582"/>
                    <a:gd name="T28" fmla="*/ 513 w 546"/>
                    <a:gd name="T29" fmla="*/ 288 h 582"/>
                    <a:gd name="T30" fmla="*/ 459 w 546"/>
                    <a:gd name="T31" fmla="*/ 351 h 582"/>
                    <a:gd name="T32" fmla="*/ 456 w 546"/>
                    <a:gd name="T33" fmla="*/ 352 h 582"/>
                    <a:gd name="T34" fmla="*/ 454 w 546"/>
                    <a:gd name="T35" fmla="*/ 352 h 582"/>
                    <a:gd name="T36" fmla="*/ 454 w 546"/>
                    <a:gd name="T37" fmla="*/ 352 h 582"/>
                    <a:gd name="T38" fmla="*/ 408 w 546"/>
                    <a:gd name="T39" fmla="*/ 373 h 582"/>
                    <a:gd name="T40" fmla="*/ 382 w 546"/>
                    <a:gd name="T41" fmla="*/ 493 h 582"/>
                    <a:gd name="T42" fmla="*/ 505 w 546"/>
                    <a:gd name="T43" fmla="*/ 498 h 582"/>
                    <a:gd name="T44" fmla="*/ 546 w 546"/>
                    <a:gd name="T45" fmla="*/ 402 h 582"/>
                    <a:gd name="T46" fmla="*/ 546 w 546"/>
                    <a:gd name="T47" fmla="*/ 30 h 582"/>
                    <a:gd name="T48" fmla="*/ 510 w 546"/>
                    <a:gd name="T49" fmla="*/ 6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6" h="582">
                      <a:moveTo>
                        <a:pt x="510" y="6"/>
                      </a:moveTo>
                      <a:lnTo>
                        <a:pt x="190" y="66"/>
                      </a:lnTo>
                      <a:cubicBezTo>
                        <a:pt x="171" y="72"/>
                        <a:pt x="163" y="93"/>
                        <a:pt x="163" y="112"/>
                      </a:cubicBezTo>
                      <a:lnTo>
                        <a:pt x="163" y="329"/>
                      </a:lnTo>
                      <a:cubicBezTo>
                        <a:pt x="163" y="379"/>
                        <a:pt x="117" y="401"/>
                        <a:pt x="104" y="404"/>
                      </a:cubicBezTo>
                      <a:cubicBezTo>
                        <a:pt x="103" y="404"/>
                        <a:pt x="102" y="404"/>
                        <a:pt x="101" y="404"/>
                      </a:cubicBezTo>
                      <a:cubicBezTo>
                        <a:pt x="100" y="405"/>
                        <a:pt x="99" y="405"/>
                        <a:pt x="99" y="405"/>
                      </a:cubicBezTo>
                      <a:lnTo>
                        <a:pt x="99" y="405"/>
                      </a:lnTo>
                      <a:cubicBezTo>
                        <a:pt x="83" y="408"/>
                        <a:pt x="67" y="414"/>
                        <a:pt x="53" y="425"/>
                      </a:cubicBezTo>
                      <a:cubicBezTo>
                        <a:pt x="12" y="457"/>
                        <a:pt x="0" y="511"/>
                        <a:pt x="27" y="545"/>
                      </a:cubicBezTo>
                      <a:cubicBezTo>
                        <a:pt x="53" y="580"/>
                        <a:pt x="108" y="582"/>
                        <a:pt x="150" y="550"/>
                      </a:cubicBezTo>
                      <a:cubicBezTo>
                        <a:pt x="166" y="537"/>
                        <a:pt x="196" y="502"/>
                        <a:pt x="196" y="431"/>
                      </a:cubicBezTo>
                      <a:lnTo>
                        <a:pt x="196" y="208"/>
                      </a:lnTo>
                      <a:lnTo>
                        <a:pt x="513" y="148"/>
                      </a:lnTo>
                      <a:lnTo>
                        <a:pt x="513" y="288"/>
                      </a:lnTo>
                      <a:cubicBezTo>
                        <a:pt x="513" y="338"/>
                        <a:pt x="473" y="349"/>
                        <a:pt x="459" y="351"/>
                      </a:cubicBezTo>
                      <a:cubicBezTo>
                        <a:pt x="458" y="352"/>
                        <a:pt x="457" y="352"/>
                        <a:pt x="456" y="352"/>
                      </a:cubicBezTo>
                      <a:cubicBezTo>
                        <a:pt x="455" y="352"/>
                        <a:pt x="454" y="352"/>
                        <a:pt x="454" y="352"/>
                      </a:cubicBezTo>
                      <a:lnTo>
                        <a:pt x="454" y="352"/>
                      </a:lnTo>
                      <a:cubicBezTo>
                        <a:pt x="439" y="355"/>
                        <a:pt x="423" y="362"/>
                        <a:pt x="408" y="373"/>
                      </a:cubicBezTo>
                      <a:cubicBezTo>
                        <a:pt x="367" y="405"/>
                        <a:pt x="355" y="458"/>
                        <a:pt x="382" y="493"/>
                      </a:cubicBezTo>
                      <a:cubicBezTo>
                        <a:pt x="408" y="527"/>
                        <a:pt x="463" y="530"/>
                        <a:pt x="505" y="498"/>
                      </a:cubicBezTo>
                      <a:cubicBezTo>
                        <a:pt x="525" y="482"/>
                        <a:pt x="546" y="451"/>
                        <a:pt x="546" y="402"/>
                      </a:cubicBezTo>
                      <a:lnTo>
                        <a:pt x="546" y="30"/>
                      </a:lnTo>
                      <a:cubicBezTo>
                        <a:pt x="546" y="11"/>
                        <a:pt x="530" y="0"/>
                        <a:pt x="510" y="6"/>
                      </a:cubicBezTo>
                      <a:close/>
                    </a:path>
                  </a:pathLst>
                </a:custGeom>
                <a:solidFill>
                  <a:srgbClr val="990000"/>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sp>
              <p:nvSpPr>
                <p:cNvPr id="76" name="Movie2"/>
                <p:cNvSpPr>
                  <a:spLocks noChangeAspect="1" noEditPoints="1"/>
                </p:cNvSpPr>
                <p:nvPr>
                  <p:custDataLst>
                    <p:tags r:id="rId50"/>
                  </p:custDataLst>
                </p:nvPr>
              </p:nvSpPr>
              <p:spPr bwMode="auto">
                <a:xfrm>
                  <a:off x="9120336" y="2623973"/>
                  <a:ext cx="489646" cy="442633"/>
                </a:xfrm>
                <a:custGeom>
                  <a:avLst/>
                  <a:gdLst>
                    <a:gd name="T0" fmla="*/ 0 w 200"/>
                    <a:gd name="T1" fmla="*/ 0 h 150"/>
                    <a:gd name="T2" fmla="*/ 0 w 200"/>
                    <a:gd name="T3" fmla="*/ 150 h 150"/>
                    <a:gd name="T4" fmla="*/ 200 w 200"/>
                    <a:gd name="T5" fmla="*/ 150 h 150"/>
                    <a:gd name="T6" fmla="*/ 200 w 200"/>
                    <a:gd name="T7" fmla="*/ 0 h 150"/>
                    <a:gd name="T8" fmla="*/ 0 w 200"/>
                    <a:gd name="T9" fmla="*/ 0 h 150"/>
                    <a:gd name="T10" fmla="*/ 38 w 200"/>
                    <a:gd name="T11" fmla="*/ 138 h 150"/>
                    <a:gd name="T12" fmla="*/ 13 w 200"/>
                    <a:gd name="T13" fmla="*/ 138 h 150"/>
                    <a:gd name="T14" fmla="*/ 13 w 200"/>
                    <a:gd name="T15" fmla="*/ 113 h 150"/>
                    <a:gd name="T16" fmla="*/ 38 w 200"/>
                    <a:gd name="T17" fmla="*/ 113 h 150"/>
                    <a:gd name="T18" fmla="*/ 38 w 200"/>
                    <a:gd name="T19" fmla="*/ 138 h 150"/>
                    <a:gd name="T20" fmla="*/ 38 w 200"/>
                    <a:gd name="T21" fmla="*/ 88 h 150"/>
                    <a:gd name="T22" fmla="*/ 13 w 200"/>
                    <a:gd name="T23" fmla="*/ 88 h 150"/>
                    <a:gd name="T24" fmla="*/ 13 w 200"/>
                    <a:gd name="T25" fmla="*/ 63 h 150"/>
                    <a:gd name="T26" fmla="*/ 38 w 200"/>
                    <a:gd name="T27" fmla="*/ 63 h 150"/>
                    <a:gd name="T28" fmla="*/ 38 w 200"/>
                    <a:gd name="T29" fmla="*/ 88 h 150"/>
                    <a:gd name="T30" fmla="*/ 38 w 200"/>
                    <a:gd name="T31" fmla="*/ 38 h 150"/>
                    <a:gd name="T32" fmla="*/ 13 w 200"/>
                    <a:gd name="T33" fmla="*/ 38 h 150"/>
                    <a:gd name="T34" fmla="*/ 13 w 200"/>
                    <a:gd name="T35" fmla="*/ 13 h 150"/>
                    <a:gd name="T36" fmla="*/ 38 w 200"/>
                    <a:gd name="T37" fmla="*/ 13 h 150"/>
                    <a:gd name="T38" fmla="*/ 38 w 200"/>
                    <a:gd name="T39" fmla="*/ 38 h 150"/>
                    <a:gd name="T40" fmla="*/ 150 w 200"/>
                    <a:gd name="T41" fmla="*/ 138 h 150"/>
                    <a:gd name="T42" fmla="*/ 50 w 200"/>
                    <a:gd name="T43" fmla="*/ 138 h 150"/>
                    <a:gd name="T44" fmla="*/ 50 w 200"/>
                    <a:gd name="T45" fmla="*/ 13 h 150"/>
                    <a:gd name="T46" fmla="*/ 150 w 200"/>
                    <a:gd name="T47" fmla="*/ 13 h 150"/>
                    <a:gd name="T48" fmla="*/ 150 w 200"/>
                    <a:gd name="T49" fmla="*/ 138 h 150"/>
                    <a:gd name="T50" fmla="*/ 188 w 200"/>
                    <a:gd name="T51" fmla="*/ 138 h 150"/>
                    <a:gd name="T52" fmla="*/ 163 w 200"/>
                    <a:gd name="T53" fmla="*/ 138 h 150"/>
                    <a:gd name="T54" fmla="*/ 163 w 200"/>
                    <a:gd name="T55" fmla="*/ 113 h 150"/>
                    <a:gd name="T56" fmla="*/ 188 w 200"/>
                    <a:gd name="T57" fmla="*/ 113 h 150"/>
                    <a:gd name="T58" fmla="*/ 188 w 200"/>
                    <a:gd name="T59" fmla="*/ 138 h 150"/>
                    <a:gd name="T60" fmla="*/ 188 w 200"/>
                    <a:gd name="T61" fmla="*/ 88 h 150"/>
                    <a:gd name="T62" fmla="*/ 163 w 200"/>
                    <a:gd name="T63" fmla="*/ 88 h 150"/>
                    <a:gd name="T64" fmla="*/ 163 w 200"/>
                    <a:gd name="T65" fmla="*/ 63 h 150"/>
                    <a:gd name="T66" fmla="*/ 188 w 200"/>
                    <a:gd name="T67" fmla="*/ 63 h 150"/>
                    <a:gd name="T68" fmla="*/ 188 w 200"/>
                    <a:gd name="T69" fmla="*/ 88 h 150"/>
                    <a:gd name="T70" fmla="*/ 188 w 200"/>
                    <a:gd name="T71" fmla="*/ 38 h 150"/>
                    <a:gd name="T72" fmla="*/ 163 w 200"/>
                    <a:gd name="T73" fmla="*/ 38 h 150"/>
                    <a:gd name="T74" fmla="*/ 163 w 200"/>
                    <a:gd name="T75" fmla="*/ 13 h 150"/>
                    <a:gd name="T76" fmla="*/ 188 w 200"/>
                    <a:gd name="T77" fmla="*/ 13 h 150"/>
                    <a:gd name="T78" fmla="*/ 188 w 200"/>
                    <a:gd name="T79" fmla="*/ 38 h 150"/>
                    <a:gd name="T80" fmla="*/ 75 w 200"/>
                    <a:gd name="T81" fmla="*/ 38 h 150"/>
                    <a:gd name="T82" fmla="*/ 75 w 200"/>
                    <a:gd name="T83" fmla="*/ 113 h 150"/>
                    <a:gd name="T84" fmla="*/ 125 w 200"/>
                    <a:gd name="T85" fmla="*/ 75 h 150"/>
                    <a:gd name="T86" fmla="*/ 75 w 200"/>
                    <a:gd name="T87" fmla="*/ 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150">
                      <a:moveTo>
                        <a:pt x="0" y="0"/>
                      </a:moveTo>
                      <a:lnTo>
                        <a:pt x="0" y="150"/>
                      </a:lnTo>
                      <a:lnTo>
                        <a:pt x="200" y="150"/>
                      </a:lnTo>
                      <a:lnTo>
                        <a:pt x="200" y="0"/>
                      </a:lnTo>
                      <a:lnTo>
                        <a:pt x="0" y="0"/>
                      </a:lnTo>
                      <a:close/>
                      <a:moveTo>
                        <a:pt x="38" y="138"/>
                      </a:moveTo>
                      <a:lnTo>
                        <a:pt x="13" y="138"/>
                      </a:lnTo>
                      <a:lnTo>
                        <a:pt x="13" y="113"/>
                      </a:lnTo>
                      <a:lnTo>
                        <a:pt x="38" y="113"/>
                      </a:lnTo>
                      <a:lnTo>
                        <a:pt x="38" y="138"/>
                      </a:lnTo>
                      <a:close/>
                      <a:moveTo>
                        <a:pt x="38" y="88"/>
                      </a:moveTo>
                      <a:lnTo>
                        <a:pt x="13" y="88"/>
                      </a:lnTo>
                      <a:lnTo>
                        <a:pt x="13" y="63"/>
                      </a:lnTo>
                      <a:lnTo>
                        <a:pt x="38" y="63"/>
                      </a:lnTo>
                      <a:lnTo>
                        <a:pt x="38" y="88"/>
                      </a:lnTo>
                      <a:close/>
                      <a:moveTo>
                        <a:pt x="38" y="38"/>
                      </a:moveTo>
                      <a:lnTo>
                        <a:pt x="13" y="38"/>
                      </a:lnTo>
                      <a:lnTo>
                        <a:pt x="13" y="13"/>
                      </a:lnTo>
                      <a:lnTo>
                        <a:pt x="38" y="13"/>
                      </a:lnTo>
                      <a:lnTo>
                        <a:pt x="38" y="38"/>
                      </a:lnTo>
                      <a:close/>
                      <a:moveTo>
                        <a:pt x="150" y="138"/>
                      </a:moveTo>
                      <a:lnTo>
                        <a:pt x="50" y="138"/>
                      </a:lnTo>
                      <a:lnTo>
                        <a:pt x="50" y="13"/>
                      </a:lnTo>
                      <a:lnTo>
                        <a:pt x="150" y="13"/>
                      </a:lnTo>
                      <a:lnTo>
                        <a:pt x="150" y="138"/>
                      </a:lnTo>
                      <a:close/>
                      <a:moveTo>
                        <a:pt x="188" y="138"/>
                      </a:moveTo>
                      <a:lnTo>
                        <a:pt x="163" y="138"/>
                      </a:lnTo>
                      <a:lnTo>
                        <a:pt x="163" y="113"/>
                      </a:lnTo>
                      <a:lnTo>
                        <a:pt x="188" y="113"/>
                      </a:lnTo>
                      <a:lnTo>
                        <a:pt x="188" y="138"/>
                      </a:lnTo>
                      <a:close/>
                      <a:moveTo>
                        <a:pt x="188" y="88"/>
                      </a:moveTo>
                      <a:lnTo>
                        <a:pt x="163" y="88"/>
                      </a:lnTo>
                      <a:lnTo>
                        <a:pt x="163" y="63"/>
                      </a:lnTo>
                      <a:lnTo>
                        <a:pt x="188" y="63"/>
                      </a:lnTo>
                      <a:lnTo>
                        <a:pt x="188" y="88"/>
                      </a:lnTo>
                      <a:close/>
                      <a:moveTo>
                        <a:pt x="188" y="38"/>
                      </a:moveTo>
                      <a:lnTo>
                        <a:pt x="163" y="38"/>
                      </a:lnTo>
                      <a:lnTo>
                        <a:pt x="163" y="13"/>
                      </a:lnTo>
                      <a:lnTo>
                        <a:pt x="188" y="13"/>
                      </a:lnTo>
                      <a:lnTo>
                        <a:pt x="188" y="38"/>
                      </a:lnTo>
                      <a:close/>
                      <a:moveTo>
                        <a:pt x="75" y="38"/>
                      </a:moveTo>
                      <a:lnTo>
                        <a:pt x="75" y="113"/>
                      </a:lnTo>
                      <a:lnTo>
                        <a:pt x="125" y="75"/>
                      </a:lnTo>
                      <a:lnTo>
                        <a:pt x="75" y="38"/>
                      </a:lnTo>
                      <a:close/>
                    </a:path>
                  </a:pathLst>
                </a:custGeom>
                <a:solidFill>
                  <a:srgbClr val="990000"/>
                </a:solid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grpSp>
              <p:nvGrpSpPr>
                <p:cNvPr id="77" name="Picture2"/>
                <p:cNvGrpSpPr>
                  <a:grpSpLocks noChangeAspect="1"/>
                </p:cNvGrpSpPr>
                <p:nvPr>
                  <p:custDataLst>
                    <p:tags r:id="rId51"/>
                  </p:custDataLst>
                </p:nvPr>
              </p:nvGrpSpPr>
              <p:grpSpPr>
                <a:xfrm>
                  <a:off x="7440473" y="3464652"/>
                  <a:ext cx="453879" cy="397942"/>
                  <a:chOff x="2044700" y="4244975"/>
                  <a:chExt cx="1468438" cy="1287463"/>
                </a:xfrm>
                <a:solidFill>
                  <a:srgbClr val="990000"/>
                </a:solidFill>
              </p:grpSpPr>
              <p:sp>
                <p:nvSpPr>
                  <p:cNvPr id="78" name="Freeform 60"/>
                  <p:cNvSpPr>
                    <a:spLocks noEditPoints="1"/>
                  </p:cNvSpPr>
                  <p:nvPr/>
                </p:nvSpPr>
                <p:spPr bwMode="auto">
                  <a:xfrm>
                    <a:off x="2044700" y="4244975"/>
                    <a:ext cx="1468438" cy="1287463"/>
                  </a:xfrm>
                  <a:custGeom>
                    <a:avLst/>
                    <a:gdLst>
                      <a:gd name="T0" fmla="*/ 187 w 200"/>
                      <a:gd name="T1" fmla="*/ 12 h 175"/>
                      <a:gd name="T2" fmla="*/ 188 w 200"/>
                      <a:gd name="T3" fmla="*/ 12 h 175"/>
                      <a:gd name="T4" fmla="*/ 188 w 200"/>
                      <a:gd name="T5" fmla="*/ 162 h 175"/>
                      <a:gd name="T6" fmla="*/ 187 w 200"/>
                      <a:gd name="T7" fmla="*/ 162 h 175"/>
                      <a:gd name="T8" fmla="*/ 13 w 200"/>
                      <a:gd name="T9" fmla="*/ 162 h 175"/>
                      <a:gd name="T10" fmla="*/ 12 w 200"/>
                      <a:gd name="T11" fmla="*/ 162 h 175"/>
                      <a:gd name="T12" fmla="*/ 12 w 200"/>
                      <a:gd name="T13" fmla="*/ 12 h 175"/>
                      <a:gd name="T14" fmla="*/ 13 w 200"/>
                      <a:gd name="T15" fmla="*/ 12 h 175"/>
                      <a:gd name="T16" fmla="*/ 187 w 200"/>
                      <a:gd name="T17" fmla="*/ 12 h 175"/>
                      <a:gd name="T18" fmla="*/ 188 w 200"/>
                      <a:gd name="T19" fmla="*/ 0 h 175"/>
                      <a:gd name="T20" fmla="*/ 13 w 200"/>
                      <a:gd name="T21" fmla="*/ 0 h 175"/>
                      <a:gd name="T22" fmla="*/ 0 w 200"/>
                      <a:gd name="T23" fmla="*/ 12 h 175"/>
                      <a:gd name="T24" fmla="*/ 0 w 200"/>
                      <a:gd name="T25" fmla="*/ 162 h 175"/>
                      <a:gd name="T26" fmla="*/ 13 w 200"/>
                      <a:gd name="T27" fmla="*/ 175 h 175"/>
                      <a:gd name="T28" fmla="*/ 188 w 200"/>
                      <a:gd name="T29" fmla="*/ 175 h 175"/>
                      <a:gd name="T30" fmla="*/ 200 w 200"/>
                      <a:gd name="T31" fmla="*/ 162 h 175"/>
                      <a:gd name="T32" fmla="*/ 200 w 200"/>
                      <a:gd name="T33" fmla="*/ 12 h 175"/>
                      <a:gd name="T34" fmla="*/ 188 w 200"/>
                      <a:gd name="T35"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75">
                        <a:moveTo>
                          <a:pt x="187" y="12"/>
                        </a:moveTo>
                        <a:lnTo>
                          <a:pt x="188" y="12"/>
                        </a:lnTo>
                        <a:lnTo>
                          <a:pt x="188" y="162"/>
                        </a:lnTo>
                        <a:lnTo>
                          <a:pt x="187" y="162"/>
                        </a:lnTo>
                        <a:lnTo>
                          <a:pt x="13" y="162"/>
                        </a:lnTo>
                        <a:lnTo>
                          <a:pt x="12" y="162"/>
                        </a:lnTo>
                        <a:lnTo>
                          <a:pt x="12" y="12"/>
                        </a:lnTo>
                        <a:lnTo>
                          <a:pt x="13" y="12"/>
                        </a:lnTo>
                        <a:lnTo>
                          <a:pt x="187" y="12"/>
                        </a:lnTo>
                        <a:close/>
                        <a:moveTo>
                          <a:pt x="188" y="0"/>
                        </a:moveTo>
                        <a:lnTo>
                          <a:pt x="13" y="0"/>
                        </a:lnTo>
                        <a:cubicBezTo>
                          <a:pt x="6" y="0"/>
                          <a:pt x="0" y="5"/>
                          <a:pt x="0" y="12"/>
                        </a:cubicBezTo>
                        <a:lnTo>
                          <a:pt x="0" y="162"/>
                        </a:lnTo>
                        <a:cubicBezTo>
                          <a:pt x="0" y="169"/>
                          <a:pt x="6" y="175"/>
                          <a:pt x="13" y="175"/>
                        </a:cubicBezTo>
                        <a:lnTo>
                          <a:pt x="188" y="175"/>
                        </a:lnTo>
                        <a:cubicBezTo>
                          <a:pt x="194" y="175"/>
                          <a:pt x="200" y="169"/>
                          <a:pt x="200" y="162"/>
                        </a:cubicBezTo>
                        <a:lnTo>
                          <a:pt x="200" y="12"/>
                        </a:lnTo>
                        <a:cubicBezTo>
                          <a:pt x="200" y="5"/>
                          <a:pt x="194" y="0"/>
                          <a:pt x="188" y="0"/>
                        </a:cubicBez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sp>
                <p:nvSpPr>
                  <p:cNvPr id="79" name="Oval 61"/>
                  <p:cNvSpPr>
                    <a:spLocks noChangeArrowheads="1"/>
                  </p:cNvSpPr>
                  <p:nvPr/>
                </p:nvSpPr>
                <p:spPr bwMode="auto">
                  <a:xfrm>
                    <a:off x="2962275" y="4429125"/>
                    <a:ext cx="279400" cy="271463"/>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sp>
                <p:nvSpPr>
                  <p:cNvPr id="80" name="Freeform 62"/>
                  <p:cNvSpPr/>
                  <p:nvPr/>
                </p:nvSpPr>
                <p:spPr bwMode="auto">
                  <a:xfrm>
                    <a:off x="2228850" y="4613275"/>
                    <a:ext cx="1100138" cy="735013"/>
                  </a:xfrm>
                  <a:custGeom>
                    <a:avLst/>
                    <a:gdLst>
                      <a:gd name="T0" fmla="*/ 150 w 150"/>
                      <a:gd name="T1" fmla="*/ 100 h 100"/>
                      <a:gd name="T2" fmla="*/ 0 w 150"/>
                      <a:gd name="T3" fmla="*/ 100 h 100"/>
                      <a:gd name="T4" fmla="*/ 0 w 150"/>
                      <a:gd name="T5" fmla="*/ 75 h 100"/>
                      <a:gd name="T6" fmla="*/ 44 w 150"/>
                      <a:gd name="T7" fmla="*/ 0 h 100"/>
                      <a:gd name="T8" fmla="*/ 94 w 150"/>
                      <a:gd name="T9" fmla="*/ 62 h 100"/>
                      <a:gd name="T10" fmla="*/ 106 w 150"/>
                      <a:gd name="T11" fmla="*/ 62 h 100"/>
                      <a:gd name="T12" fmla="*/ 150 w 150"/>
                      <a:gd name="T13" fmla="*/ 25 h 100"/>
                      <a:gd name="T14" fmla="*/ 150 w 150"/>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00">
                        <a:moveTo>
                          <a:pt x="150" y="100"/>
                        </a:moveTo>
                        <a:lnTo>
                          <a:pt x="0" y="100"/>
                        </a:lnTo>
                        <a:lnTo>
                          <a:pt x="0" y="75"/>
                        </a:lnTo>
                        <a:lnTo>
                          <a:pt x="44" y="0"/>
                        </a:lnTo>
                        <a:lnTo>
                          <a:pt x="94" y="62"/>
                        </a:lnTo>
                        <a:lnTo>
                          <a:pt x="106" y="62"/>
                        </a:lnTo>
                        <a:lnTo>
                          <a:pt x="150" y="25"/>
                        </a:lnTo>
                        <a:lnTo>
                          <a:pt x="150" y="10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C00000"/>
                      </a:solidFill>
                      <a:effectLst/>
                      <a:uLnTx/>
                      <a:uFillTx/>
                      <a:cs typeface="+mn-ea"/>
                      <a:sym typeface="+mn-lt"/>
                    </a:endParaRPr>
                  </a:p>
                </p:txBody>
              </p:sp>
            </p:grpSp>
          </p:grpSp>
          <p:sp>
            <p:nvSpPr>
              <p:cNvPr id="6" name="云形 5"/>
              <p:cNvSpPr/>
              <p:nvPr/>
            </p:nvSpPr>
            <p:spPr bwMode="auto">
              <a:xfrm>
                <a:off x="6611093" y="2208239"/>
                <a:ext cx="4032448" cy="1908212"/>
              </a:xfrm>
              <a:prstGeom prst="cloud">
                <a:avLst/>
              </a:prstGeom>
              <a:noFill/>
              <a:ln w="9525" cap="flat" cmpd="sng" algn="ctr">
                <a:solidFill>
                  <a:srgbClr val="990000"/>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rgbClr val="C00000"/>
                  </a:solidFill>
                  <a:effectLst/>
                  <a:cs typeface="+mn-ea"/>
                  <a:sym typeface="+mn-lt"/>
                </a:endParaRPr>
              </a:p>
            </p:txBody>
          </p:sp>
        </p:grpSp>
        <p:grpSp>
          <p:nvGrpSpPr>
            <p:cNvPr id="54" name="组合 53"/>
            <p:cNvGrpSpPr/>
            <p:nvPr/>
          </p:nvGrpSpPr>
          <p:grpSpPr>
            <a:xfrm>
              <a:off x="8555450" y="4915114"/>
              <a:ext cx="532017" cy="348690"/>
              <a:chOff x="8483679" y="4842990"/>
              <a:chExt cx="532017" cy="348690"/>
            </a:xfrm>
          </p:grpSpPr>
          <p:pic>
            <p:nvPicPr>
              <p:cNvPr id="95" name="图片 94"/>
              <p:cNvPicPr>
                <a:picLocks noChangeAspect="1"/>
              </p:cNvPicPr>
              <p:nvPr/>
            </p:nvPicPr>
            <p:blipFill>
              <a:blip r:embed="rId52"/>
              <a:stretch>
                <a:fillRect/>
              </a:stretch>
            </p:blipFill>
            <p:spPr>
              <a:xfrm>
                <a:off x="8738630" y="4959759"/>
                <a:ext cx="277066" cy="231921"/>
              </a:xfrm>
              <a:prstGeom prst="rect">
                <a:avLst/>
              </a:prstGeom>
              <a:effectLst>
                <a:outerShdw blurRad="50800" dist="38100" dir="2700000" algn="tl" rotWithShape="0">
                  <a:prstClr val="black">
                    <a:alpha val="40000"/>
                  </a:prstClr>
                </a:outerShdw>
              </a:effectLst>
            </p:spPr>
          </p:pic>
          <p:pic>
            <p:nvPicPr>
              <p:cNvPr id="5" name="图片 4"/>
              <p:cNvPicPr>
                <a:picLocks noChangeAspect="1"/>
              </p:cNvPicPr>
              <p:nvPr/>
            </p:nvPicPr>
            <p:blipFill>
              <a:blip r:embed="rId52"/>
              <a:stretch>
                <a:fillRect/>
              </a:stretch>
            </p:blipFill>
            <p:spPr>
              <a:xfrm>
                <a:off x="8600097" y="4895067"/>
                <a:ext cx="277066" cy="231921"/>
              </a:xfrm>
              <a:prstGeom prst="rect">
                <a:avLst/>
              </a:prstGeom>
              <a:effectLst>
                <a:outerShdw blurRad="50800" dist="38100" dir="2700000" algn="tl" rotWithShape="0">
                  <a:prstClr val="black">
                    <a:alpha val="40000"/>
                  </a:prstClr>
                </a:outerShdw>
              </a:effectLst>
            </p:spPr>
          </p:pic>
          <p:pic>
            <p:nvPicPr>
              <p:cNvPr id="96" name="图片 95"/>
              <p:cNvPicPr>
                <a:picLocks noChangeAspect="1"/>
              </p:cNvPicPr>
              <p:nvPr/>
            </p:nvPicPr>
            <p:blipFill>
              <a:blip r:embed="rId52"/>
              <a:stretch>
                <a:fillRect/>
              </a:stretch>
            </p:blipFill>
            <p:spPr>
              <a:xfrm>
                <a:off x="8483679" y="4842990"/>
                <a:ext cx="277066" cy="231921"/>
              </a:xfrm>
              <a:prstGeom prst="rect">
                <a:avLst/>
              </a:prstGeom>
              <a:effectLst>
                <a:outerShdw blurRad="50800" dist="38100" dir="2700000" algn="tl" rotWithShape="0">
                  <a:prstClr val="black">
                    <a:alpha val="40000"/>
                  </a:prstClr>
                </a:outerShdw>
              </a:effectLst>
            </p:spPr>
          </p:pic>
        </p:grpSp>
        <p:sp>
          <p:nvSpPr>
            <p:cNvPr id="55" name="下箭头 54"/>
            <p:cNvSpPr/>
            <p:nvPr/>
          </p:nvSpPr>
          <p:spPr bwMode="auto">
            <a:xfrm>
              <a:off x="8700011" y="4372329"/>
              <a:ext cx="217245" cy="401715"/>
            </a:xfrm>
            <a:prstGeom prst="downArrow">
              <a:avLst/>
            </a:prstGeom>
            <a:solidFill>
              <a:srgbClr val="990000"/>
            </a:solidFill>
            <a:ln w="9525" cap="flat" cmpd="sng" algn="ctr">
              <a:solidFill>
                <a:srgbClr val="99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rgbClr val="990000"/>
                </a:solidFill>
                <a:effectLst/>
                <a:cs typeface="+mn-ea"/>
                <a:sym typeface="+mn-lt"/>
              </a:endParaRPr>
            </a:p>
          </p:txBody>
        </p:sp>
      </p:grpSp>
      <p:grpSp>
        <p:nvGrpSpPr>
          <p:cNvPr id="56" name="组合 55"/>
          <p:cNvGrpSpPr/>
          <p:nvPr/>
        </p:nvGrpSpPr>
        <p:grpSpPr>
          <a:xfrm>
            <a:off x="4948034" y="5018090"/>
            <a:ext cx="3212373" cy="1067880"/>
            <a:chOff x="1912400" y="5205436"/>
            <a:chExt cx="3212373" cy="1067880"/>
          </a:xfrm>
        </p:grpSpPr>
        <p:sp>
          <p:nvSpPr>
            <p:cNvPr id="75" name="文本框 74"/>
            <p:cNvSpPr txBox="1"/>
            <p:nvPr/>
          </p:nvSpPr>
          <p:spPr bwMode="auto">
            <a:xfrm>
              <a:off x="1912400" y="5604109"/>
              <a:ext cx="365223"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en-US" altLang="zh-CN" sz="1800" b="1" dirty="0" smtClean="0">
                  <a:solidFill>
                    <a:srgbClr val="C00000"/>
                  </a:solidFill>
                  <a:cs typeface="+mn-ea"/>
                  <a:sym typeface="+mn-lt"/>
                </a:rPr>
                <a:t>88</a:t>
              </a:r>
              <a:endParaRPr kumimoji="1" lang="zh-CN" altLang="en-US" sz="2000" b="1" dirty="0">
                <a:solidFill>
                  <a:srgbClr val="C00000"/>
                </a:solidFill>
                <a:cs typeface="+mn-ea"/>
                <a:sym typeface="+mn-lt"/>
              </a:endParaRPr>
            </a:p>
          </p:txBody>
        </p:sp>
        <p:grpSp>
          <p:nvGrpSpPr>
            <p:cNvPr id="81" name="Advocacy"/>
            <p:cNvGrpSpPr>
              <a:grpSpLocks noChangeAspect="1"/>
            </p:cNvGrpSpPr>
            <p:nvPr>
              <p:custDataLst>
                <p:tags r:id="rId53"/>
              </p:custDataLst>
            </p:nvPr>
          </p:nvGrpSpPr>
          <p:grpSpPr bwMode="auto">
            <a:xfrm>
              <a:off x="2783632" y="5205436"/>
              <a:ext cx="460321" cy="381248"/>
              <a:chOff x="8" y="209"/>
              <a:chExt cx="326" cy="270"/>
            </a:xfrm>
            <a:solidFill>
              <a:srgbClr val="006699"/>
            </a:solidFill>
            <a:effectLst>
              <a:outerShdw blurRad="50800" dist="38100" dir="2700000" algn="tl" rotWithShape="0">
                <a:prstClr val="black">
                  <a:alpha val="40000"/>
                </a:prstClr>
              </a:outerShdw>
            </a:effectLst>
          </p:grpSpPr>
          <p:sp>
            <p:nvSpPr>
              <p:cNvPr id="82" name="Advocacy"/>
              <p:cNvSpPr>
                <a:spLocks noChangeArrowheads="1"/>
              </p:cNvSpPr>
              <p:nvPr>
                <p:custDataLst>
                  <p:tags r:id="rId54"/>
                </p:custDataLst>
              </p:nvPr>
            </p:nvSpPr>
            <p:spPr bwMode="auto">
              <a:xfrm>
                <a:off x="285" y="298"/>
                <a:ext cx="37" cy="37"/>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3" name="Advocacy"/>
              <p:cNvSpPr>
                <a:spLocks noChangeArrowheads="1"/>
              </p:cNvSpPr>
              <p:nvPr>
                <p:custDataLst>
                  <p:tags r:id="rId55"/>
                </p:custDataLst>
              </p:nvPr>
            </p:nvSpPr>
            <p:spPr bwMode="auto">
              <a:xfrm>
                <a:off x="20" y="298"/>
                <a:ext cx="37" cy="37"/>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4" name="Advocacy"/>
              <p:cNvSpPr>
                <a:spLocks noChangeArrowheads="1"/>
              </p:cNvSpPr>
              <p:nvPr>
                <p:custDataLst>
                  <p:tags r:id="rId56"/>
                </p:custDataLst>
              </p:nvPr>
            </p:nvSpPr>
            <p:spPr bwMode="auto">
              <a:xfrm>
                <a:off x="221" y="264"/>
                <a:ext cx="56" cy="55"/>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5" name="Advocacy"/>
              <p:cNvSpPr/>
              <p:nvPr>
                <p:custDataLst>
                  <p:tags r:id="rId57"/>
                </p:custDataLst>
              </p:nvPr>
            </p:nvSpPr>
            <p:spPr bwMode="auto">
              <a:xfrm>
                <a:off x="295" y="345"/>
                <a:ext cx="39" cy="86"/>
              </a:xfrm>
              <a:custGeom>
                <a:avLst/>
                <a:gdLst>
                  <a:gd name="T0" fmla="*/ 103 w 103"/>
                  <a:gd name="T1" fmla="*/ 229 h 229"/>
                  <a:gd name="T2" fmla="*/ 20 w 103"/>
                  <a:gd name="T3" fmla="*/ 229 h 229"/>
                  <a:gd name="T4" fmla="*/ 20 w 103"/>
                  <a:gd name="T5" fmla="*/ 76 h 229"/>
                  <a:gd name="T6" fmla="*/ 0 w 103"/>
                  <a:gd name="T7" fmla="*/ 4 h 229"/>
                  <a:gd name="T8" fmla="*/ 23 w 103"/>
                  <a:gd name="T9" fmla="*/ 0 h 229"/>
                  <a:gd name="T10" fmla="*/ 103 w 103"/>
                  <a:gd name="T11" fmla="*/ 81 h 229"/>
                  <a:gd name="T12" fmla="*/ 103 w 103"/>
                  <a:gd name="T13" fmla="*/ 229 h 229"/>
                </a:gdLst>
                <a:ahLst/>
                <a:cxnLst>
                  <a:cxn ang="0">
                    <a:pos x="T0" y="T1"/>
                  </a:cxn>
                  <a:cxn ang="0">
                    <a:pos x="T2" y="T3"/>
                  </a:cxn>
                  <a:cxn ang="0">
                    <a:pos x="T4" y="T5"/>
                  </a:cxn>
                  <a:cxn ang="0">
                    <a:pos x="T6" y="T7"/>
                  </a:cxn>
                  <a:cxn ang="0">
                    <a:pos x="T8" y="T9"/>
                  </a:cxn>
                  <a:cxn ang="0">
                    <a:pos x="T10" y="T11"/>
                  </a:cxn>
                  <a:cxn ang="0">
                    <a:pos x="T12" y="T13"/>
                  </a:cxn>
                </a:cxnLst>
                <a:rect l="0" t="0" r="r" b="b"/>
                <a:pathLst>
                  <a:path w="103" h="229">
                    <a:moveTo>
                      <a:pt x="103" y="229"/>
                    </a:moveTo>
                    <a:lnTo>
                      <a:pt x="20" y="229"/>
                    </a:lnTo>
                    <a:lnTo>
                      <a:pt x="20" y="76"/>
                    </a:lnTo>
                    <a:cubicBezTo>
                      <a:pt x="20" y="50"/>
                      <a:pt x="12" y="25"/>
                      <a:pt x="0" y="4"/>
                    </a:cubicBezTo>
                    <a:cubicBezTo>
                      <a:pt x="7" y="2"/>
                      <a:pt x="15" y="0"/>
                      <a:pt x="23" y="0"/>
                    </a:cubicBezTo>
                    <a:cubicBezTo>
                      <a:pt x="67" y="0"/>
                      <a:pt x="103" y="36"/>
                      <a:pt x="103" y="81"/>
                    </a:cubicBezTo>
                    <a:lnTo>
                      <a:pt x="103" y="229"/>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6" name="Advocacy"/>
              <p:cNvSpPr>
                <a:spLocks noChangeArrowheads="1"/>
              </p:cNvSpPr>
              <p:nvPr>
                <p:custDataLst>
                  <p:tags r:id="rId58"/>
                </p:custDataLst>
              </p:nvPr>
            </p:nvSpPr>
            <p:spPr bwMode="auto">
              <a:xfrm>
                <a:off x="66" y="264"/>
                <a:ext cx="55" cy="55"/>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7" name="Advocacy"/>
              <p:cNvSpPr/>
              <p:nvPr>
                <p:custDataLst>
                  <p:tags r:id="rId59"/>
                </p:custDataLst>
              </p:nvPr>
            </p:nvSpPr>
            <p:spPr bwMode="auto">
              <a:xfrm>
                <a:off x="8" y="345"/>
                <a:ext cx="39" cy="86"/>
              </a:xfrm>
              <a:custGeom>
                <a:avLst/>
                <a:gdLst>
                  <a:gd name="T0" fmla="*/ 81 w 104"/>
                  <a:gd name="T1" fmla="*/ 0 h 229"/>
                  <a:gd name="T2" fmla="*/ 104 w 104"/>
                  <a:gd name="T3" fmla="*/ 4 h 229"/>
                  <a:gd name="T4" fmla="*/ 83 w 104"/>
                  <a:gd name="T5" fmla="*/ 76 h 229"/>
                  <a:gd name="T6" fmla="*/ 83 w 104"/>
                  <a:gd name="T7" fmla="*/ 229 h 229"/>
                  <a:gd name="T8" fmla="*/ 0 w 104"/>
                  <a:gd name="T9" fmla="*/ 229 h 229"/>
                  <a:gd name="T10" fmla="*/ 0 w 104"/>
                  <a:gd name="T11" fmla="*/ 81 h 229"/>
                  <a:gd name="T12" fmla="*/ 81 w 104"/>
                  <a:gd name="T13" fmla="*/ 0 h 229"/>
                </a:gdLst>
                <a:ahLst/>
                <a:cxnLst>
                  <a:cxn ang="0">
                    <a:pos x="T0" y="T1"/>
                  </a:cxn>
                  <a:cxn ang="0">
                    <a:pos x="T2" y="T3"/>
                  </a:cxn>
                  <a:cxn ang="0">
                    <a:pos x="T4" y="T5"/>
                  </a:cxn>
                  <a:cxn ang="0">
                    <a:pos x="T6" y="T7"/>
                  </a:cxn>
                  <a:cxn ang="0">
                    <a:pos x="T8" y="T9"/>
                  </a:cxn>
                  <a:cxn ang="0">
                    <a:pos x="T10" y="T11"/>
                  </a:cxn>
                  <a:cxn ang="0">
                    <a:pos x="T12" y="T13"/>
                  </a:cxn>
                </a:cxnLst>
                <a:rect l="0" t="0" r="r" b="b"/>
                <a:pathLst>
                  <a:path w="104" h="229">
                    <a:moveTo>
                      <a:pt x="81" y="0"/>
                    </a:moveTo>
                    <a:cubicBezTo>
                      <a:pt x="89" y="0"/>
                      <a:pt x="96" y="2"/>
                      <a:pt x="104" y="4"/>
                    </a:cubicBezTo>
                    <a:cubicBezTo>
                      <a:pt x="91" y="25"/>
                      <a:pt x="83" y="50"/>
                      <a:pt x="83" y="76"/>
                    </a:cubicBezTo>
                    <a:lnTo>
                      <a:pt x="83" y="229"/>
                    </a:lnTo>
                    <a:lnTo>
                      <a:pt x="0" y="229"/>
                    </a:lnTo>
                    <a:lnTo>
                      <a:pt x="0" y="81"/>
                    </a:lnTo>
                    <a:cubicBezTo>
                      <a:pt x="0" y="36"/>
                      <a:pt x="36" y="0"/>
                      <a:pt x="81" y="0"/>
                    </a:cubicBez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8" name="Advocacy"/>
              <p:cNvSpPr>
                <a:spLocks noChangeArrowheads="1"/>
              </p:cNvSpPr>
              <p:nvPr>
                <p:custDataLst>
                  <p:tags r:id="rId60"/>
                </p:custDataLst>
              </p:nvPr>
            </p:nvSpPr>
            <p:spPr bwMode="auto">
              <a:xfrm>
                <a:off x="130" y="209"/>
                <a:ext cx="82" cy="82"/>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9" name="Advocacy"/>
              <p:cNvSpPr/>
              <p:nvPr>
                <p:custDataLst>
                  <p:tags r:id="rId61"/>
                </p:custDataLst>
              </p:nvPr>
            </p:nvSpPr>
            <p:spPr bwMode="auto">
              <a:xfrm>
                <a:off x="236" y="330"/>
                <a:ext cx="57" cy="123"/>
              </a:xfrm>
              <a:custGeom>
                <a:avLst/>
                <a:gdLst>
                  <a:gd name="T0" fmla="*/ 150 w 150"/>
                  <a:gd name="T1" fmla="*/ 327 h 327"/>
                  <a:gd name="T2" fmla="*/ 22 w 150"/>
                  <a:gd name="T3" fmla="*/ 327 h 327"/>
                  <a:gd name="T4" fmla="*/ 22 w 150"/>
                  <a:gd name="T5" fmla="*/ 94 h 327"/>
                  <a:gd name="T6" fmla="*/ 0 w 150"/>
                  <a:gd name="T7" fmla="*/ 5 h 327"/>
                  <a:gd name="T8" fmla="*/ 33 w 150"/>
                  <a:gd name="T9" fmla="*/ 0 h 327"/>
                  <a:gd name="T10" fmla="*/ 150 w 150"/>
                  <a:gd name="T11" fmla="*/ 117 h 327"/>
                  <a:gd name="T12" fmla="*/ 150 w 150"/>
                  <a:gd name="T13" fmla="*/ 327 h 327"/>
                </a:gdLst>
                <a:ahLst/>
                <a:cxnLst>
                  <a:cxn ang="0">
                    <a:pos x="T0" y="T1"/>
                  </a:cxn>
                  <a:cxn ang="0">
                    <a:pos x="T2" y="T3"/>
                  </a:cxn>
                  <a:cxn ang="0">
                    <a:pos x="T4" y="T5"/>
                  </a:cxn>
                  <a:cxn ang="0">
                    <a:pos x="T6" y="T7"/>
                  </a:cxn>
                  <a:cxn ang="0">
                    <a:pos x="T8" y="T9"/>
                  </a:cxn>
                  <a:cxn ang="0">
                    <a:pos x="T10" y="T11"/>
                  </a:cxn>
                  <a:cxn ang="0">
                    <a:pos x="T12" y="T13"/>
                  </a:cxn>
                </a:cxnLst>
                <a:rect l="0" t="0" r="r" b="b"/>
                <a:pathLst>
                  <a:path w="150" h="327">
                    <a:moveTo>
                      <a:pt x="150" y="327"/>
                    </a:moveTo>
                    <a:lnTo>
                      <a:pt x="22" y="327"/>
                    </a:lnTo>
                    <a:lnTo>
                      <a:pt x="22" y="94"/>
                    </a:lnTo>
                    <a:cubicBezTo>
                      <a:pt x="22" y="62"/>
                      <a:pt x="14" y="32"/>
                      <a:pt x="0" y="5"/>
                    </a:cubicBezTo>
                    <a:cubicBezTo>
                      <a:pt x="11" y="2"/>
                      <a:pt x="22" y="0"/>
                      <a:pt x="33" y="0"/>
                    </a:cubicBezTo>
                    <a:cubicBezTo>
                      <a:pt x="98" y="0"/>
                      <a:pt x="150" y="52"/>
                      <a:pt x="150" y="117"/>
                    </a:cubicBezTo>
                    <a:lnTo>
                      <a:pt x="150" y="327"/>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90" name="Advocacy"/>
              <p:cNvSpPr/>
              <p:nvPr>
                <p:custDataLst>
                  <p:tags r:id="rId62"/>
                </p:custDataLst>
              </p:nvPr>
            </p:nvSpPr>
            <p:spPr bwMode="auto">
              <a:xfrm>
                <a:off x="49" y="330"/>
                <a:ext cx="57" cy="123"/>
              </a:xfrm>
              <a:custGeom>
                <a:avLst/>
                <a:gdLst>
                  <a:gd name="T0" fmla="*/ 128 w 150"/>
                  <a:gd name="T1" fmla="*/ 94 h 327"/>
                  <a:gd name="T2" fmla="*/ 128 w 150"/>
                  <a:gd name="T3" fmla="*/ 327 h 327"/>
                  <a:gd name="T4" fmla="*/ 0 w 150"/>
                  <a:gd name="T5" fmla="*/ 327 h 327"/>
                  <a:gd name="T6" fmla="*/ 0 w 150"/>
                  <a:gd name="T7" fmla="*/ 117 h 327"/>
                  <a:gd name="T8" fmla="*/ 117 w 150"/>
                  <a:gd name="T9" fmla="*/ 0 h 327"/>
                  <a:gd name="T10" fmla="*/ 150 w 150"/>
                  <a:gd name="T11" fmla="*/ 5 h 327"/>
                  <a:gd name="T12" fmla="*/ 128 w 150"/>
                  <a:gd name="T13" fmla="*/ 94 h 327"/>
                </a:gdLst>
                <a:ahLst/>
                <a:cxnLst>
                  <a:cxn ang="0">
                    <a:pos x="T0" y="T1"/>
                  </a:cxn>
                  <a:cxn ang="0">
                    <a:pos x="T2" y="T3"/>
                  </a:cxn>
                  <a:cxn ang="0">
                    <a:pos x="T4" y="T5"/>
                  </a:cxn>
                  <a:cxn ang="0">
                    <a:pos x="T6" y="T7"/>
                  </a:cxn>
                  <a:cxn ang="0">
                    <a:pos x="T8" y="T9"/>
                  </a:cxn>
                  <a:cxn ang="0">
                    <a:pos x="T10" y="T11"/>
                  </a:cxn>
                  <a:cxn ang="0">
                    <a:pos x="T12" y="T13"/>
                  </a:cxn>
                </a:cxnLst>
                <a:rect l="0" t="0" r="r" b="b"/>
                <a:pathLst>
                  <a:path w="150" h="327">
                    <a:moveTo>
                      <a:pt x="128" y="94"/>
                    </a:moveTo>
                    <a:lnTo>
                      <a:pt x="128" y="327"/>
                    </a:lnTo>
                    <a:lnTo>
                      <a:pt x="0" y="327"/>
                    </a:lnTo>
                    <a:lnTo>
                      <a:pt x="0" y="117"/>
                    </a:lnTo>
                    <a:cubicBezTo>
                      <a:pt x="0" y="52"/>
                      <a:pt x="53" y="0"/>
                      <a:pt x="117" y="0"/>
                    </a:cubicBezTo>
                    <a:cubicBezTo>
                      <a:pt x="129" y="0"/>
                      <a:pt x="139" y="2"/>
                      <a:pt x="150" y="5"/>
                    </a:cubicBezTo>
                    <a:cubicBezTo>
                      <a:pt x="136" y="32"/>
                      <a:pt x="128" y="62"/>
                      <a:pt x="128" y="94"/>
                    </a:cubicBez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97" name="Advocacy"/>
              <p:cNvSpPr/>
              <p:nvPr>
                <p:custDataLst>
                  <p:tags r:id="rId63"/>
                </p:custDataLst>
              </p:nvPr>
            </p:nvSpPr>
            <p:spPr bwMode="auto">
              <a:xfrm>
                <a:off x="107" y="301"/>
                <a:ext cx="128" cy="178"/>
              </a:xfrm>
              <a:custGeom>
                <a:avLst/>
                <a:gdLst>
                  <a:gd name="T0" fmla="*/ 0 w 340"/>
                  <a:gd name="T1" fmla="*/ 471 h 471"/>
                  <a:gd name="T2" fmla="*/ 340 w 340"/>
                  <a:gd name="T3" fmla="*/ 471 h 471"/>
                  <a:gd name="T4" fmla="*/ 340 w 340"/>
                  <a:gd name="T5" fmla="*/ 170 h 471"/>
                  <a:gd name="T6" fmla="*/ 170 w 340"/>
                  <a:gd name="T7" fmla="*/ 0 h 471"/>
                  <a:gd name="T8" fmla="*/ 0 w 340"/>
                  <a:gd name="T9" fmla="*/ 170 h 471"/>
                  <a:gd name="T10" fmla="*/ 0 w 340"/>
                  <a:gd name="T11" fmla="*/ 471 h 471"/>
                </a:gdLst>
                <a:ahLst/>
                <a:cxnLst>
                  <a:cxn ang="0">
                    <a:pos x="T0" y="T1"/>
                  </a:cxn>
                  <a:cxn ang="0">
                    <a:pos x="T2" y="T3"/>
                  </a:cxn>
                  <a:cxn ang="0">
                    <a:pos x="T4" y="T5"/>
                  </a:cxn>
                  <a:cxn ang="0">
                    <a:pos x="T6" y="T7"/>
                  </a:cxn>
                  <a:cxn ang="0">
                    <a:pos x="T8" y="T9"/>
                  </a:cxn>
                  <a:cxn ang="0">
                    <a:pos x="T10" y="T11"/>
                  </a:cxn>
                </a:cxnLst>
                <a:rect l="0" t="0" r="r" b="b"/>
                <a:pathLst>
                  <a:path w="340" h="471">
                    <a:moveTo>
                      <a:pt x="0" y="471"/>
                    </a:moveTo>
                    <a:lnTo>
                      <a:pt x="340" y="471"/>
                    </a:lnTo>
                    <a:lnTo>
                      <a:pt x="340" y="170"/>
                    </a:lnTo>
                    <a:cubicBezTo>
                      <a:pt x="340" y="76"/>
                      <a:pt x="264" y="0"/>
                      <a:pt x="170" y="0"/>
                    </a:cubicBezTo>
                    <a:cubicBezTo>
                      <a:pt x="76" y="0"/>
                      <a:pt x="0" y="76"/>
                      <a:pt x="0" y="170"/>
                    </a:cubicBezTo>
                    <a:lnTo>
                      <a:pt x="0" y="471"/>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grpSp>
        <p:sp>
          <p:nvSpPr>
            <p:cNvPr id="99" name="文本框 98"/>
            <p:cNvSpPr txBox="1"/>
            <p:nvPr/>
          </p:nvSpPr>
          <p:spPr bwMode="auto">
            <a:xfrm>
              <a:off x="3436731" y="5291227"/>
              <a:ext cx="1567977"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zh-CN" altLang="en-US" sz="1600" b="1" dirty="0">
                  <a:solidFill>
                    <a:srgbClr val="006699"/>
                  </a:solidFill>
                  <a:cs typeface="+mn-ea"/>
                  <a:sym typeface="+mn-lt"/>
                </a:rPr>
                <a:t>一</a:t>
              </a:r>
              <a:r>
                <a:rPr kumimoji="1" lang="zh-CN" altLang="en-US" sz="1600" b="1" dirty="0" smtClean="0">
                  <a:solidFill>
                    <a:srgbClr val="006699"/>
                  </a:solidFill>
                  <a:cs typeface="+mn-ea"/>
                  <a:sym typeface="+mn-lt"/>
                </a:rPr>
                <a:t>个部门的人数</a:t>
              </a:r>
              <a:endParaRPr kumimoji="1" lang="zh-CN" altLang="en-US" sz="1800" b="1" dirty="0">
                <a:solidFill>
                  <a:srgbClr val="006699"/>
                </a:solidFill>
                <a:cs typeface="+mn-ea"/>
                <a:sym typeface="+mn-lt"/>
              </a:endParaRPr>
            </a:p>
          </p:txBody>
        </p:sp>
        <p:grpSp>
          <p:nvGrpSpPr>
            <p:cNvPr id="100" name="Certificate"/>
            <p:cNvGrpSpPr>
              <a:grpSpLocks noChangeAspect="1"/>
            </p:cNvGrpSpPr>
            <p:nvPr>
              <p:custDataLst>
                <p:tags r:id="rId64"/>
              </p:custDataLst>
            </p:nvPr>
          </p:nvGrpSpPr>
          <p:grpSpPr bwMode="auto">
            <a:xfrm>
              <a:off x="2757061" y="5858881"/>
              <a:ext cx="529912" cy="414435"/>
              <a:chOff x="44" y="66"/>
              <a:chExt cx="413" cy="323"/>
            </a:xfrm>
            <a:solidFill>
              <a:srgbClr val="990000"/>
            </a:solidFill>
            <a:effectLst>
              <a:outerShdw blurRad="50800" dist="38100" dir="2700000" algn="tl" rotWithShape="0">
                <a:prstClr val="black">
                  <a:alpha val="40000"/>
                </a:prstClr>
              </a:outerShdw>
            </a:effectLst>
          </p:grpSpPr>
          <p:sp>
            <p:nvSpPr>
              <p:cNvPr id="101" name="Certificate"/>
              <p:cNvSpPr>
                <a:spLocks noEditPoints="1"/>
              </p:cNvSpPr>
              <p:nvPr>
                <p:custDataLst>
                  <p:tags r:id="rId65"/>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102" name="Certificate"/>
              <p:cNvSpPr>
                <a:spLocks noEditPoints="1"/>
              </p:cNvSpPr>
              <p:nvPr>
                <p:custDataLst>
                  <p:tags r:id="rId66"/>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103" name="Certificate"/>
              <p:cNvSpPr>
                <a:spLocks noEditPoints="1"/>
              </p:cNvSpPr>
              <p:nvPr>
                <p:custDataLst>
                  <p:tags r:id="rId67"/>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104" name="Certificate"/>
              <p:cNvSpPr/>
              <p:nvPr>
                <p:custDataLst>
                  <p:tags r:id="rId68"/>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105" name="Certificate"/>
              <p:cNvSpPr>
                <a:spLocks noEditPoints="1"/>
              </p:cNvSpPr>
              <p:nvPr>
                <p:custDataLst>
                  <p:tags r:id="rId69"/>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106" name="Certificate"/>
              <p:cNvSpPr>
                <a:spLocks noChangeArrowheads="1"/>
              </p:cNvSpPr>
              <p:nvPr>
                <p:custDataLst>
                  <p:tags r:id="rId70"/>
                </p:custDataLst>
              </p:nvPr>
            </p:nvSpPr>
            <p:spPr bwMode="auto">
              <a:xfrm>
                <a:off x="123" y="283"/>
                <a:ext cx="69" cy="5"/>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107" name="Certificate"/>
              <p:cNvSpPr>
                <a:spLocks noChangeArrowheads="1"/>
              </p:cNvSpPr>
              <p:nvPr>
                <p:custDataLst>
                  <p:tags r:id="rId71"/>
                </p:custDataLst>
              </p:nvPr>
            </p:nvSpPr>
            <p:spPr bwMode="auto">
              <a:xfrm>
                <a:off x="123" y="306"/>
                <a:ext cx="69" cy="5"/>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grpSp>
        <p:sp>
          <p:nvSpPr>
            <p:cNvPr id="108" name="文本框 107"/>
            <p:cNvSpPr txBox="1"/>
            <p:nvPr/>
          </p:nvSpPr>
          <p:spPr bwMode="auto">
            <a:xfrm>
              <a:off x="3429451" y="5915434"/>
              <a:ext cx="1695322"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r>
                <a:rPr kumimoji="1" lang="zh-CN" altLang="en-US" sz="1600" b="1" dirty="0">
                  <a:solidFill>
                    <a:srgbClr val="C00000"/>
                  </a:solidFill>
                  <a:cs typeface="+mn-ea"/>
                  <a:sym typeface="+mn-lt"/>
                </a:rPr>
                <a:t>一门</a:t>
              </a:r>
              <a:r>
                <a:rPr kumimoji="1" lang="zh-CN" altLang="en-US" sz="1600" b="1" dirty="0" smtClean="0">
                  <a:solidFill>
                    <a:srgbClr val="C00000"/>
                  </a:solidFill>
                  <a:cs typeface="+mn-ea"/>
                  <a:sym typeface="+mn-lt"/>
                </a:rPr>
                <a:t>课的考试</a:t>
              </a:r>
              <a:r>
                <a:rPr kumimoji="1" lang="zh-CN" altLang="en-US" sz="1600" b="1" dirty="0">
                  <a:solidFill>
                    <a:srgbClr val="C00000"/>
                  </a:solidFill>
                  <a:cs typeface="+mn-ea"/>
                  <a:sym typeface="+mn-lt"/>
                </a:rPr>
                <a:t>成绩</a:t>
              </a:r>
              <a:endParaRPr kumimoji="1" lang="zh-CN" altLang="en-US" sz="1600" b="1" dirty="0">
                <a:solidFill>
                  <a:srgbClr val="C00000"/>
                </a:solidFill>
                <a:cs typeface="+mn-ea"/>
                <a:sym typeface="+mn-lt"/>
              </a:endParaRPr>
            </a:p>
          </p:txBody>
        </p:sp>
        <p:cxnSp>
          <p:nvCxnSpPr>
            <p:cNvPr id="58" name="直接箭头连接符 57"/>
            <p:cNvCxnSpPr>
              <a:stCxn id="75" idx="3"/>
            </p:cNvCxnSpPr>
            <p:nvPr/>
          </p:nvCxnSpPr>
          <p:spPr bwMode="auto">
            <a:xfrm flipV="1">
              <a:off x="2277623" y="5518907"/>
              <a:ext cx="479438" cy="223702"/>
            </a:xfrm>
            <a:prstGeom prst="straightConnector1">
              <a:avLst/>
            </a:prstGeom>
            <a:solidFill>
              <a:schemeClr val="accent1"/>
            </a:solidFill>
            <a:ln w="28575" cap="flat" cmpd="sng" algn="ctr">
              <a:solidFill>
                <a:srgbClr val="006699"/>
              </a:solidFill>
              <a:prstDash val="solid"/>
              <a:round/>
              <a:headEnd type="none" w="med" len="med"/>
              <a:tailEnd type="triangle"/>
            </a:ln>
            <a:effectLst>
              <a:outerShdw blurRad="50800" dist="38100" dir="2700000" algn="tl" rotWithShape="0">
                <a:prstClr val="black">
                  <a:alpha val="40000"/>
                </a:prstClr>
              </a:outerShdw>
            </a:effectLst>
          </p:spPr>
        </p:cxnSp>
        <p:cxnSp>
          <p:nvCxnSpPr>
            <p:cNvPr id="110" name="直接箭头连接符 109"/>
            <p:cNvCxnSpPr>
              <a:stCxn id="75" idx="3"/>
            </p:cNvCxnSpPr>
            <p:nvPr/>
          </p:nvCxnSpPr>
          <p:spPr bwMode="auto">
            <a:xfrm>
              <a:off x="2277623" y="5742609"/>
              <a:ext cx="479438" cy="298470"/>
            </a:xfrm>
            <a:prstGeom prst="straightConnector1">
              <a:avLst/>
            </a:prstGeom>
            <a:solidFill>
              <a:schemeClr val="accent1"/>
            </a:solidFill>
            <a:ln w="28575" cap="flat" cmpd="sng" algn="ctr">
              <a:solidFill>
                <a:srgbClr val="990000"/>
              </a:solidFill>
              <a:prstDash val="solid"/>
              <a:round/>
              <a:headEnd type="none" w="med" len="med"/>
              <a:tailEnd type="triangle"/>
            </a:ln>
            <a:effectLst>
              <a:outerShdw blurRad="50800" dist="38100" dir="2700000" algn="tl" rotWithShape="0">
                <a:prstClr val="black">
                  <a:alpha val="40000"/>
                </a:prstClr>
              </a:outerShdw>
            </a:effectLst>
          </p:spPr>
        </p:cxn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记录</a:t>
            </a:r>
            <a:endParaRPr lang="zh-CN" altLang="en-US" dirty="0"/>
          </a:p>
        </p:txBody>
      </p:sp>
      <p:sp>
        <p:nvSpPr>
          <p:cNvPr id="3" name="文本占位符 2"/>
          <p:cNvSpPr>
            <a:spLocks noGrp="1"/>
          </p:cNvSpPr>
          <p:nvPr>
            <p:ph type="body" sz="quarter" idx="10"/>
          </p:nvPr>
        </p:nvSpPr>
        <p:spPr>
          <a:ln>
            <a:solidFill>
              <a:schemeClr val="bg1"/>
            </a:solidFill>
          </a:ln>
        </p:spPr>
        <p:txBody>
          <a:bodyPr/>
          <a:lstStyle/>
          <a:p>
            <a:r>
              <a:rPr lang="zh-CN" altLang="en-US" sz="2000" dirty="0" smtClean="0"/>
              <a:t>记录是在计算机中表示和存储数据的一种格式或一种方法。</a:t>
            </a:r>
            <a:endParaRPr lang="en-US" altLang="zh-CN" sz="2000" dirty="0" smtClean="0"/>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rPr>
              <a:t>Text</a:t>
            </a:r>
            <a:endParaRPr kumimoji="0" lang="zh-CN" altLang="en-US" sz="1200" strike="noStrike" cap="none" normalizeH="0" baseline="0" smtClean="0">
              <a:ln>
                <a:noFill/>
              </a:ln>
              <a:solidFill>
                <a:srgbClr val="FFFFFF"/>
              </a:solidFill>
              <a:effectLst>
                <a:glow>
                  <a:scrgbClr r="0" g="0" b="0"/>
                </a:glow>
              </a:effectLst>
              <a:latin typeface="FrutigerNext LT Regular" pitchFamily="34" charset="0"/>
              <a:ea typeface="宋体" panose="02010600030101010101" pitchFamily="2" charset="-122"/>
            </a:endParaRPr>
          </a:p>
        </p:txBody>
      </p:sp>
      <p:sp>
        <p:nvSpPr>
          <p:cNvPr id="75" name="文本框 74"/>
          <p:cNvSpPr txBox="1"/>
          <p:nvPr/>
        </p:nvSpPr>
        <p:spPr bwMode="auto">
          <a:xfrm>
            <a:off x="1919536" y="2390065"/>
            <a:ext cx="576064"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800" b="1" dirty="0">
                <a:latin typeface="+mn-lt"/>
                <a:ea typeface="+mn-ea"/>
              </a:rPr>
              <a:t>李明</a:t>
            </a:r>
            <a:endParaRPr kumimoji="1" lang="zh-CN" altLang="en-US" sz="2000" b="1" dirty="0">
              <a:latin typeface="+mn-lt"/>
              <a:ea typeface="+mn-ea"/>
            </a:endParaRPr>
          </a:p>
        </p:txBody>
      </p:sp>
      <p:grpSp>
        <p:nvGrpSpPr>
          <p:cNvPr id="114" name="Education"/>
          <p:cNvGrpSpPr>
            <a:grpSpLocks noChangeAspect="1"/>
          </p:cNvGrpSpPr>
          <p:nvPr>
            <p:custDataLst>
              <p:tags r:id="rId47"/>
            </p:custDataLst>
          </p:nvPr>
        </p:nvGrpSpPr>
        <p:grpSpPr bwMode="auto">
          <a:xfrm>
            <a:off x="2665996" y="2721690"/>
            <a:ext cx="1834231" cy="2097683"/>
            <a:chOff x="57" y="32"/>
            <a:chExt cx="369" cy="422"/>
          </a:xfrm>
          <a:solidFill>
            <a:srgbClr val="006699"/>
          </a:solidFill>
          <a:effectLst>
            <a:outerShdw blurRad="50800" dist="38100" dir="2700000" algn="tl" rotWithShape="0">
              <a:prstClr val="black">
                <a:alpha val="40000"/>
              </a:prstClr>
            </a:outerShdw>
          </a:effectLst>
        </p:grpSpPr>
        <p:sp>
          <p:nvSpPr>
            <p:cNvPr id="115" name="Education"/>
            <p:cNvSpPr>
              <a:spLocks noChangeArrowheads="1"/>
            </p:cNvSpPr>
            <p:nvPr>
              <p:custDataLst>
                <p:tags r:id="rId48"/>
              </p:custDataLst>
            </p:nvPr>
          </p:nvSpPr>
          <p:spPr bwMode="auto">
            <a:xfrm>
              <a:off x="127" y="34"/>
              <a:ext cx="82" cy="82"/>
            </a:xfrm>
            <a:prstGeom prst="ellipse">
              <a:avLst/>
            </a:pr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Education"/>
            <p:cNvSpPr/>
            <p:nvPr>
              <p:custDataLst>
                <p:tags r:id="rId49"/>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Education"/>
            <p:cNvSpPr>
              <a:spLocks noEditPoints="1"/>
            </p:cNvSpPr>
            <p:nvPr>
              <p:custDataLst>
                <p:tags r:id="rId50"/>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8" name="文本框 117"/>
          <p:cNvSpPr txBox="1"/>
          <p:nvPr/>
        </p:nvSpPr>
        <p:spPr bwMode="auto">
          <a:xfrm>
            <a:off x="4079226" y="2129511"/>
            <a:ext cx="576064"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800" b="1" dirty="0">
                <a:latin typeface="+mn-lt"/>
                <a:ea typeface="+mn-ea"/>
              </a:rPr>
              <a:t>男</a:t>
            </a:r>
            <a:endParaRPr kumimoji="1" lang="zh-CN" altLang="en-US" sz="2000" b="1" dirty="0">
              <a:latin typeface="+mn-lt"/>
              <a:ea typeface="+mn-ea"/>
            </a:endParaRPr>
          </a:p>
        </p:txBody>
      </p:sp>
      <p:sp>
        <p:nvSpPr>
          <p:cNvPr id="119" name="文本框 118"/>
          <p:cNvSpPr txBox="1"/>
          <p:nvPr/>
        </p:nvSpPr>
        <p:spPr bwMode="auto">
          <a:xfrm>
            <a:off x="4225725" y="4014101"/>
            <a:ext cx="1197534"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en-US" altLang="zh-CN" sz="1800" b="1" dirty="0" smtClean="0">
                <a:latin typeface="+mn-lt"/>
                <a:ea typeface="+mn-ea"/>
              </a:rPr>
              <a:t>2000-06</a:t>
            </a:r>
            <a:endParaRPr kumimoji="1" lang="zh-CN" altLang="en-US" sz="2000" b="1" dirty="0">
              <a:latin typeface="+mn-lt"/>
              <a:ea typeface="+mn-ea"/>
            </a:endParaRPr>
          </a:p>
        </p:txBody>
      </p:sp>
      <p:sp>
        <p:nvSpPr>
          <p:cNvPr id="120" name="文本框 119"/>
          <p:cNvSpPr txBox="1"/>
          <p:nvPr/>
        </p:nvSpPr>
        <p:spPr bwMode="auto">
          <a:xfrm>
            <a:off x="1019436" y="4317401"/>
            <a:ext cx="1458776" cy="276999"/>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800" b="1" dirty="0" smtClean="0">
                <a:latin typeface="+mn-lt"/>
                <a:ea typeface="+mn-ea"/>
              </a:rPr>
              <a:t>江苏省南京市</a:t>
            </a:r>
            <a:endParaRPr kumimoji="1" lang="zh-CN" altLang="en-US" sz="2000" b="1" dirty="0">
              <a:latin typeface="+mn-lt"/>
              <a:ea typeface="+mn-ea"/>
            </a:endParaRPr>
          </a:p>
        </p:txBody>
      </p:sp>
      <p:sp>
        <p:nvSpPr>
          <p:cNvPr id="121" name="文本框 120"/>
          <p:cNvSpPr txBox="1"/>
          <p:nvPr/>
        </p:nvSpPr>
        <p:spPr bwMode="auto">
          <a:xfrm>
            <a:off x="3740793" y="4806545"/>
            <a:ext cx="1052711" cy="553998"/>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800" b="1" dirty="0" smtClean="0">
                <a:latin typeface="+mn-lt"/>
                <a:ea typeface="+mn-ea"/>
              </a:rPr>
              <a:t>计算机系</a:t>
            </a:r>
            <a:r>
              <a:rPr kumimoji="1" lang="en-US" altLang="zh-CN" sz="1800" b="1" dirty="0" smtClean="0">
                <a:latin typeface="+mn-lt"/>
                <a:ea typeface="+mn-ea"/>
              </a:rPr>
              <a:t>2020</a:t>
            </a:r>
            <a:r>
              <a:rPr kumimoji="1" lang="zh-CN" altLang="en-US" sz="1800" b="1" dirty="0" smtClean="0">
                <a:latin typeface="+mn-lt"/>
                <a:ea typeface="+mn-ea"/>
              </a:rPr>
              <a:t>级</a:t>
            </a:r>
            <a:endParaRPr kumimoji="1" lang="zh-CN" altLang="en-US" sz="2000" b="1" dirty="0">
              <a:latin typeface="+mn-lt"/>
              <a:ea typeface="+mn-ea"/>
            </a:endParaRPr>
          </a:p>
        </p:txBody>
      </p:sp>
      <p:sp>
        <p:nvSpPr>
          <p:cNvPr id="122" name="下箭头 121"/>
          <p:cNvSpPr/>
          <p:nvPr/>
        </p:nvSpPr>
        <p:spPr bwMode="auto">
          <a:xfrm rot="16200000">
            <a:off x="5803659" y="2888319"/>
            <a:ext cx="216024" cy="1220673"/>
          </a:xfrm>
          <a:prstGeom prst="downArrow">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effectLst/>
              <a:latin typeface="FrutigerNext LT Regular" pitchFamily="34" charset="0"/>
              <a:ea typeface="宋体" panose="02010600030101010101" pitchFamily="2" charset="-122"/>
            </a:endParaRPr>
          </a:p>
        </p:txBody>
      </p:sp>
      <p:sp>
        <p:nvSpPr>
          <p:cNvPr id="123" name="文本框 122"/>
          <p:cNvSpPr txBox="1"/>
          <p:nvPr/>
        </p:nvSpPr>
        <p:spPr bwMode="auto">
          <a:xfrm>
            <a:off x="6343324" y="3338276"/>
            <a:ext cx="5074836"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b="1" dirty="0" smtClean="0">
                <a:latin typeface="+mn-lt"/>
                <a:ea typeface="+mn-ea"/>
              </a:rPr>
              <a:t>（李明，男，</a:t>
            </a:r>
            <a:r>
              <a:rPr kumimoji="1" lang="en-US" altLang="zh-CN" sz="1400" b="1" dirty="0" smtClean="0">
                <a:latin typeface="+mn-lt"/>
                <a:ea typeface="+mn-ea"/>
              </a:rPr>
              <a:t>2000-06</a:t>
            </a:r>
            <a:r>
              <a:rPr kumimoji="1" lang="zh-CN" altLang="en-US" sz="1400" b="1" dirty="0" smtClean="0">
                <a:latin typeface="+mn-lt"/>
                <a:ea typeface="+mn-ea"/>
              </a:rPr>
              <a:t>，江苏省南京市，计算机系，</a:t>
            </a:r>
            <a:r>
              <a:rPr kumimoji="1" lang="en-US" altLang="zh-CN" sz="1400" b="1" dirty="0" smtClean="0">
                <a:latin typeface="+mn-lt"/>
                <a:ea typeface="+mn-ea"/>
              </a:rPr>
              <a:t>2020</a:t>
            </a:r>
            <a:r>
              <a:rPr kumimoji="1" lang="zh-CN" altLang="en-US" sz="1400" b="1" dirty="0" smtClean="0">
                <a:latin typeface="+mn-lt"/>
                <a:ea typeface="+mn-ea"/>
              </a:rPr>
              <a:t>）</a:t>
            </a:r>
            <a:endParaRPr kumimoji="1" lang="zh-CN" altLang="en-US" sz="1600" b="1" dirty="0">
              <a:latin typeface="+mn-lt"/>
              <a:ea typeface="+mn-ea"/>
            </a:endParaRPr>
          </a:p>
        </p:txBody>
      </p:sp>
      <p:sp>
        <p:nvSpPr>
          <p:cNvPr id="134" name="文本框 133"/>
          <p:cNvSpPr txBox="1"/>
          <p:nvPr/>
        </p:nvSpPr>
        <p:spPr bwMode="auto">
          <a:xfrm>
            <a:off x="8552002" y="3629608"/>
            <a:ext cx="328740" cy="246221"/>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en-US" altLang="zh-CN" sz="1600" b="1" dirty="0" smtClean="0">
                <a:solidFill>
                  <a:srgbClr val="990000"/>
                </a:solidFill>
                <a:latin typeface="+mn-lt"/>
                <a:ea typeface="+mn-ea"/>
              </a:rPr>
              <a:t>…</a:t>
            </a:r>
            <a:endParaRPr kumimoji="1" lang="zh-CN" altLang="en-US" sz="1600" b="1" dirty="0">
              <a:solidFill>
                <a:srgbClr val="990000"/>
              </a:solidFill>
              <a:latin typeface="+mn-lt"/>
              <a:ea typeface="+mn-ea"/>
            </a:endParaRPr>
          </a:p>
        </p:txBody>
      </p:sp>
      <p:grpSp>
        <p:nvGrpSpPr>
          <p:cNvPr id="59" name="组合 58"/>
          <p:cNvGrpSpPr/>
          <p:nvPr/>
        </p:nvGrpSpPr>
        <p:grpSpPr>
          <a:xfrm>
            <a:off x="8118346" y="4458740"/>
            <a:ext cx="1196052" cy="1291968"/>
            <a:chOff x="8250380" y="4336597"/>
            <a:chExt cx="1196052" cy="1291968"/>
          </a:xfrm>
        </p:grpSpPr>
        <p:sp>
          <p:nvSpPr>
            <p:cNvPr id="56" name="流程图: 磁盘 55"/>
            <p:cNvSpPr/>
            <p:nvPr/>
          </p:nvSpPr>
          <p:spPr bwMode="auto">
            <a:xfrm>
              <a:off x="8250380" y="4336597"/>
              <a:ext cx="1196052" cy="1291968"/>
            </a:xfrm>
            <a:prstGeom prst="flowChartMagneticDisk">
              <a:avLst/>
            </a:prstGeom>
            <a:noFill/>
            <a:ln w="28575" cap="flat" cmpd="sng" algn="ctr">
              <a:solidFill>
                <a:srgbClr val="006699"/>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latin typeface="FrutigerNext LT Regular" pitchFamily="34" charset="0"/>
                <a:ea typeface="宋体" panose="02010600030101010101" pitchFamily="2" charset="-122"/>
              </a:endParaRPr>
            </a:p>
          </p:txBody>
        </p:sp>
        <p:grpSp>
          <p:nvGrpSpPr>
            <p:cNvPr id="138" name="Document"/>
            <p:cNvGrpSpPr>
              <a:grpSpLocks noChangeAspect="1"/>
            </p:cNvGrpSpPr>
            <p:nvPr>
              <p:custDataLst>
                <p:tags r:id="rId51"/>
              </p:custDataLst>
            </p:nvPr>
          </p:nvGrpSpPr>
          <p:grpSpPr bwMode="auto">
            <a:xfrm>
              <a:off x="8337883" y="5030860"/>
              <a:ext cx="280200" cy="350645"/>
              <a:chOff x="2744" y="780"/>
              <a:chExt cx="2132" cy="2668"/>
            </a:xfrm>
            <a:solidFill>
              <a:srgbClr val="006699"/>
            </a:solidFill>
          </p:grpSpPr>
          <p:sp>
            <p:nvSpPr>
              <p:cNvPr id="139" name="Freeform 19"/>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20"/>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1" name="Document"/>
            <p:cNvGrpSpPr>
              <a:grpSpLocks noChangeAspect="1"/>
            </p:cNvGrpSpPr>
            <p:nvPr>
              <p:custDataLst>
                <p:tags r:id="rId52"/>
              </p:custDataLst>
            </p:nvPr>
          </p:nvGrpSpPr>
          <p:grpSpPr bwMode="auto">
            <a:xfrm>
              <a:off x="8709358" y="4831256"/>
              <a:ext cx="280200" cy="350645"/>
              <a:chOff x="2744" y="780"/>
              <a:chExt cx="2132" cy="2668"/>
            </a:xfrm>
            <a:solidFill>
              <a:srgbClr val="006699"/>
            </a:solidFill>
          </p:grpSpPr>
          <p:sp>
            <p:nvSpPr>
              <p:cNvPr id="142" name="Freeform 19"/>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20"/>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44" name="Document"/>
            <p:cNvGrpSpPr>
              <a:grpSpLocks noChangeAspect="1"/>
            </p:cNvGrpSpPr>
            <p:nvPr>
              <p:custDataLst>
                <p:tags r:id="rId53"/>
              </p:custDataLst>
            </p:nvPr>
          </p:nvGrpSpPr>
          <p:grpSpPr bwMode="auto">
            <a:xfrm>
              <a:off x="9061212" y="5108533"/>
              <a:ext cx="280200" cy="350645"/>
              <a:chOff x="2744" y="780"/>
              <a:chExt cx="2132" cy="2668"/>
            </a:xfrm>
            <a:solidFill>
              <a:srgbClr val="006699"/>
            </a:solidFill>
          </p:grpSpPr>
          <p:sp>
            <p:nvSpPr>
              <p:cNvPr id="145" name="Freeform 19"/>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20"/>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cxnSp>
        <p:nvCxnSpPr>
          <p:cNvPr id="63" name="直接连接符 62"/>
          <p:cNvCxnSpPr/>
          <p:nvPr/>
        </p:nvCxnSpPr>
        <p:spPr bwMode="auto">
          <a:xfrm flipH="1" flipV="1">
            <a:off x="2478212" y="2721690"/>
            <a:ext cx="341424" cy="275262"/>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49" name="直接连接符 148"/>
          <p:cNvCxnSpPr/>
          <p:nvPr/>
        </p:nvCxnSpPr>
        <p:spPr bwMode="auto">
          <a:xfrm flipV="1">
            <a:off x="3464909" y="2461284"/>
            <a:ext cx="602857" cy="398037"/>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50" name="直接连接符 149"/>
          <p:cNvCxnSpPr/>
          <p:nvPr/>
        </p:nvCxnSpPr>
        <p:spPr bwMode="auto">
          <a:xfrm flipV="1">
            <a:off x="4066833" y="2461284"/>
            <a:ext cx="544022" cy="1"/>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52" name="直接连接符 151"/>
          <p:cNvCxnSpPr/>
          <p:nvPr/>
        </p:nvCxnSpPr>
        <p:spPr bwMode="auto">
          <a:xfrm flipV="1">
            <a:off x="1912516" y="2731632"/>
            <a:ext cx="544022" cy="1"/>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53" name="直接连接符 152"/>
          <p:cNvCxnSpPr/>
          <p:nvPr/>
        </p:nvCxnSpPr>
        <p:spPr bwMode="auto">
          <a:xfrm flipV="1">
            <a:off x="4362006" y="4335685"/>
            <a:ext cx="939328" cy="2"/>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55" name="直接连接符 154"/>
          <p:cNvCxnSpPr/>
          <p:nvPr/>
        </p:nvCxnSpPr>
        <p:spPr bwMode="auto">
          <a:xfrm>
            <a:off x="3635305" y="3969516"/>
            <a:ext cx="703539" cy="366169"/>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58" name="直接连接符 157"/>
          <p:cNvCxnSpPr/>
          <p:nvPr/>
        </p:nvCxnSpPr>
        <p:spPr bwMode="auto">
          <a:xfrm flipH="1">
            <a:off x="2547165" y="4034085"/>
            <a:ext cx="319474" cy="651109"/>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61" name="直接连接符 160"/>
          <p:cNvCxnSpPr/>
          <p:nvPr/>
        </p:nvCxnSpPr>
        <p:spPr bwMode="auto">
          <a:xfrm flipH="1">
            <a:off x="1051251" y="4685194"/>
            <a:ext cx="1495914" cy="0"/>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64" name="直接连接符 163"/>
          <p:cNvCxnSpPr/>
          <p:nvPr/>
        </p:nvCxnSpPr>
        <p:spPr bwMode="auto">
          <a:xfrm flipH="1">
            <a:off x="3714723" y="5406984"/>
            <a:ext cx="966637" cy="0"/>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cxnSp>
        <p:nvCxnSpPr>
          <p:cNvPr id="166" name="直接连接符 165"/>
          <p:cNvCxnSpPr/>
          <p:nvPr/>
        </p:nvCxnSpPr>
        <p:spPr bwMode="auto">
          <a:xfrm flipH="1" flipV="1">
            <a:off x="3421560" y="4819373"/>
            <a:ext cx="291060" cy="587611"/>
          </a:xfrm>
          <a:prstGeom prst="line">
            <a:avLst/>
          </a:prstGeom>
          <a:solidFill>
            <a:schemeClr val="accent1"/>
          </a:solidFill>
          <a:ln w="28575" cap="flat" cmpd="sng" algn="ctr">
            <a:solidFill>
              <a:schemeClr val="tx1"/>
            </a:solidFill>
            <a:prstDash val="sysDash"/>
            <a:round/>
            <a:headEnd type="none" w="med" len="med"/>
            <a:tailEnd type="none" w="med" len="med"/>
          </a:ln>
          <a:effectLst>
            <a:outerShdw blurRad="50800" dist="38100" dir="2700000" algn="tl" rotWithShape="0">
              <a:prstClr val="black">
                <a:alpha val="40000"/>
              </a:prstClr>
            </a:outerShdw>
          </a:effectLst>
        </p:spPr>
      </p:cxnSp>
      <p:sp>
        <p:nvSpPr>
          <p:cNvPr id="169" name="文本框 168"/>
          <p:cNvSpPr txBox="1"/>
          <p:nvPr/>
        </p:nvSpPr>
        <p:spPr bwMode="auto">
          <a:xfrm>
            <a:off x="8002243" y="5794344"/>
            <a:ext cx="1515264"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en-US" altLang="zh-CN" sz="1400" b="1" dirty="0" smtClean="0">
                <a:solidFill>
                  <a:srgbClr val="006699"/>
                </a:solidFill>
                <a:latin typeface="+mn-lt"/>
                <a:ea typeface="+mn-ea"/>
              </a:rPr>
              <a:t>2020</a:t>
            </a:r>
            <a:r>
              <a:rPr kumimoji="1" lang="zh-CN" altLang="en-US" sz="1400" b="1" dirty="0" smtClean="0">
                <a:solidFill>
                  <a:srgbClr val="006699"/>
                </a:solidFill>
                <a:latin typeface="+mn-lt"/>
                <a:ea typeface="+mn-ea"/>
              </a:rPr>
              <a:t>级学生信息库</a:t>
            </a:r>
            <a:endParaRPr kumimoji="1" lang="zh-CN" altLang="en-US" sz="1600" b="1" dirty="0">
              <a:solidFill>
                <a:srgbClr val="006699"/>
              </a:solidFill>
              <a:latin typeface="+mn-lt"/>
              <a:ea typeface="+mn-ea"/>
            </a:endParaRPr>
          </a:p>
        </p:txBody>
      </p:sp>
      <p:sp>
        <p:nvSpPr>
          <p:cNvPr id="86" name="Arrow10"/>
          <p:cNvSpPr>
            <a:spLocks noChangeAspect="1" noEditPoints="1"/>
          </p:cNvSpPr>
          <p:nvPr>
            <p:custDataLst>
              <p:tags r:id="rId54"/>
            </p:custDataLst>
          </p:nvPr>
        </p:nvSpPr>
        <p:spPr bwMode="auto">
          <a:xfrm>
            <a:off x="8488480" y="3916686"/>
            <a:ext cx="480658" cy="495998"/>
          </a:xfrm>
          <a:custGeom>
            <a:avLst/>
            <a:gdLst>
              <a:gd name="T0" fmla="*/ 2906 w 2920"/>
              <a:gd name="T1" fmla="*/ 1389 h 3012"/>
              <a:gd name="T2" fmla="*/ 2826 w 2920"/>
              <a:gd name="T3" fmla="*/ 1337 h 3012"/>
              <a:gd name="T4" fmla="*/ 2135 w 2920"/>
              <a:gd name="T5" fmla="*/ 1337 h 3012"/>
              <a:gd name="T6" fmla="*/ 2411 w 2920"/>
              <a:gd name="T7" fmla="*/ 105 h 3012"/>
              <a:gd name="T8" fmla="*/ 2394 w 2920"/>
              <a:gd name="T9" fmla="*/ 32 h 3012"/>
              <a:gd name="T10" fmla="*/ 2326 w 2920"/>
              <a:gd name="T11" fmla="*/ 0 h 3012"/>
              <a:gd name="T12" fmla="*/ 593 w 2920"/>
              <a:gd name="T13" fmla="*/ 0 h 3012"/>
              <a:gd name="T14" fmla="*/ 525 w 2920"/>
              <a:gd name="T15" fmla="*/ 32 h 3012"/>
              <a:gd name="T16" fmla="*/ 509 w 2920"/>
              <a:gd name="T17" fmla="*/ 105 h 3012"/>
              <a:gd name="T18" fmla="*/ 785 w 2920"/>
              <a:gd name="T19" fmla="*/ 1337 h 3012"/>
              <a:gd name="T20" fmla="*/ 93 w 2920"/>
              <a:gd name="T21" fmla="*/ 1337 h 3012"/>
              <a:gd name="T22" fmla="*/ 14 w 2920"/>
              <a:gd name="T23" fmla="*/ 1389 h 3012"/>
              <a:gd name="T24" fmla="*/ 29 w 2920"/>
              <a:gd name="T25" fmla="*/ 1482 h 3012"/>
              <a:gd name="T26" fmla="*/ 1395 w 2920"/>
              <a:gd name="T27" fmla="*/ 2983 h 3012"/>
              <a:gd name="T28" fmla="*/ 1460 w 2920"/>
              <a:gd name="T29" fmla="*/ 3012 h 3012"/>
              <a:gd name="T30" fmla="*/ 1524 w 2920"/>
              <a:gd name="T31" fmla="*/ 2983 h 3012"/>
              <a:gd name="T32" fmla="*/ 2891 w 2920"/>
              <a:gd name="T33" fmla="*/ 1482 h 3012"/>
              <a:gd name="T34" fmla="*/ 2906 w 2920"/>
              <a:gd name="T35" fmla="*/ 1389 h 3012"/>
              <a:gd name="T36" fmla="*/ 1460 w 2920"/>
              <a:gd name="T37" fmla="*/ 2795 h 3012"/>
              <a:gd name="T38" fmla="*/ 1460 w 2920"/>
              <a:gd name="T39" fmla="*/ 2796 h 3012"/>
              <a:gd name="T40" fmla="*/ 1459 w 2920"/>
              <a:gd name="T41" fmla="*/ 2796 h 3012"/>
              <a:gd name="T42" fmla="*/ 1459 w 2920"/>
              <a:gd name="T43" fmla="*/ 2796 h 3012"/>
              <a:gd name="T44" fmla="*/ 1459 w 2920"/>
              <a:gd name="T45" fmla="*/ 2795 h 3012"/>
              <a:gd name="T46" fmla="*/ 289 w 2920"/>
              <a:gd name="T47" fmla="*/ 1510 h 3012"/>
              <a:gd name="T48" fmla="*/ 1002 w 2920"/>
              <a:gd name="T49" fmla="*/ 1510 h 3012"/>
              <a:gd name="T50" fmla="*/ 702 w 2920"/>
              <a:gd name="T51" fmla="*/ 173 h 3012"/>
              <a:gd name="T52" fmla="*/ 2218 w 2920"/>
              <a:gd name="T53" fmla="*/ 173 h 3012"/>
              <a:gd name="T54" fmla="*/ 1919 w 2920"/>
              <a:gd name="T55" fmla="*/ 1510 h 3012"/>
              <a:gd name="T56" fmla="*/ 2629 w 2920"/>
              <a:gd name="T57" fmla="*/ 1510 h 3012"/>
              <a:gd name="T58" fmla="*/ 1460 w 2920"/>
              <a:gd name="T59" fmla="*/ 2795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20" h="3012">
                <a:moveTo>
                  <a:pt x="2906" y="1389"/>
                </a:moveTo>
                <a:cubicBezTo>
                  <a:pt x="2892" y="1357"/>
                  <a:pt x="2861" y="1337"/>
                  <a:pt x="2826" y="1337"/>
                </a:cubicBezTo>
                <a:lnTo>
                  <a:pt x="2135" y="1337"/>
                </a:lnTo>
                <a:lnTo>
                  <a:pt x="2411" y="105"/>
                </a:lnTo>
                <a:cubicBezTo>
                  <a:pt x="2417" y="80"/>
                  <a:pt x="2410" y="53"/>
                  <a:pt x="2394" y="32"/>
                </a:cubicBezTo>
                <a:cubicBezTo>
                  <a:pt x="2377" y="12"/>
                  <a:pt x="2352" y="0"/>
                  <a:pt x="2326" y="0"/>
                </a:cubicBezTo>
                <a:lnTo>
                  <a:pt x="593" y="0"/>
                </a:lnTo>
                <a:cubicBezTo>
                  <a:pt x="567" y="0"/>
                  <a:pt x="542" y="12"/>
                  <a:pt x="525" y="32"/>
                </a:cubicBezTo>
                <a:cubicBezTo>
                  <a:pt x="509" y="53"/>
                  <a:pt x="503" y="80"/>
                  <a:pt x="509" y="105"/>
                </a:cubicBezTo>
                <a:lnTo>
                  <a:pt x="785" y="1337"/>
                </a:lnTo>
                <a:lnTo>
                  <a:pt x="93" y="1337"/>
                </a:lnTo>
                <a:cubicBezTo>
                  <a:pt x="59" y="1337"/>
                  <a:pt x="28" y="1357"/>
                  <a:pt x="14" y="1389"/>
                </a:cubicBezTo>
                <a:cubicBezTo>
                  <a:pt x="0" y="1420"/>
                  <a:pt x="6" y="1457"/>
                  <a:pt x="29" y="1482"/>
                </a:cubicBezTo>
                <a:lnTo>
                  <a:pt x="1395" y="2983"/>
                </a:lnTo>
                <a:cubicBezTo>
                  <a:pt x="1412" y="3001"/>
                  <a:pt x="1435" y="3012"/>
                  <a:pt x="1460" y="3012"/>
                </a:cubicBezTo>
                <a:cubicBezTo>
                  <a:pt x="1484" y="3012"/>
                  <a:pt x="1507" y="3001"/>
                  <a:pt x="1524" y="2983"/>
                </a:cubicBezTo>
                <a:lnTo>
                  <a:pt x="2891" y="1482"/>
                </a:lnTo>
                <a:cubicBezTo>
                  <a:pt x="2914" y="1457"/>
                  <a:pt x="2920" y="1420"/>
                  <a:pt x="2906" y="1389"/>
                </a:cubicBezTo>
                <a:close/>
                <a:moveTo>
                  <a:pt x="1460" y="2795"/>
                </a:moveTo>
                <a:lnTo>
                  <a:pt x="1460" y="2796"/>
                </a:lnTo>
                <a:lnTo>
                  <a:pt x="1459" y="2796"/>
                </a:lnTo>
                <a:lnTo>
                  <a:pt x="1459" y="2796"/>
                </a:lnTo>
                <a:lnTo>
                  <a:pt x="1459" y="2795"/>
                </a:lnTo>
                <a:lnTo>
                  <a:pt x="289" y="1510"/>
                </a:lnTo>
                <a:lnTo>
                  <a:pt x="1002" y="1510"/>
                </a:lnTo>
                <a:lnTo>
                  <a:pt x="702" y="173"/>
                </a:lnTo>
                <a:lnTo>
                  <a:pt x="2218" y="173"/>
                </a:lnTo>
                <a:lnTo>
                  <a:pt x="1919" y="1510"/>
                </a:lnTo>
                <a:lnTo>
                  <a:pt x="2629" y="1510"/>
                </a:lnTo>
                <a:lnTo>
                  <a:pt x="1460" y="2795"/>
                </a:lnTo>
                <a:close/>
              </a:path>
            </a:pathLst>
          </a:custGeom>
          <a:solidFill>
            <a:schemeClr val="tx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lstStyle/>
          <a:p>
            <a:endParaRPr lang="en-US" dirty="0">
              <a:solidFill>
                <a:srgbClr val="990000"/>
              </a:solidFill>
              <a:ea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mn-lt"/>
                <a:ea typeface="+mn-ea"/>
                <a:cs typeface="+mn-ea"/>
                <a:sym typeface="+mn-lt"/>
              </a:rPr>
              <a:t>数据库 </a:t>
            </a:r>
            <a:r>
              <a:rPr lang="en-US" altLang="zh-CN" dirty="0" smtClean="0">
                <a:latin typeface="+mn-lt"/>
                <a:ea typeface="+mn-ea"/>
                <a:cs typeface="+mn-ea"/>
                <a:sym typeface="+mn-lt"/>
              </a:rPr>
              <a:t>(Database, DB)</a:t>
            </a:r>
            <a:endParaRPr lang="zh-CN" altLang="en-US" dirty="0">
              <a:latin typeface="+mn-lt"/>
              <a:ea typeface="+mn-ea"/>
              <a:cs typeface="+mn-ea"/>
              <a:sym typeface="+mn-lt"/>
            </a:endParaRPr>
          </a:p>
        </p:txBody>
      </p:sp>
      <p:sp>
        <p:nvSpPr>
          <p:cNvPr id="3" name="文本占位符 2"/>
          <p:cNvSpPr>
            <a:spLocks noGrp="1"/>
          </p:cNvSpPr>
          <p:nvPr>
            <p:ph type="body" sz="quarter" idx="10"/>
          </p:nvPr>
        </p:nvSpPr>
        <p:spPr>
          <a:ln>
            <a:solidFill>
              <a:schemeClr val="bg1"/>
            </a:solidFill>
          </a:ln>
        </p:spPr>
        <p:txBody>
          <a:bodyPr/>
          <a:lstStyle/>
          <a:p>
            <a:r>
              <a:rPr lang="zh-CN" altLang="en-US" sz="2000" dirty="0" smtClean="0">
                <a:latin typeface="+mn-lt"/>
                <a:ea typeface="+mn-ea"/>
                <a:cs typeface="+mn-ea"/>
                <a:sym typeface="+mn-lt"/>
              </a:rPr>
              <a:t>数据库是存放数据的仓库，是大量数据的集合。</a:t>
            </a:r>
            <a:endParaRPr lang="en-US" altLang="zh-CN" sz="2000" dirty="0" smtClean="0">
              <a:latin typeface="+mn-lt"/>
              <a:ea typeface="+mn-ea"/>
              <a:cs typeface="+mn-ea"/>
              <a:sym typeface="+mn-lt"/>
            </a:endParaRPr>
          </a:p>
          <a:p>
            <a:r>
              <a:rPr lang="zh-CN" altLang="en-US" sz="2000" dirty="0">
                <a:latin typeface="+mn-lt"/>
                <a:ea typeface="+mn-ea"/>
                <a:cs typeface="+mn-ea"/>
                <a:sym typeface="+mn-lt"/>
              </a:rPr>
              <a:t>存放在数据库中数据的特点</a:t>
            </a:r>
            <a:endParaRPr lang="en-US" altLang="zh-CN" sz="2000" dirty="0">
              <a:latin typeface="+mn-lt"/>
              <a:ea typeface="+mn-ea"/>
              <a:cs typeface="+mn-ea"/>
              <a:sym typeface="+mn-lt"/>
            </a:endParaRPr>
          </a:p>
          <a:p>
            <a:pPr lvl="1"/>
            <a:r>
              <a:rPr lang="zh-CN" altLang="en-US" dirty="0" smtClean="0">
                <a:latin typeface="+mn-lt"/>
                <a:ea typeface="+mn-ea"/>
                <a:cs typeface="+mn-ea"/>
                <a:sym typeface="+mn-lt"/>
              </a:rPr>
              <a:t>永久存储</a:t>
            </a:r>
            <a:endParaRPr lang="en-US" altLang="zh-CN" dirty="0" smtClean="0">
              <a:latin typeface="+mn-lt"/>
              <a:ea typeface="+mn-ea"/>
              <a:cs typeface="+mn-ea"/>
              <a:sym typeface="+mn-lt"/>
            </a:endParaRPr>
          </a:p>
          <a:p>
            <a:pPr lvl="1"/>
            <a:r>
              <a:rPr lang="zh-CN" altLang="en-US" dirty="0">
                <a:latin typeface="+mn-lt"/>
                <a:ea typeface="+mn-ea"/>
                <a:cs typeface="+mn-ea"/>
                <a:sym typeface="+mn-lt"/>
              </a:rPr>
              <a:t>有</a:t>
            </a:r>
            <a:r>
              <a:rPr lang="zh-CN" altLang="en-US" dirty="0" smtClean="0">
                <a:latin typeface="+mn-lt"/>
                <a:ea typeface="+mn-ea"/>
                <a:cs typeface="+mn-ea"/>
                <a:sym typeface="+mn-lt"/>
              </a:rPr>
              <a:t>组织</a:t>
            </a:r>
            <a:endParaRPr lang="en-US" altLang="zh-CN" dirty="0" smtClean="0">
              <a:latin typeface="+mn-lt"/>
              <a:ea typeface="+mn-ea"/>
              <a:cs typeface="+mn-ea"/>
              <a:sym typeface="+mn-lt"/>
            </a:endParaRPr>
          </a:p>
          <a:p>
            <a:pPr lvl="1"/>
            <a:r>
              <a:rPr lang="zh-CN" altLang="en-US" dirty="0" smtClean="0">
                <a:latin typeface="+mn-lt"/>
                <a:ea typeface="+mn-ea"/>
                <a:cs typeface="+mn-ea"/>
                <a:sym typeface="+mn-lt"/>
              </a:rPr>
              <a:t>可共享</a:t>
            </a:r>
            <a:endParaRPr lang="en-US" altLang="zh-CN"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grpSp>
        <p:nvGrpSpPr>
          <p:cNvPr id="74" name="组合 73"/>
          <p:cNvGrpSpPr/>
          <p:nvPr/>
        </p:nvGrpSpPr>
        <p:grpSpPr>
          <a:xfrm>
            <a:off x="4115780" y="2996952"/>
            <a:ext cx="1196052" cy="1291968"/>
            <a:chOff x="8250380" y="4336597"/>
            <a:chExt cx="1196052" cy="1291968"/>
          </a:xfrm>
          <a:effectLst>
            <a:outerShdw blurRad="50800" dist="38100" dir="2700000" algn="tl" rotWithShape="0">
              <a:prstClr val="black">
                <a:alpha val="40000"/>
              </a:prstClr>
            </a:outerShdw>
          </a:effectLst>
        </p:grpSpPr>
        <p:sp>
          <p:nvSpPr>
            <p:cNvPr id="76" name="流程图: 磁盘 75"/>
            <p:cNvSpPr/>
            <p:nvPr/>
          </p:nvSpPr>
          <p:spPr bwMode="auto">
            <a:xfrm>
              <a:off x="8250380" y="4336597"/>
              <a:ext cx="1196052" cy="1291968"/>
            </a:xfrm>
            <a:prstGeom prst="flowChartMagneticDisk">
              <a:avLst/>
            </a:prstGeom>
            <a:noFill/>
            <a:ln w="28575" cap="flat" cmpd="sng" algn="ctr">
              <a:solidFill>
                <a:srgbClr val="006699"/>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914400" rtl="0" eaLnBrk="1" fontAlgn="t" latinLnBrk="0" hangingPunct="1">
                <a:lnSpc>
                  <a:spcPct val="100000"/>
                </a:lnSpc>
                <a:spcBef>
                  <a:spcPct val="0"/>
                </a:spcBef>
                <a:spcAft>
                  <a:spcPct val="0"/>
                </a:spcAft>
                <a:buClrTx/>
                <a:buSzTx/>
                <a:buFontTx/>
                <a:buNone/>
              </a:pPr>
              <a:endParaRPr kumimoji="0" lang="zh-CN" altLang="en-US" sz="1000" b="0" i="0" u="none" strike="noStrike" cap="none" normalizeH="0" baseline="0" smtClean="0">
                <a:ln>
                  <a:noFill/>
                </a:ln>
                <a:solidFill>
                  <a:schemeClr val="tx1"/>
                </a:solidFill>
                <a:effectLst/>
                <a:cs typeface="+mn-ea"/>
                <a:sym typeface="+mn-lt"/>
              </a:endParaRPr>
            </a:p>
          </p:txBody>
        </p:sp>
        <p:grpSp>
          <p:nvGrpSpPr>
            <p:cNvPr id="77" name="Document"/>
            <p:cNvGrpSpPr>
              <a:grpSpLocks noChangeAspect="1"/>
            </p:cNvGrpSpPr>
            <p:nvPr>
              <p:custDataLst>
                <p:tags r:id="rId47"/>
              </p:custDataLst>
            </p:nvPr>
          </p:nvGrpSpPr>
          <p:grpSpPr bwMode="auto">
            <a:xfrm>
              <a:off x="8337883" y="5030860"/>
              <a:ext cx="280200" cy="350645"/>
              <a:chOff x="2744" y="780"/>
              <a:chExt cx="2132" cy="2668"/>
            </a:xfrm>
            <a:solidFill>
              <a:srgbClr val="006699"/>
            </a:solidFill>
          </p:grpSpPr>
          <p:sp>
            <p:nvSpPr>
              <p:cNvPr id="84" name="Freeform 19"/>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5" name="Freeform 20"/>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grpSp>
        <p:grpSp>
          <p:nvGrpSpPr>
            <p:cNvPr id="78" name="Document"/>
            <p:cNvGrpSpPr>
              <a:grpSpLocks noChangeAspect="1"/>
            </p:cNvGrpSpPr>
            <p:nvPr>
              <p:custDataLst>
                <p:tags r:id="rId48"/>
              </p:custDataLst>
            </p:nvPr>
          </p:nvGrpSpPr>
          <p:grpSpPr bwMode="auto">
            <a:xfrm>
              <a:off x="8709358" y="4831256"/>
              <a:ext cx="280200" cy="350645"/>
              <a:chOff x="2744" y="780"/>
              <a:chExt cx="2132" cy="2668"/>
            </a:xfrm>
            <a:solidFill>
              <a:srgbClr val="006699"/>
            </a:solidFill>
          </p:grpSpPr>
          <p:sp>
            <p:nvSpPr>
              <p:cNvPr id="82" name="Freeform 19"/>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3" name="Freeform 20"/>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grpSp>
        <p:grpSp>
          <p:nvGrpSpPr>
            <p:cNvPr id="79" name="Document"/>
            <p:cNvGrpSpPr>
              <a:grpSpLocks noChangeAspect="1"/>
            </p:cNvGrpSpPr>
            <p:nvPr>
              <p:custDataLst>
                <p:tags r:id="rId49"/>
              </p:custDataLst>
            </p:nvPr>
          </p:nvGrpSpPr>
          <p:grpSpPr bwMode="auto">
            <a:xfrm>
              <a:off x="9061212" y="5108533"/>
              <a:ext cx="280200" cy="350645"/>
              <a:chOff x="2744" y="780"/>
              <a:chExt cx="2132" cy="2668"/>
            </a:xfrm>
            <a:solidFill>
              <a:srgbClr val="006699"/>
            </a:solidFill>
          </p:grpSpPr>
          <p:sp>
            <p:nvSpPr>
              <p:cNvPr id="80" name="Freeform 19"/>
              <p:cNvSpPr>
                <a:spLocks noEditPoints="1"/>
              </p:cNvSpPr>
              <p:nvPr/>
            </p:nvSpPr>
            <p:spPr bwMode="auto">
              <a:xfrm>
                <a:off x="2744" y="795"/>
                <a:ext cx="2116" cy="2653"/>
              </a:xfrm>
              <a:custGeom>
                <a:avLst/>
                <a:gdLst>
                  <a:gd name="T0" fmla="*/ 433 w 533"/>
                  <a:gd name="T1" fmla="*/ 283 h 667"/>
                  <a:gd name="T2" fmla="*/ 100 w 533"/>
                  <a:gd name="T3" fmla="*/ 283 h 667"/>
                  <a:gd name="T4" fmla="*/ 100 w 533"/>
                  <a:gd name="T5" fmla="*/ 250 h 667"/>
                  <a:gd name="T6" fmla="*/ 433 w 533"/>
                  <a:gd name="T7" fmla="*/ 250 h 667"/>
                  <a:gd name="T8" fmla="*/ 433 w 533"/>
                  <a:gd name="T9" fmla="*/ 283 h 667"/>
                  <a:gd name="T10" fmla="*/ 433 w 533"/>
                  <a:gd name="T11" fmla="*/ 367 h 667"/>
                  <a:gd name="T12" fmla="*/ 100 w 533"/>
                  <a:gd name="T13" fmla="*/ 367 h 667"/>
                  <a:gd name="T14" fmla="*/ 100 w 533"/>
                  <a:gd name="T15" fmla="*/ 333 h 667"/>
                  <a:gd name="T16" fmla="*/ 433 w 533"/>
                  <a:gd name="T17" fmla="*/ 333 h 667"/>
                  <a:gd name="T18" fmla="*/ 433 w 533"/>
                  <a:gd name="T19" fmla="*/ 367 h 667"/>
                  <a:gd name="T20" fmla="*/ 433 w 533"/>
                  <a:gd name="T21" fmla="*/ 450 h 667"/>
                  <a:gd name="T22" fmla="*/ 100 w 533"/>
                  <a:gd name="T23" fmla="*/ 450 h 667"/>
                  <a:gd name="T24" fmla="*/ 100 w 533"/>
                  <a:gd name="T25" fmla="*/ 417 h 667"/>
                  <a:gd name="T26" fmla="*/ 433 w 533"/>
                  <a:gd name="T27" fmla="*/ 417 h 667"/>
                  <a:gd name="T28" fmla="*/ 433 w 533"/>
                  <a:gd name="T29" fmla="*/ 450 h 667"/>
                  <a:gd name="T30" fmla="*/ 433 w 533"/>
                  <a:gd name="T31" fmla="*/ 533 h 667"/>
                  <a:gd name="T32" fmla="*/ 100 w 533"/>
                  <a:gd name="T33" fmla="*/ 533 h 667"/>
                  <a:gd name="T34" fmla="*/ 100 w 533"/>
                  <a:gd name="T35" fmla="*/ 500 h 667"/>
                  <a:gd name="T36" fmla="*/ 433 w 533"/>
                  <a:gd name="T37" fmla="*/ 500 h 667"/>
                  <a:gd name="T38" fmla="*/ 433 w 533"/>
                  <a:gd name="T39" fmla="*/ 533 h 667"/>
                  <a:gd name="T40" fmla="*/ 100 w 533"/>
                  <a:gd name="T41" fmla="*/ 167 h 667"/>
                  <a:gd name="T42" fmla="*/ 260 w 533"/>
                  <a:gd name="T43" fmla="*/ 167 h 667"/>
                  <a:gd name="T44" fmla="*/ 260 w 533"/>
                  <a:gd name="T45" fmla="*/ 200 h 667"/>
                  <a:gd name="T46" fmla="*/ 100 w 533"/>
                  <a:gd name="T47" fmla="*/ 200 h 667"/>
                  <a:gd name="T48" fmla="*/ 100 w 533"/>
                  <a:gd name="T49" fmla="*/ 167 h 667"/>
                  <a:gd name="T50" fmla="*/ 316 w 533"/>
                  <a:gd name="T51" fmla="*/ 139 h 667"/>
                  <a:gd name="T52" fmla="*/ 316 w 533"/>
                  <a:gd name="T53" fmla="*/ 0 h 667"/>
                  <a:gd name="T54" fmla="*/ 50 w 533"/>
                  <a:gd name="T55" fmla="*/ 0 h 667"/>
                  <a:gd name="T56" fmla="*/ 0 w 533"/>
                  <a:gd name="T57" fmla="*/ 50 h 667"/>
                  <a:gd name="T58" fmla="*/ 0 w 533"/>
                  <a:gd name="T59" fmla="*/ 617 h 667"/>
                  <a:gd name="T60" fmla="*/ 50 w 533"/>
                  <a:gd name="T61" fmla="*/ 667 h 667"/>
                  <a:gd name="T62" fmla="*/ 483 w 533"/>
                  <a:gd name="T63" fmla="*/ 667 h 667"/>
                  <a:gd name="T64" fmla="*/ 533 w 533"/>
                  <a:gd name="T65" fmla="*/ 617 h 667"/>
                  <a:gd name="T66" fmla="*/ 533 w 533"/>
                  <a:gd name="T67" fmla="*/ 217 h 667"/>
                  <a:gd name="T68" fmla="*/ 394 w 533"/>
                  <a:gd name="T69" fmla="*/ 217 h 667"/>
                  <a:gd name="T70" fmla="*/ 316 w 533"/>
                  <a:gd name="T71" fmla="*/ 13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3" h="667">
                    <a:moveTo>
                      <a:pt x="433" y="283"/>
                    </a:moveTo>
                    <a:lnTo>
                      <a:pt x="100" y="283"/>
                    </a:lnTo>
                    <a:lnTo>
                      <a:pt x="100" y="250"/>
                    </a:lnTo>
                    <a:lnTo>
                      <a:pt x="433" y="250"/>
                    </a:lnTo>
                    <a:lnTo>
                      <a:pt x="433" y="283"/>
                    </a:lnTo>
                    <a:close/>
                    <a:moveTo>
                      <a:pt x="433" y="367"/>
                    </a:moveTo>
                    <a:lnTo>
                      <a:pt x="100" y="367"/>
                    </a:lnTo>
                    <a:lnTo>
                      <a:pt x="100" y="333"/>
                    </a:lnTo>
                    <a:lnTo>
                      <a:pt x="433" y="333"/>
                    </a:lnTo>
                    <a:lnTo>
                      <a:pt x="433" y="367"/>
                    </a:lnTo>
                    <a:close/>
                    <a:moveTo>
                      <a:pt x="433" y="450"/>
                    </a:moveTo>
                    <a:lnTo>
                      <a:pt x="100" y="450"/>
                    </a:lnTo>
                    <a:lnTo>
                      <a:pt x="100" y="417"/>
                    </a:lnTo>
                    <a:lnTo>
                      <a:pt x="433" y="417"/>
                    </a:lnTo>
                    <a:lnTo>
                      <a:pt x="433" y="450"/>
                    </a:lnTo>
                    <a:close/>
                    <a:moveTo>
                      <a:pt x="433" y="533"/>
                    </a:moveTo>
                    <a:lnTo>
                      <a:pt x="100" y="533"/>
                    </a:lnTo>
                    <a:lnTo>
                      <a:pt x="100" y="500"/>
                    </a:lnTo>
                    <a:lnTo>
                      <a:pt x="433" y="500"/>
                    </a:lnTo>
                    <a:lnTo>
                      <a:pt x="433" y="533"/>
                    </a:lnTo>
                    <a:close/>
                    <a:moveTo>
                      <a:pt x="100" y="167"/>
                    </a:moveTo>
                    <a:lnTo>
                      <a:pt x="260" y="167"/>
                    </a:lnTo>
                    <a:lnTo>
                      <a:pt x="260" y="200"/>
                    </a:lnTo>
                    <a:lnTo>
                      <a:pt x="100" y="200"/>
                    </a:lnTo>
                    <a:lnTo>
                      <a:pt x="100" y="167"/>
                    </a:lnTo>
                    <a:close/>
                    <a:moveTo>
                      <a:pt x="316" y="139"/>
                    </a:moveTo>
                    <a:lnTo>
                      <a:pt x="316" y="0"/>
                    </a:lnTo>
                    <a:lnTo>
                      <a:pt x="50" y="0"/>
                    </a:lnTo>
                    <a:cubicBezTo>
                      <a:pt x="22" y="0"/>
                      <a:pt x="0" y="22"/>
                      <a:pt x="0" y="50"/>
                    </a:cubicBezTo>
                    <a:lnTo>
                      <a:pt x="0" y="617"/>
                    </a:lnTo>
                    <a:cubicBezTo>
                      <a:pt x="0" y="644"/>
                      <a:pt x="22" y="667"/>
                      <a:pt x="50" y="667"/>
                    </a:cubicBezTo>
                    <a:lnTo>
                      <a:pt x="483" y="667"/>
                    </a:lnTo>
                    <a:cubicBezTo>
                      <a:pt x="511" y="667"/>
                      <a:pt x="533" y="644"/>
                      <a:pt x="533" y="617"/>
                    </a:cubicBezTo>
                    <a:lnTo>
                      <a:pt x="533" y="217"/>
                    </a:lnTo>
                    <a:lnTo>
                      <a:pt x="394" y="217"/>
                    </a:lnTo>
                    <a:cubicBezTo>
                      <a:pt x="351" y="217"/>
                      <a:pt x="316" y="182"/>
                      <a:pt x="316" y="1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sp>
            <p:nvSpPr>
              <p:cNvPr id="81" name="Freeform 20"/>
              <p:cNvSpPr/>
              <p:nvPr/>
            </p:nvSpPr>
            <p:spPr bwMode="auto">
              <a:xfrm>
                <a:off x="4133" y="780"/>
                <a:ext cx="743" cy="743"/>
              </a:xfrm>
              <a:custGeom>
                <a:avLst/>
                <a:gdLst>
                  <a:gd name="T0" fmla="*/ 0 w 187"/>
                  <a:gd name="T1" fmla="*/ 143 h 187"/>
                  <a:gd name="T2" fmla="*/ 44 w 187"/>
                  <a:gd name="T3" fmla="*/ 187 h 187"/>
                  <a:gd name="T4" fmla="*/ 187 w 187"/>
                  <a:gd name="T5" fmla="*/ 187 h 187"/>
                  <a:gd name="T6" fmla="*/ 0 w 187"/>
                  <a:gd name="T7" fmla="*/ 0 h 187"/>
                  <a:gd name="T8" fmla="*/ 0 w 187"/>
                  <a:gd name="T9" fmla="*/ 143 h 187"/>
                </a:gdLst>
                <a:ahLst/>
                <a:cxnLst>
                  <a:cxn ang="0">
                    <a:pos x="T0" y="T1"/>
                  </a:cxn>
                  <a:cxn ang="0">
                    <a:pos x="T2" y="T3"/>
                  </a:cxn>
                  <a:cxn ang="0">
                    <a:pos x="T4" y="T5"/>
                  </a:cxn>
                  <a:cxn ang="0">
                    <a:pos x="T6" y="T7"/>
                  </a:cxn>
                  <a:cxn ang="0">
                    <a:pos x="T8" y="T9"/>
                  </a:cxn>
                </a:cxnLst>
                <a:rect l="0" t="0" r="r" b="b"/>
                <a:pathLst>
                  <a:path w="187" h="187">
                    <a:moveTo>
                      <a:pt x="0" y="143"/>
                    </a:moveTo>
                    <a:cubicBezTo>
                      <a:pt x="0" y="167"/>
                      <a:pt x="20" y="187"/>
                      <a:pt x="44" y="187"/>
                    </a:cubicBezTo>
                    <a:lnTo>
                      <a:pt x="187" y="187"/>
                    </a:lnTo>
                    <a:lnTo>
                      <a:pt x="0" y="0"/>
                    </a:lnTo>
                    <a:lnTo>
                      <a:pt x="0" y="14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grpSp>
      </p:grpSp>
      <p:sp>
        <p:nvSpPr>
          <p:cNvPr id="86" name="文本框 85"/>
          <p:cNvSpPr txBox="1"/>
          <p:nvPr/>
        </p:nvSpPr>
        <p:spPr bwMode="auto">
          <a:xfrm>
            <a:off x="3999677" y="4332556"/>
            <a:ext cx="1515264"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en-US" altLang="zh-CN" sz="1400" b="1" dirty="0" smtClean="0">
                <a:solidFill>
                  <a:srgbClr val="006699"/>
                </a:solidFill>
                <a:cs typeface="+mn-ea"/>
                <a:sym typeface="+mn-lt"/>
              </a:rPr>
              <a:t>2020</a:t>
            </a:r>
            <a:r>
              <a:rPr kumimoji="1" lang="zh-CN" altLang="en-US" sz="1400" b="1" dirty="0" smtClean="0">
                <a:solidFill>
                  <a:srgbClr val="006699"/>
                </a:solidFill>
                <a:cs typeface="+mn-ea"/>
                <a:sym typeface="+mn-lt"/>
              </a:rPr>
              <a:t>级学生信息库</a:t>
            </a:r>
            <a:endParaRPr kumimoji="1" lang="zh-CN" altLang="en-US" sz="1600" b="1" dirty="0">
              <a:solidFill>
                <a:srgbClr val="006699"/>
              </a:solidFill>
              <a:cs typeface="+mn-ea"/>
              <a:sym typeface="+mn-lt"/>
            </a:endParaRPr>
          </a:p>
        </p:txBody>
      </p:sp>
      <p:sp>
        <p:nvSpPr>
          <p:cNvPr id="88" name="Business_Man"/>
          <p:cNvSpPr>
            <a:spLocks noChangeAspect="1" noEditPoints="1"/>
          </p:cNvSpPr>
          <p:nvPr>
            <p:custDataLst>
              <p:tags r:id="rId50"/>
            </p:custDataLst>
          </p:nvPr>
        </p:nvSpPr>
        <p:spPr bwMode="auto">
          <a:xfrm>
            <a:off x="7248128" y="2168860"/>
            <a:ext cx="509255" cy="542925"/>
          </a:xfrm>
          <a:custGeom>
            <a:avLst/>
            <a:gdLst>
              <a:gd name="T0" fmla="*/ 483 w 966"/>
              <a:gd name="T1" fmla="*/ 0 h 1028"/>
              <a:gd name="T2" fmla="*/ 226 w 966"/>
              <a:gd name="T3" fmla="*/ 258 h 1028"/>
              <a:gd name="T4" fmla="*/ 483 w 966"/>
              <a:gd name="T5" fmla="*/ 516 h 1028"/>
              <a:gd name="T6" fmla="*/ 740 w 966"/>
              <a:gd name="T7" fmla="*/ 258 h 1028"/>
              <a:gd name="T8" fmla="*/ 483 w 966"/>
              <a:gd name="T9" fmla="*/ 0 h 1028"/>
              <a:gd name="T10" fmla="*/ 399 w 966"/>
              <a:gd name="T11" fmla="*/ 581 h 1028"/>
              <a:gd name="T12" fmla="*/ 0 w 966"/>
              <a:gd name="T13" fmla="*/ 1028 h 1028"/>
              <a:gd name="T14" fmla="*/ 197 w 966"/>
              <a:gd name="T15" fmla="*/ 1028 h 1028"/>
              <a:gd name="T16" fmla="*/ 275 w 966"/>
              <a:gd name="T17" fmla="*/ 814 h 1028"/>
              <a:gd name="T18" fmla="*/ 242 w 966"/>
              <a:gd name="T19" fmla="*/ 990 h 1028"/>
              <a:gd name="T20" fmla="*/ 253 w 966"/>
              <a:gd name="T21" fmla="*/ 1028 h 1028"/>
              <a:gd name="T22" fmla="*/ 713 w 966"/>
              <a:gd name="T23" fmla="*/ 1028 h 1028"/>
              <a:gd name="T24" fmla="*/ 724 w 966"/>
              <a:gd name="T25" fmla="*/ 990 h 1028"/>
              <a:gd name="T26" fmla="*/ 691 w 966"/>
              <a:gd name="T27" fmla="*/ 814 h 1028"/>
              <a:gd name="T28" fmla="*/ 769 w 966"/>
              <a:gd name="T29" fmla="*/ 1028 h 1028"/>
              <a:gd name="T30" fmla="*/ 966 w 966"/>
              <a:gd name="T31" fmla="*/ 1028 h 1028"/>
              <a:gd name="T32" fmla="*/ 567 w 966"/>
              <a:gd name="T33" fmla="*/ 581 h 1028"/>
              <a:gd name="T34" fmla="*/ 513 w 966"/>
              <a:gd name="T35" fmla="*/ 636 h 1028"/>
              <a:gd name="T36" fmla="*/ 484 w 966"/>
              <a:gd name="T37" fmla="*/ 596 h 1028"/>
              <a:gd name="T38" fmla="*/ 453 w 966"/>
              <a:gd name="T39" fmla="*/ 637 h 1028"/>
              <a:gd name="T40" fmla="*/ 399 w 966"/>
              <a:gd name="T41" fmla="*/ 581 h 1028"/>
              <a:gd name="T42" fmla="*/ 484 w 966"/>
              <a:gd name="T43" fmla="*/ 669 h 1028"/>
              <a:gd name="T44" fmla="*/ 561 w 966"/>
              <a:gd name="T45" fmla="*/ 920 h 1028"/>
              <a:gd name="T46" fmla="*/ 484 w 966"/>
              <a:gd name="T47" fmla="*/ 983 h 1028"/>
              <a:gd name="T48" fmla="*/ 405 w 966"/>
              <a:gd name="T49" fmla="*/ 920 h 1028"/>
              <a:gd name="T50" fmla="*/ 484 w 966"/>
              <a:gd name="T51" fmla="*/ 669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6" h="1028">
                <a:moveTo>
                  <a:pt x="483" y="0"/>
                </a:moveTo>
                <a:cubicBezTo>
                  <a:pt x="341" y="0"/>
                  <a:pt x="226" y="115"/>
                  <a:pt x="226" y="258"/>
                </a:cubicBezTo>
                <a:cubicBezTo>
                  <a:pt x="226" y="400"/>
                  <a:pt x="341" y="516"/>
                  <a:pt x="483" y="516"/>
                </a:cubicBezTo>
                <a:cubicBezTo>
                  <a:pt x="625" y="516"/>
                  <a:pt x="740" y="400"/>
                  <a:pt x="740" y="258"/>
                </a:cubicBezTo>
                <a:cubicBezTo>
                  <a:pt x="740" y="115"/>
                  <a:pt x="625" y="0"/>
                  <a:pt x="483" y="0"/>
                </a:cubicBezTo>
                <a:close/>
                <a:moveTo>
                  <a:pt x="399" y="581"/>
                </a:moveTo>
                <a:cubicBezTo>
                  <a:pt x="182" y="619"/>
                  <a:pt x="14" y="803"/>
                  <a:pt x="0" y="1028"/>
                </a:cubicBezTo>
                <a:lnTo>
                  <a:pt x="197" y="1028"/>
                </a:lnTo>
                <a:cubicBezTo>
                  <a:pt x="184" y="945"/>
                  <a:pt x="216" y="866"/>
                  <a:pt x="275" y="814"/>
                </a:cubicBezTo>
                <a:cubicBezTo>
                  <a:pt x="242" y="865"/>
                  <a:pt x="228" y="926"/>
                  <a:pt x="242" y="990"/>
                </a:cubicBezTo>
                <a:cubicBezTo>
                  <a:pt x="245" y="1003"/>
                  <a:pt x="248" y="1016"/>
                  <a:pt x="253" y="1028"/>
                </a:cubicBezTo>
                <a:lnTo>
                  <a:pt x="713" y="1028"/>
                </a:lnTo>
                <a:cubicBezTo>
                  <a:pt x="718" y="1016"/>
                  <a:pt x="721" y="1003"/>
                  <a:pt x="724" y="990"/>
                </a:cubicBezTo>
                <a:cubicBezTo>
                  <a:pt x="738" y="926"/>
                  <a:pt x="724" y="865"/>
                  <a:pt x="691" y="814"/>
                </a:cubicBezTo>
                <a:cubicBezTo>
                  <a:pt x="750" y="866"/>
                  <a:pt x="782" y="945"/>
                  <a:pt x="769" y="1028"/>
                </a:cubicBezTo>
                <a:lnTo>
                  <a:pt x="966" y="1028"/>
                </a:lnTo>
                <a:cubicBezTo>
                  <a:pt x="952" y="803"/>
                  <a:pt x="784" y="619"/>
                  <a:pt x="567" y="581"/>
                </a:cubicBezTo>
                <a:lnTo>
                  <a:pt x="513" y="636"/>
                </a:lnTo>
                <a:lnTo>
                  <a:pt x="484" y="596"/>
                </a:lnTo>
                <a:lnTo>
                  <a:pt x="453" y="637"/>
                </a:lnTo>
                <a:lnTo>
                  <a:pt x="399" y="581"/>
                </a:lnTo>
                <a:close/>
                <a:moveTo>
                  <a:pt x="484" y="669"/>
                </a:moveTo>
                <a:lnTo>
                  <a:pt x="561" y="920"/>
                </a:lnTo>
                <a:lnTo>
                  <a:pt x="484" y="983"/>
                </a:lnTo>
                <a:lnTo>
                  <a:pt x="405" y="920"/>
                </a:lnTo>
                <a:lnTo>
                  <a:pt x="484" y="669"/>
                </a:lnTo>
                <a:close/>
              </a:path>
            </a:pathLst>
          </a:custGeom>
          <a:solidFill>
            <a:srgbClr val="006699"/>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cs typeface="+mn-ea"/>
              <a:sym typeface="+mn-lt"/>
            </a:endParaRPr>
          </a:p>
        </p:txBody>
      </p:sp>
      <p:cxnSp>
        <p:nvCxnSpPr>
          <p:cNvPr id="5" name="直接箭头连接符 4"/>
          <p:cNvCxnSpPr>
            <a:stCxn id="88" idx="6"/>
            <a:endCxn id="76" idx="4"/>
          </p:cNvCxnSpPr>
          <p:nvPr/>
        </p:nvCxnSpPr>
        <p:spPr bwMode="auto">
          <a:xfrm flipH="1">
            <a:off x="5311832" y="2711785"/>
            <a:ext cx="1936296" cy="931151"/>
          </a:xfrm>
          <a:prstGeom prst="straightConnector1">
            <a:avLst/>
          </a:prstGeom>
          <a:noFill/>
          <a:ln w="28575" cap="flat" cmpd="sng" algn="ctr">
            <a:solidFill>
              <a:srgbClr val="006699"/>
            </a:solidFill>
            <a:prstDash val="solid"/>
            <a:round/>
            <a:headEnd type="none" w="med" len="med"/>
            <a:tailEnd type="triangle" w="med" len="med"/>
          </a:ln>
          <a:effectLst>
            <a:outerShdw blurRad="50800" dist="38100" dir="2700000" algn="tl" rotWithShape="0">
              <a:prstClr val="black">
                <a:alpha val="40000"/>
              </a:prstClr>
            </a:outerShdw>
          </a:effectLst>
        </p:spPr>
      </p:cxnSp>
      <p:sp>
        <p:nvSpPr>
          <p:cNvPr id="91" name="文本框 90"/>
          <p:cNvSpPr txBox="1"/>
          <p:nvPr/>
        </p:nvSpPr>
        <p:spPr bwMode="auto">
          <a:xfrm>
            <a:off x="7143241" y="2733826"/>
            <a:ext cx="71902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b="1" dirty="0" smtClean="0">
                <a:solidFill>
                  <a:srgbClr val="006699"/>
                </a:solidFill>
                <a:cs typeface="+mn-ea"/>
                <a:sym typeface="+mn-lt"/>
              </a:rPr>
              <a:t>学生</a:t>
            </a:r>
            <a:endParaRPr kumimoji="1" lang="zh-CN" altLang="en-US" sz="1600" b="1" dirty="0">
              <a:solidFill>
                <a:srgbClr val="006699"/>
              </a:solidFill>
              <a:cs typeface="+mn-ea"/>
              <a:sym typeface="+mn-lt"/>
            </a:endParaRPr>
          </a:p>
        </p:txBody>
      </p:sp>
      <p:sp>
        <p:nvSpPr>
          <p:cNvPr id="93" name="Businessman2"/>
          <p:cNvSpPr>
            <a:spLocks noChangeAspect="1" noEditPoints="1"/>
          </p:cNvSpPr>
          <p:nvPr>
            <p:custDataLst>
              <p:tags r:id="rId51"/>
            </p:custDataLst>
          </p:nvPr>
        </p:nvSpPr>
        <p:spPr bwMode="auto">
          <a:xfrm>
            <a:off x="7250155" y="3292849"/>
            <a:ext cx="604574" cy="542925"/>
          </a:xfrm>
          <a:custGeom>
            <a:avLst/>
            <a:gdLst>
              <a:gd name="T0" fmla="*/ 3004 w 7500"/>
              <a:gd name="T1" fmla="*/ 181 h 6725"/>
              <a:gd name="T2" fmla="*/ 2577 w 7500"/>
              <a:gd name="T3" fmla="*/ 902 h 6725"/>
              <a:gd name="T4" fmla="*/ 2492 w 7500"/>
              <a:gd name="T5" fmla="*/ 1589 h 6725"/>
              <a:gd name="T6" fmla="*/ 2538 w 7500"/>
              <a:gd name="T7" fmla="*/ 2301 h 6725"/>
              <a:gd name="T8" fmla="*/ 2713 w 7500"/>
              <a:gd name="T9" fmla="*/ 2676 h 6725"/>
              <a:gd name="T10" fmla="*/ 2457 w 7500"/>
              <a:gd name="T11" fmla="*/ 3176 h 6725"/>
              <a:gd name="T12" fmla="*/ 913 w 7500"/>
              <a:gd name="T13" fmla="*/ 3645 h 6725"/>
              <a:gd name="T14" fmla="*/ 734 w 7500"/>
              <a:gd name="T15" fmla="*/ 4293 h 6725"/>
              <a:gd name="T16" fmla="*/ 7500 w 7500"/>
              <a:gd name="T17" fmla="*/ 6725 h 6725"/>
              <a:gd name="T18" fmla="*/ 6988 w 7500"/>
              <a:gd name="T19" fmla="*/ 4370 h 6725"/>
              <a:gd name="T20" fmla="*/ 6860 w 7500"/>
              <a:gd name="T21" fmla="*/ 3867 h 6725"/>
              <a:gd name="T22" fmla="*/ 5452 w 7500"/>
              <a:gd name="T23" fmla="*/ 3509 h 6725"/>
              <a:gd name="T24" fmla="*/ 4650 w 7500"/>
              <a:gd name="T25" fmla="*/ 3031 h 6725"/>
              <a:gd name="T26" fmla="*/ 4744 w 7500"/>
              <a:gd name="T27" fmla="*/ 2706 h 6725"/>
              <a:gd name="T28" fmla="*/ 4846 w 7500"/>
              <a:gd name="T29" fmla="*/ 2399 h 6725"/>
              <a:gd name="T30" fmla="*/ 4932 w 7500"/>
              <a:gd name="T31" fmla="*/ 1964 h 6725"/>
              <a:gd name="T32" fmla="*/ 4846 w 7500"/>
              <a:gd name="T33" fmla="*/ 1452 h 6725"/>
              <a:gd name="T34" fmla="*/ 4564 w 7500"/>
              <a:gd name="T35" fmla="*/ 394 h 6725"/>
              <a:gd name="T36" fmla="*/ 3541 w 7500"/>
              <a:gd name="T37" fmla="*/ 19 h 6725"/>
              <a:gd name="T38" fmla="*/ 3088 w 7500"/>
              <a:gd name="T39" fmla="*/ 3415 h 6725"/>
              <a:gd name="T40" fmla="*/ 3814 w 7500"/>
              <a:gd name="T41" fmla="*/ 3841 h 6725"/>
              <a:gd name="T42" fmla="*/ 4616 w 7500"/>
              <a:gd name="T43" fmla="*/ 3201 h 6725"/>
              <a:gd name="T44" fmla="*/ 4292 w 7500"/>
              <a:gd name="T45" fmla="*/ 4191 h 6725"/>
              <a:gd name="T46" fmla="*/ 3882 w 7500"/>
              <a:gd name="T47" fmla="*/ 5744 h 6725"/>
              <a:gd name="T48" fmla="*/ 3319 w 7500"/>
              <a:gd name="T49" fmla="*/ 4234 h 6725"/>
              <a:gd name="T50" fmla="*/ 2952 w 7500"/>
              <a:gd name="T51" fmla="*/ 3168 h 6725"/>
              <a:gd name="T52" fmla="*/ 3805 w 7500"/>
              <a:gd name="T53" fmla="*/ 6009 h 6725"/>
              <a:gd name="T54" fmla="*/ 3435 w 7500"/>
              <a:gd name="T55" fmla="*/ 4701 h 6725"/>
              <a:gd name="T56" fmla="*/ 3785 w 7500"/>
              <a:gd name="T57" fmla="*/ 4417 h 6725"/>
              <a:gd name="T58" fmla="*/ 3391 w 7500"/>
              <a:gd name="T59" fmla="*/ 4093 h 6725"/>
              <a:gd name="T60" fmla="*/ 3532 w 7500"/>
              <a:gd name="T61" fmla="*/ 3867 h 6725"/>
              <a:gd name="T62" fmla="*/ 4177 w 7500"/>
              <a:gd name="T63" fmla="*/ 4281 h 6725"/>
              <a:gd name="T64" fmla="*/ 3797 w 7500"/>
              <a:gd name="T65" fmla="*/ 4413 h 6725"/>
              <a:gd name="T66" fmla="*/ 4010 w 7500"/>
              <a:gd name="T67" fmla="*/ 4985 h 6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500" h="6725">
                <a:moveTo>
                  <a:pt x="3541" y="19"/>
                </a:moveTo>
                <a:cubicBezTo>
                  <a:pt x="3355" y="35"/>
                  <a:pt x="3161" y="78"/>
                  <a:pt x="3004" y="181"/>
                </a:cubicBezTo>
                <a:cubicBezTo>
                  <a:pt x="2867" y="270"/>
                  <a:pt x="2763" y="410"/>
                  <a:pt x="2684" y="554"/>
                </a:cubicBezTo>
                <a:cubicBezTo>
                  <a:pt x="2626" y="660"/>
                  <a:pt x="2597" y="782"/>
                  <a:pt x="2577" y="902"/>
                </a:cubicBezTo>
                <a:cubicBezTo>
                  <a:pt x="2545" y="1091"/>
                  <a:pt x="2559" y="1478"/>
                  <a:pt x="2559" y="1478"/>
                </a:cubicBezTo>
                <a:lnTo>
                  <a:pt x="2492" y="1589"/>
                </a:lnTo>
                <a:cubicBezTo>
                  <a:pt x="2475" y="1723"/>
                  <a:pt x="2496" y="1853"/>
                  <a:pt x="2501" y="1987"/>
                </a:cubicBezTo>
                <a:cubicBezTo>
                  <a:pt x="2505" y="2092"/>
                  <a:pt x="2517" y="2196"/>
                  <a:pt x="2538" y="2301"/>
                </a:cubicBezTo>
                <a:lnTo>
                  <a:pt x="2645" y="2425"/>
                </a:lnTo>
                <a:cubicBezTo>
                  <a:pt x="2645" y="2425"/>
                  <a:pt x="2670" y="2574"/>
                  <a:pt x="2713" y="2676"/>
                </a:cubicBezTo>
                <a:cubicBezTo>
                  <a:pt x="2757" y="2779"/>
                  <a:pt x="2927" y="3014"/>
                  <a:pt x="2927" y="3014"/>
                </a:cubicBezTo>
                <a:cubicBezTo>
                  <a:pt x="2770" y="3068"/>
                  <a:pt x="2537" y="3114"/>
                  <a:pt x="2457" y="3176"/>
                </a:cubicBezTo>
                <a:cubicBezTo>
                  <a:pt x="2398" y="3221"/>
                  <a:pt x="2385" y="3309"/>
                  <a:pt x="2354" y="3381"/>
                </a:cubicBezTo>
                <a:lnTo>
                  <a:pt x="913" y="3645"/>
                </a:lnTo>
                <a:lnTo>
                  <a:pt x="734" y="3910"/>
                </a:lnTo>
                <a:lnTo>
                  <a:pt x="734" y="4293"/>
                </a:lnTo>
                <a:lnTo>
                  <a:pt x="0" y="6725"/>
                </a:lnTo>
                <a:lnTo>
                  <a:pt x="7500" y="6725"/>
                </a:lnTo>
                <a:lnTo>
                  <a:pt x="7270" y="5949"/>
                </a:lnTo>
                <a:lnTo>
                  <a:pt x="6988" y="4370"/>
                </a:lnTo>
                <a:lnTo>
                  <a:pt x="6971" y="4055"/>
                </a:lnTo>
                <a:lnTo>
                  <a:pt x="6860" y="3867"/>
                </a:lnTo>
                <a:lnTo>
                  <a:pt x="6280" y="3653"/>
                </a:lnTo>
                <a:lnTo>
                  <a:pt x="5452" y="3509"/>
                </a:lnTo>
                <a:cubicBezTo>
                  <a:pt x="5364" y="3418"/>
                  <a:pt x="5252" y="3291"/>
                  <a:pt x="5187" y="3235"/>
                </a:cubicBezTo>
                <a:cubicBezTo>
                  <a:pt x="5123" y="3180"/>
                  <a:pt x="4829" y="3099"/>
                  <a:pt x="4650" y="3031"/>
                </a:cubicBezTo>
                <a:lnTo>
                  <a:pt x="4616" y="2911"/>
                </a:lnTo>
                <a:cubicBezTo>
                  <a:pt x="4616" y="2911"/>
                  <a:pt x="4712" y="2796"/>
                  <a:pt x="4744" y="2706"/>
                </a:cubicBezTo>
                <a:cubicBezTo>
                  <a:pt x="4776" y="2617"/>
                  <a:pt x="4786" y="2382"/>
                  <a:pt x="4786" y="2382"/>
                </a:cubicBezTo>
                <a:lnTo>
                  <a:pt x="4846" y="2399"/>
                </a:lnTo>
                <a:lnTo>
                  <a:pt x="4907" y="2305"/>
                </a:lnTo>
                <a:lnTo>
                  <a:pt x="4932" y="1964"/>
                </a:lnTo>
                <a:cubicBezTo>
                  <a:pt x="4932" y="1964"/>
                  <a:pt x="4937" y="1560"/>
                  <a:pt x="4915" y="1512"/>
                </a:cubicBezTo>
                <a:cubicBezTo>
                  <a:pt x="4893" y="1464"/>
                  <a:pt x="4846" y="1452"/>
                  <a:pt x="4846" y="1452"/>
                </a:cubicBezTo>
                <a:cubicBezTo>
                  <a:pt x="4846" y="1452"/>
                  <a:pt x="4859" y="1082"/>
                  <a:pt x="4813" y="906"/>
                </a:cubicBezTo>
                <a:cubicBezTo>
                  <a:pt x="4764" y="723"/>
                  <a:pt x="4682" y="543"/>
                  <a:pt x="4564" y="394"/>
                </a:cubicBezTo>
                <a:cubicBezTo>
                  <a:pt x="4468" y="272"/>
                  <a:pt x="4345" y="161"/>
                  <a:pt x="4202" y="100"/>
                </a:cubicBezTo>
                <a:cubicBezTo>
                  <a:pt x="3998" y="13"/>
                  <a:pt x="3762" y="0"/>
                  <a:pt x="3541" y="19"/>
                </a:cubicBezTo>
                <a:close/>
                <a:moveTo>
                  <a:pt x="2952" y="3168"/>
                </a:moveTo>
                <a:lnTo>
                  <a:pt x="3088" y="3415"/>
                </a:lnTo>
                <a:lnTo>
                  <a:pt x="3575" y="3824"/>
                </a:lnTo>
                <a:lnTo>
                  <a:pt x="3814" y="3841"/>
                </a:lnTo>
                <a:lnTo>
                  <a:pt x="4369" y="3542"/>
                </a:lnTo>
                <a:lnTo>
                  <a:pt x="4616" y="3201"/>
                </a:lnTo>
                <a:lnTo>
                  <a:pt x="4591" y="3329"/>
                </a:lnTo>
                <a:lnTo>
                  <a:pt x="4292" y="4191"/>
                </a:lnTo>
                <a:lnTo>
                  <a:pt x="4044" y="5002"/>
                </a:lnTo>
                <a:lnTo>
                  <a:pt x="3882" y="5744"/>
                </a:lnTo>
                <a:lnTo>
                  <a:pt x="3720" y="6649"/>
                </a:lnTo>
                <a:lnTo>
                  <a:pt x="3319" y="4234"/>
                </a:lnTo>
                <a:lnTo>
                  <a:pt x="3080" y="3730"/>
                </a:lnTo>
                <a:lnTo>
                  <a:pt x="2952" y="3168"/>
                </a:lnTo>
                <a:close/>
                <a:moveTo>
                  <a:pt x="4010" y="4985"/>
                </a:moveTo>
                <a:lnTo>
                  <a:pt x="3805" y="6009"/>
                </a:lnTo>
                <a:lnTo>
                  <a:pt x="3720" y="6628"/>
                </a:lnTo>
                <a:lnTo>
                  <a:pt x="3435" y="4701"/>
                </a:lnTo>
                <a:lnTo>
                  <a:pt x="3533" y="4442"/>
                </a:lnTo>
                <a:lnTo>
                  <a:pt x="3785" y="4417"/>
                </a:lnTo>
                <a:lnTo>
                  <a:pt x="3545" y="4413"/>
                </a:lnTo>
                <a:lnTo>
                  <a:pt x="3391" y="4093"/>
                </a:lnTo>
                <a:lnTo>
                  <a:pt x="3308" y="4159"/>
                </a:lnTo>
                <a:lnTo>
                  <a:pt x="3532" y="3867"/>
                </a:lnTo>
                <a:lnTo>
                  <a:pt x="3840" y="3884"/>
                </a:lnTo>
                <a:lnTo>
                  <a:pt x="4177" y="4281"/>
                </a:lnTo>
                <a:lnTo>
                  <a:pt x="3981" y="4118"/>
                </a:lnTo>
                <a:lnTo>
                  <a:pt x="3797" y="4413"/>
                </a:lnTo>
                <a:lnTo>
                  <a:pt x="4002" y="4848"/>
                </a:lnTo>
                <a:lnTo>
                  <a:pt x="4010" y="4985"/>
                </a:lnTo>
                <a:close/>
              </a:path>
            </a:pathLst>
          </a:custGeom>
          <a:solidFill>
            <a:srgbClr val="006699"/>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pPr fontAlgn="auto">
              <a:spcBef>
                <a:spcPts val="0"/>
              </a:spcBef>
              <a:spcAft>
                <a:spcPts val="0"/>
              </a:spcAft>
            </a:pPr>
            <a:endParaRPr lang="en-US" sz="1800" dirty="0">
              <a:solidFill>
                <a:prstClr val="black"/>
              </a:solidFill>
              <a:cs typeface="+mn-ea"/>
              <a:sym typeface="+mn-lt"/>
            </a:endParaRPr>
          </a:p>
        </p:txBody>
      </p:sp>
      <p:sp>
        <p:nvSpPr>
          <p:cNvPr id="94" name="文本框 93"/>
          <p:cNvSpPr txBox="1"/>
          <p:nvPr/>
        </p:nvSpPr>
        <p:spPr bwMode="auto">
          <a:xfrm>
            <a:off x="7192928" y="3878503"/>
            <a:ext cx="71902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b="1" dirty="0" smtClean="0">
                <a:solidFill>
                  <a:srgbClr val="006699"/>
                </a:solidFill>
                <a:cs typeface="+mn-ea"/>
                <a:sym typeface="+mn-lt"/>
              </a:rPr>
              <a:t>老师</a:t>
            </a:r>
            <a:endParaRPr kumimoji="1" lang="zh-CN" altLang="en-US" sz="1600" b="1" dirty="0">
              <a:solidFill>
                <a:srgbClr val="006699"/>
              </a:solidFill>
              <a:cs typeface="+mn-ea"/>
              <a:sym typeface="+mn-lt"/>
            </a:endParaRPr>
          </a:p>
        </p:txBody>
      </p:sp>
      <p:sp>
        <p:nvSpPr>
          <p:cNvPr id="96" name="Business_People3"/>
          <p:cNvSpPr>
            <a:spLocks noChangeAspect="1"/>
          </p:cNvSpPr>
          <p:nvPr>
            <p:custDataLst>
              <p:tags r:id="rId52"/>
            </p:custDataLst>
          </p:nvPr>
        </p:nvSpPr>
        <p:spPr bwMode="auto">
          <a:xfrm>
            <a:off x="7341707" y="4398253"/>
            <a:ext cx="415676" cy="542925"/>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rgbClr val="006699"/>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pPr fontAlgn="auto">
              <a:spcBef>
                <a:spcPts val="0"/>
              </a:spcBef>
              <a:spcAft>
                <a:spcPts val="0"/>
              </a:spcAft>
            </a:pPr>
            <a:endParaRPr lang="en-US" sz="1800" dirty="0">
              <a:solidFill>
                <a:prstClr val="black"/>
              </a:solidFill>
              <a:cs typeface="+mn-ea"/>
              <a:sym typeface="+mn-lt"/>
            </a:endParaRPr>
          </a:p>
        </p:txBody>
      </p:sp>
      <p:sp>
        <p:nvSpPr>
          <p:cNvPr id="97" name="文本框 96"/>
          <p:cNvSpPr txBox="1"/>
          <p:nvPr/>
        </p:nvSpPr>
        <p:spPr bwMode="auto">
          <a:xfrm>
            <a:off x="7216011" y="4995469"/>
            <a:ext cx="719028" cy="215444"/>
          </a:xfrm>
          <a:prstGeom prst="rect">
            <a:avLst/>
          </a:prstGeom>
          <a:noFill/>
          <a:ln w="9525" algn="ctr">
            <a:noFill/>
            <a:miter lim="800000"/>
          </a:ln>
          <a:effectLst>
            <a:outerShdw blurRad="50800" dist="38100" dir="2700000" algn="tl" rotWithShape="0">
              <a:prstClr val="black">
                <a:alpha val="40000"/>
              </a:prstClr>
            </a:outerShdw>
          </a:effectLst>
        </p:spPr>
        <p:txBody>
          <a:bodyPr vert="horz" wrap="square" lIns="0" tIns="0" rIns="0" bIns="0" numCol="1" rtlCol="0" anchor="ctr" anchorCtr="0" compatLnSpc="1">
            <a:spAutoFit/>
          </a:bodyPr>
          <a:lstStyle/>
          <a:p>
            <a:pPr algn="ctr"/>
            <a:r>
              <a:rPr kumimoji="1" lang="zh-CN" altLang="en-US" sz="1400" b="1" dirty="0">
                <a:solidFill>
                  <a:srgbClr val="006699"/>
                </a:solidFill>
                <a:cs typeface="+mn-ea"/>
                <a:sym typeface="+mn-lt"/>
              </a:rPr>
              <a:t>家长</a:t>
            </a:r>
            <a:endParaRPr kumimoji="1" lang="zh-CN" altLang="en-US" sz="1600" b="1" dirty="0">
              <a:solidFill>
                <a:srgbClr val="006699"/>
              </a:solidFill>
              <a:cs typeface="+mn-ea"/>
              <a:sym typeface="+mn-lt"/>
            </a:endParaRPr>
          </a:p>
        </p:txBody>
      </p:sp>
      <p:cxnSp>
        <p:nvCxnSpPr>
          <p:cNvPr id="98" name="直接箭头连接符 97"/>
          <p:cNvCxnSpPr>
            <a:stCxn id="93" idx="7"/>
            <a:endCxn id="76" idx="4"/>
          </p:cNvCxnSpPr>
          <p:nvPr/>
        </p:nvCxnSpPr>
        <p:spPr bwMode="auto">
          <a:xfrm flipH="1">
            <a:off x="5311832" y="3639433"/>
            <a:ext cx="1997491" cy="3503"/>
          </a:xfrm>
          <a:prstGeom prst="straightConnector1">
            <a:avLst/>
          </a:prstGeom>
          <a:noFill/>
          <a:ln w="28575" cap="flat" cmpd="sng" algn="ctr">
            <a:solidFill>
              <a:srgbClr val="006699"/>
            </a:solidFill>
            <a:prstDash val="solid"/>
            <a:round/>
            <a:headEnd type="none" w="med" len="med"/>
            <a:tailEnd type="triangle" w="med" len="med"/>
          </a:ln>
          <a:effectLst>
            <a:outerShdw blurRad="50800" dist="38100" dir="2700000" algn="tl" rotWithShape="0">
              <a:prstClr val="black">
                <a:alpha val="40000"/>
              </a:prstClr>
            </a:outerShdw>
          </a:effectLst>
        </p:spPr>
      </p:cxnSp>
      <p:cxnSp>
        <p:nvCxnSpPr>
          <p:cNvPr id="101" name="直接箭头连接符 100"/>
          <p:cNvCxnSpPr>
            <a:stCxn id="96" idx="143"/>
            <a:endCxn id="76" idx="4"/>
          </p:cNvCxnSpPr>
          <p:nvPr/>
        </p:nvCxnSpPr>
        <p:spPr bwMode="auto">
          <a:xfrm flipH="1" flipV="1">
            <a:off x="5311832" y="3642936"/>
            <a:ext cx="2037394" cy="1005941"/>
          </a:xfrm>
          <a:prstGeom prst="straightConnector1">
            <a:avLst/>
          </a:prstGeom>
          <a:noFill/>
          <a:ln w="28575" cap="flat" cmpd="sng" algn="ctr">
            <a:solidFill>
              <a:srgbClr val="006699"/>
            </a:solidFill>
            <a:prstDash val="solid"/>
            <a:round/>
            <a:headEnd type="none" w="med" len="med"/>
            <a:tailEnd type="triangle" w="med" len="med"/>
          </a:ln>
          <a:effectLst>
            <a:outerShdw blurRad="50800" dist="38100" dir="2700000" algn="tl" rotWithShape="0">
              <a:prstClr val="black">
                <a:alpha val="40000"/>
              </a:prstClr>
            </a:outerShdw>
          </a:effectLst>
        </p:spPr>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latin typeface="+mn-lt"/>
                <a:ea typeface="+mn-ea"/>
                <a:cs typeface="+mn-ea"/>
                <a:sym typeface="+mn-lt"/>
              </a:rPr>
              <a:t>数据库管理系统 </a:t>
            </a:r>
            <a:r>
              <a:rPr lang="en-US" altLang="zh-CN" smtClean="0">
                <a:latin typeface="+mn-lt"/>
                <a:ea typeface="+mn-ea"/>
                <a:cs typeface="+mn-ea"/>
                <a:sym typeface="+mn-lt"/>
              </a:rPr>
              <a:t>(DBMS)</a:t>
            </a:r>
            <a:endParaRPr lang="zh-CN" altLang="en-US" dirty="0">
              <a:latin typeface="+mn-lt"/>
              <a:ea typeface="+mn-ea"/>
              <a:cs typeface="+mn-ea"/>
              <a:sym typeface="+mn-lt"/>
            </a:endParaRPr>
          </a:p>
        </p:txBody>
      </p:sp>
      <p:sp>
        <p:nvSpPr>
          <p:cNvPr id="3" name="文本占位符 2"/>
          <p:cNvSpPr>
            <a:spLocks noGrp="1"/>
          </p:cNvSpPr>
          <p:nvPr>
            <p:ph type="body" sz="quarter" idx="10"/>
          </p:nvPr>
        </p:nvSpPr>
        <p:spPr/>
        <p:txBody>
          <a:bodyPr/>
          <a:lstStyle/>
          <a:p>
            <a:r>
              <a:rPr lang="zh-CN" altLang="en-US" sz="2000" dirty="0" smtClean="0">
                <a:latin typeface="+mn-lt"/>
                <a:ea typeface="+mn-ea"/>
                <a:cs typeface="+mn-ea"/>
                <a:sym typeface="+mn-lt"/>
              </a:rPr>
              <a:t>数据库管理系统是一个能够科学地组织和存储数据，高效地获取和维护数据的系统软件，是位于用户与操作系统之间的数据管理软件，其主要功能包括：</a:t>
            </a:r>
            <a:endParaRPr lang="en-US" altLang="zh-CN" sz="2000" dirty="0" smtClean="0">
              <a:latin typeface="+mn-lt"/>
              <a:ea typeface="+mn-ea"/>
              <a:cs typeface="+mn-ea"/>
              <a:sym typeface="+mn-lt"/>
            </a:endParaRPr>
          </a:p>
          <a:p>
            <a:pPr lvl="1"/>
            <a:r>
              <a:rPr lang="zh-CN" altLang="en-US" sz="1800" dirty="0" smtClean="0">
                <a:latin typeface="+mn-lt"/>
                <a:ea typeface="+mn-ea"/>
                <a:cs typeface="+mn-ea"/>
                <a:sym typeface="+mn-lt"/>
              </a:rPr>
              <a:t>数据定义功能；</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数据组织、存储和管理功能；</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数据操纵功能；</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数据库的事务管理和运行管理功能；</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数据库的建立和维护功能；</a:t>
            </a:r>
            <a:endParaRPr lang="en-US" altLang="zh-CN" sz="1800" dirty="0" smtClean="0">
              <a:latin typeface="+mn-lt"/>
              <a:ea typeface="+mn-ea"/>
              <a:cs typeface="+mn-ea"/>
              <a:sym typeface="+mn-lt"/>
            </a:endParaRPr>
          </a:p>
          <a:p>
            <a:pPr lvl="1"/>
            <a:r>
              <a:rPr lang="zh-CN" altLang="en-US" sz="1800" dirty="0" smtClean="0">
                <a:latin typeface="+mn-lt"/>
                <a:ea typeface="+mn-ea"/>
                <a:cs typeface="+mn-ea"/>
                <a:sym typeface="+mn-lt"/>
              </a:rPr>
              <a:t>与其他软件系统的通信功能等。</a:t>
            </a:r>
            <a:endParaRPr lang="en-US" altLang="zh-CN" sz="1800" dirty="0" smtClean="0">
              <a:latin typeface="+mn-lt"/>
              <a:ea typeface="+mn-ea"/>
              <a:cs typeface="+mn-ea"/>
              <a:sym typeface="+mn-lt"/>
            </a:endParaRPr>
          </a:p>
        </p:txBody>
      </p:sp>
      <p:sp>
        <p:nvSpPr>
          <p:cNvPr id="8" name="空心弧 7" hidden="1"/>
          <p:cNvSpPr/>
          <p:nvPr>
            <p:custDataLst>
              <p:tags r:id="rId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9" name="空心弧 8" hidden="1"/>
          <p:cNvSpPr/>
          <p:nvPr>
            <p:custDataLst>
              <p:tags r:id="rId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0" name="空心弧 9" hidden="1"/>
          <p:cNvSpPr/>
          <p:nvPr>
            <p:custDataLst>
              <p:tags r:id="rId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1" name="空心弧 10" hidden="1"/>
          <p:cNvSpPr/>
          <p:nvPr>
            <p:custDataLst>
              <p:tags r:id="rId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2" name="空心弧 11" hidden="1"/>
          <p:cNvSpPr/>
          <p:nvPr>
            <p:custDataLst>
              <p:tags r:id="rId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3" name="空心弧 12" hidden="1"/>
          <p:cNvSpPr/>
          <p:nvPr>
            <p:custDataLst>
              <p:tags r:id="rId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4" name="空心弧 13" hidden="1"/>
          <p:cNvSpPr/>
          <p:nvPr>
            <p:custDataLst>
              <p:tags r:id="rId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5" name="空心弧 14" hidden="1"/>
          <p:cNvSpPr/>
          <p:nvPr>
            <p:custDataLst>
              <p:tags r:id="rId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6" name="空心弧 15" hidden="1"/>
          <p:cNvSpPr/>
          <p:nvPr>
            <p:custDataLst>
              <p:tags r:id="rId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7" name="空心弧 16" hidden="1"/>
          <p:cNvSpPr/>
          <p:nvPr>
            <p:custDataLst>
              <p:tags r:id="rId1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8" name="空心弧 17" hidden="1"/>
          <p:cNvSpPr/>
          <p:nvPr>
            <p:custDataLst>
              <p:tags r:id="rId1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19" name="空心弧 18" hidden="1"/>
          <p:cNvSpPr/>
          <p:nvPr>
            <p:custDataLst>
              <p:tags r:id="rId1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0" name="空心弧 19" hidden="1"/>
          <p:cNvSpPr/>
          <p:nvPr>
            <p:custDataLst>
              <p:tags r:id="rId1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1" name="空心弧 20" hidden="1"/>
          <p:cNvSpPr/>
          <p:nvPr>
            <p:custDataLst>
              <p:tags r:id="rId1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2" name="空心弧 21" hidden="1"/>
          <p:cNvSpPr/>
          <p:nvPr>
            <p:custDataLst>
              <p:tags r:id="rId1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3" name="空心弧 22" hidden="1"/>
          <p:cNvSpPr/>
          <p:nvPr>
            <p:custDataLst>
              <p:tags r:id="rId1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4" name="空心弧 23" hidden="1"/>
          <p:cNvSpPr/>
          <p:nvPr>
            <p:custDataLst>
              <p:tags r:id="rId1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5" name="空心弧 24" hidden="1"/>
          <p:cNvSpPr/>
          <p:nvPr>
            <p:custDataLst>
              <p:tags r:id="rId1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6" name="空心弧 25" hidden="1"/>
          <p:cNvSpPr/>
          <p:nvPr>
            <p:custDataLst>
              <p:tags r:id="rId1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7" name="空心弧 26" hidden="1"/>
          <p:cNvSpPr/>
          <p:nvPr>
            <p:custDataLst>
              <p:tags r:id="rId2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8" name="空心弧 27" hidden="1"/>
          <p:cNvSpPr/>
          <p:nvPr>
            <p:custDataLst>
              <p:tags r:id="rId2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29" name="空心弧 28" hidden="1"/>
          <p:cNvSpPr/>
          <p:nvPr>
            <p:custDataLst>
              <p:tags r:id="rId2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0" name="空心弧 29" hidden="1"/>
          <p:cNvSpPr/>
          <p:nvPr>
            <p:custDataLst>
              <p:tags r:id="rId2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1" name="空心弧 30" hidden="1"/>
          <p:cNvSpPr/>
          <p:nvPr>
            <p:custDataLst>
              <p:tags r:id="rId2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2" name="空心弧 31" hidden="1"/>
          <p:cNvSpPr/>
          <p:nvPr>
            <p:custDataLst>
              <p:tags r:id="rId2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3" name="空心弧 32" hidden="1"/>
          <p:cNvSpPr/>
          <p:nvPr>
            <p:custDataLst>
              <p:tags r:id="rId2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4" name="空心弧 33" hidden="1"/>
          <p:cNvSpPr/>
          <p:nvPr>
            <p:custDataLst>
              <p:tags r:id="rId27"/>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5" name="空心弧 34" hidden="1"/>
          <p:cNvSpPr/>
          <p:nvPr>
            <p:custDataLst>
              <p:tags r:id="rId28"/>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6" name="空心弧 35" hidden="1"/>
          <p:cNvSpPr/>
          <p:nvPr>
            <p:custDataLst>
              <p:tags r:id="rId29"/>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7" name="空心弧 36" hidden="1"/>
          <p:cNvSpPr/>
          <p:nvPr>
            <p:custDataLst>
              <p:tags r:id="rId30"/>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8" name="空心弧 37" hidden="1"/>
          <p:cNvSpPr/>
          <p:nvPr>
            <p:custDataLst>
              <p:tags r:id="rId31"/>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39" name="空心弧 38" hidden="1"/>
          <p:cNvSpPr/>
          <p:nvPr>
            <p:custDataLst>
              <p:tags r:id="rId32"/>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0" name="空心弧 39" hidden="1"/>
          <p:cNvSpPr/>
          <p:nvPr>
            <p:custDataLst>
              <p:tags r:id="rId33"/>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1" name="空心弧 40" hidden="1"/>
          <p:cNvSpPr/>
          <p:nvPr>
            <p:custDataLst>
              <p:tags r:id="rId34"/>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2" name="空心弧 41" hidden="1"/>
          <p:cNvSpPr/>
          <p:nvPr>
            <p:custDataLst>
              <p:tags r:id="rId35"/>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3" name="空心弧 42" hidden="1"/>
          <p:cNvSpPr/>
          <p:nvPr>
            <p:custDataLst>
              <p:tags r:id="rId36"/>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4" name="空心弧 43" hidden="1"/>
          <p:cNvSpPr/>
          <p:nvPr>
            <p:custDataLst>
              <p:tags r:id="rId37"/>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5" name="空心弧 44" hidden="1"/>
          <p:cNvSpPr/>
          <p:nvPr>
            <p:custDataLst>
              <p:tags r:id="rId38"/>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6" name="空心弧 45" hidden="1"/>
          <p:cNvSpPr/>
          <p:nvPr>
            <p:custDataLst>
              <p:tags r:id="rId39"/>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7" name="空心弧 46" hidden="1"/>
          <p:cNvSpPr/>
          <p:nvPr>
            <p:custDataLst>
              <p:tags r:id="rId40"/>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8" name="空心弧 47" hidden="1"/>
          <p:cNvSpPr/>
          <p:nvPr>
            <p:custDataLst>
              <p:tags r:id="rId41"/>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49" name="空心弧 48" hidden="1"/>
          <p:cNvSpPr/>
          <p:nvPr>
            <p:custDataLst>
              <p:tags r:id="rId42"/>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0" name="空心弧 49" hidden="1"/>
          <p:cNvSpPr/>
          <p:nvPr>
            <p:custDataLst>
              <p:tags r:id="rId43"/>
            </p:custDataLst>
          </p:nvPr>
        </p:nvSpPr>
        <p:spPr bwMode="auto">
          <a:xfrm>
            <a:off x="3611724" y="2531168"/>
            <a:ext cx="3810000" cy="3810000"/>
          </a:xfrm>
          <a:prstGeom prst="blockArc">
            <a:avLst>
              <a:gd name="adj1" fmla="val 10800000"/>
              <a:gd name="adj2" fmla="val 162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1" name="空心弧 50" hidden="1"/>
          <p:cNvSpPr/>
          <p:nvPr>
            <p:custDataLst>
              <p:tags r:id="rId44"/>
            </p:custDataLst>
          </p:nvPr>
        </p:nvSpPr>
        <p:spPr bwMode="auto">
          <a:xfrm>
            <a:off x="3611724" y="2531168"/>
            <a:ext cx="3810000" cy="3810000"/>
          </a:xfrm>
          <a:prstGeom prst="blockArc">
            <a:avLst>
              <a:gd name="adj1" fmla="val 16200000"/>
              <a:gd name="adj2" fmla="val 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2" name="空心弧 51" hidden="1"/>
          <p:cNvSpPr/>
          <p:nvPr>
            <p:custDataLst>
              <p:tags r:id="rId45"/>
            </p:custDataLst>
          </p:nvPr>
        </p:nvSpPr>
        <p:spPr bwMode="auto">
          <a:xfrm>
            <a:off x="3611724" y="2531168"/>
            <a:ext cx="3810000" cy="3810000"/>
          </a:xfrm>
          <a:prstGeom prst="blockArc">
            <a:avLst>
              <a:gd name="adj1" fmla="val 0"/>
              <a:gd name="adj2" fmla="val 54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
        <p:nvSpPr>
          <p:cNvPr id="53" name="空心弧 52" hidden="1"/>
          <p:cNvSpPr/>
          <p:nvPr>
            <p:custDataLst>
              <p:tags r:id="rId46"/>
            </p:custDataLst>
          </p:nvPr>
        </p:nvSpPr>
        <p:spPr bwMode="auto">
          <a:xfrm>
            <a:off x="3611724" y="2531168"/>
            <a:ext cx="3810000" cy="3810000"/>
          </a:xfrm>
          <a:prstGeom prst="blockArc">
            <a:avLst>
              <a:gd name="adj1" fmla="val 5400000"/>
              <a:gd name="adj2" fmla="val 10800000"/>
              <a:gd name="adj3" fmla="val 25000"/>
            </a:avLst>
          </a:prstGeom>
          <a:solidFill>
            <a:srgbClr val="990000"/>
          </a:solidFill>
          <a:ln w="25400"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1" compatLnSpc="1"/>
          <a:lstStyle/>
          <a:p>
            <a:pPr marL="0" marR="0" indent="0" algn="l" defTabSz="914400" rtl="0" eaLnBrk="1" fontAlgn="t" latinLnBrk="0" hangingPunct="1">
              <a:lnSpc>
                <a:spcPct val="100000"/>
              </a:lnSpc>
              <a:spcBef>
                <a:spcPct val="0"/>
              </a:spcBef>
              <a:spcAft>
                <a:spcPct val="0"/>
              </a:spcAft>
              <a:buClrTx/>
              <a:buSzTx/>
              <a:buFontTx/>
              <a:buNone/>
            </a:pPr>
            <a:r>
              <a:rPr kumimoji="0" lang="en-US" altLang="zh-CN" sz="1200" strike="noStrike" cap="none" normalizeH="0" baseline="0" smtClean="0">
                <a:ln>
                  <a:noFill/>
                </a:ln>
                <a:solidFill>
                  <a:srgbClr val="FFFFFF"/>
                </a:solidFill>
                <a:effectLst>
                  <a:glow>
                    <a:scrgbClr r="0" g="0" b="0"/>
                  </a:glow>
                </a:effectLst>
                <a:cs typeface="+mn-ea"/>
                <a:sym typeface="+mn-lt"/>
              </a:rPr>
              <a:t>Text</a:t>
            </a:r>
            <a:endParaRPr kumimoji="0" lang="zh-CN" altLang="en-US" sz="1200" strike="noStrike" cap="none" normalizeH="0" baseline="0" smtClean="0">
              <a:ln>
                <a:noFill/>
              </a:ln>
              <a:solidFill>
                <a:srgbClr val="FFFFFF"/>
              </a:solidFill>
              <a:effectLst>
                <a:glow>
                  <a:scrgbClr r="0" g="0" b="0"/>
                </a:glow>
              </a:effectLst>
              <a:cs typeface="+mn-ea"/>
              <a:sym typeface="+mn-lt"/>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POWER_USER_DIAGRAM_CIRCULAR_ARROW_KEY" val="POWER_USER_DIAGRAM_CIRCULAR_ARROW_VALUE_5"/>
</p:tagLst>
</file>

<file path=ppt/tags/tag10.xml><?xml version="1.0" encoding="utf-8"?>
<p:tagLst xmlns:p="http://schemas.openxmlformats.org/presentationml/2006/main">
  <p:tag name="POWER_USER_DIAGRAM_CIRCULAR_ARROW_KEY" val="POWER_USER_DIAGRAM_CIRCULAR_ARROW_VALUE_14"/>
</p:tagLst>
</file>

<file path=ppt/tags/tag100.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1.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2.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3.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4.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5.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6.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7.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8.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109.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xml><?xml version="1.0" encoding="utf-8"?>
<p:tagLst xmlns:p="http://schemas.openxmlformats.org/presentationml/2006/main">
  <p:tag name="POWER_USER_DIAGRAM_CIRCULAR_ARROW_KEY" val="POWER_USER_DIAGRAM_CIRCULAR_ARROW_VALUE_15"/>
</p:tagLst>
</file>

<file path=ppt/tags/tag110.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1.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2.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3.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4.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5.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6.xml><?xml version="1.0" encoding="utf-8"?>
<p:tagLst xmlns:p="http://schemas.openxmlformats.org/presentationml/2006/main">
  <p:tag name="POWER_USER_TAGS_ICONS" val="certificate_POWER_USER_SEPARATOR_ICONS_award_POWER_USER_SEPARATOR_ICONS_certified_POWER_USER_SEPARATOR_ICONS_diploma"/>
</p:tagLst>
</file>

<file path=ppt/tags/tag117.xml><?xml version="1.0" encoding="utf-8"?>
<p:tagLst xmlns:p="http://schemas.openxmlformats.org/presentationml/2006/main">
  <p:tag name="POWER_USER_DIAGRAM_CIRCULAR_ARROW_KEY" val="POWER_USER_DIAGRAM_CIRCULAR_ARROW_VALUE_5"/>
</p:tagLst>
</file>

<file path=ppt/tags/tag118.xml><?xml version="1.0" encoding="utf-8"?>
<p:tagLst xmlns:p="http://schemas.openxmlformats.org/presentationml/2006/main">
  <p:tag name="POWER_USER_DIAGRAM_CIRCULAR_ARROW_KEY" val="POWER_USER_DIAGRAM_CIRCULAR_ARROW_VALUE_6"/>
</p:tagLst>
</file>

<file path=ppt/tags/tag119.xml><?xml version="1.0" encoding="utf-8"?>
<p:tagLst xmlns:p="http://schemas.openxmlformats.org/presentationml/2006/main">
  <p:tag name="POWER_USER_DIAGRAM_CIRCULAR_ARROW_KEY" val="POWER_USER_DIAGRAM_CIRCULAR_ARROW_VALUE_7"/>
</p:tagLst>
</file>

<file path=ppt/tags/tag12.xml><?xml version="1.0" encoding="utf-8"?>
<p:tagLst xmlns:p="http://schemas.openxmlformats.org/presentationml/2006/main">
  <p:tag name="POWER_USER_DIAGRAM_CIRCULAR_ARROW_KEY" val="POWER_USER_DIAGRAM_CIRCULAR_ARROW_VALUE_16"/>
</p:tagLst>
</file>

<file path=ppt/tags/tag120.xml><?xml version="1.0" encoding="utf-8"?>
<p:tagLst xmlns:p="http://schemas.openxmlformats.org/presentationml/2006/main">
  <p:tag name="POWER_USER_DIAGRAM_CIRCULAR_ARROW_KEY" val="POWER_USER_DIAGRAM_CIRCULAR_ARROW_VALUE_8"/>
</p:tagLst>
</file>

<file path=ppt/tags/tag121.xml><?xml version="1.0" encoding="utf-8"?>
<p:tagLst xmlns:p="http://schemas.openxmlformats.org/presentationml/2006/main">
  <p:tag name="POWER_USER_DIAGRAM_CIRCULAR_ARROW_KEY" val="POWER_USER_DIAGRAM_CIRCULAR_ARROW_VALUE_9"/>
</p:tagLst>
</file>

<file path=ppt/tags/tag122.xml><?xml version="1.0" encoding="utf-8"?>
<p:tagLst xmlns:p="http://schemas.openxmlformats.org/presentationml/2006/main">
  <p:tag name="POWER_USER_DIAGRAM_CIRCULAR_ARROW_KEY" val="POWER_USER_DIAGRAM_CIRCULAR_ARROW_VALUE_10"/>
</p:tagLst>
</file>

<file path=ppt/tags/tag123.xml><?xml version="1.0" encoding="utf-8"?>
<p:tagLst xmlns:p="http://schemas.openxmlformats.org/presentationml/2006/main">
  <p:tag name="POWER_USER_DIAGRAM_CIRCULAR_ARROW_KEY" val="POWER_USER_DIAGRAM_CIRCULAR_ARROW_VALUE_11"/>
</p:tagLst>
</file>

<file path=ppt/tags/tag124.xml><?xml version="1.0" encoding="utf-8"?>
<p:tagLst xmlns:p="http://schemas.openxmlformats.org/presentationml/2006/main">
  <p:tag name="POWER_USER_DIAGRAM_CIRCULAR_ARROW_KEY" val="POWER_USER_DIAGRAM_CIRCULAR_ARROW_VALUE_12"/>
</p:tagLst>
</file>

<file path=ppt/tags/tag125.xml><?xml version="1.0" encoding="utf-8"?>
<p:tagLst xmlns:p="http://schemas.openxmlformats.org/presentationml/2006/main">
  <p:tag name="POWER_USER_DIAGRAM_CIRCULAR_ARROW_KEY" val="POWER_USER_DIAGRAM_CIRCULAR_ARROW_VALUE_13"/>
</p:tagLst>
</file>

<file path=ppt/tags/tag126.xml><?xml version="1.0" encoding="utf-8"?>
<p:tagLst xmlns:p="http://schemas.openxmlformats.org/presentationml/2006/main">
  <p:tag name="POWER_USER_DIAGRAM_CIRCULAR_ARROW_KEY" val="POWER_USER_DIAGRAM_CIRCULAR_ARROW_VALUE_14"/>
</p:tagLst>
</file>

<file path=ppt/tags/tag127.xml><?xml version="1.0" encoding="utf-8"?>
<p:tagLst xmlns:p="http://schemas.openxmlformats.org/presentationml/2006/main">
  <p:tag name="POWER_USER_DIAGRAM_CIRCULAR_ARROW_KEY" val="POWER_USER_DIAGRAM_CIRCULAR_ARROW_VALUE_15"/>
</p:tagLst>
</file>

<file path=ppt/tags/tag128.xml><?xml version="1.0" encoding="utf-8"?>
<p:tagLst xmlns:p="http://schemas.openxmlformats.org/presentationml/2006/main">
  <p:tag name="POWER_USER_DIAGRAM_CIRCULAR_ARROW_KEY" val="POWER_USER_DIAGRAM_CIRCULAR_ARROW_VALUE_16"/>
</p:tagLst>
</file>

<file path=ppt/tags/tag129.xml><?xml version="1.0" encoding="utf-8"?>
<p:tagLst xmlns:p="http://schemas.openxmlformats.org/presentationml/2006/main">
  <p:tag name="POWER_USER_DIAGRAM_CIRCULAR_ARROW_KEY" val="POWER_USER_DIAGRAM_CIRCULAR_ARROW_VALUE_17"/>
</p:tagLst>
</file>

<file path=ppt/tags/tag13.xml><?xml version="1.0" encoding="utf-8"?>
<p:tagLst xmlns:p="http://schemas.openxmlformats.org/presentationml/2006/main">
  <p:tag name="POWER_USER_DIAGRAM_CIRCULAR_ARROW_KEY" val="POWER_USER_DIAGRAM_CIRCULAR_ARROW_VALUE_17"/>
</p:tagLst>
</file>

<file path=ppt/tags/tag130.xml><?xml version="1.0" encoding="utf-8"?>
<p:tagLst xmlns:p="http://schemas.openxmlformats.org/presentationml/2006/main">
  <p:tag name="POWER_USER_DIAGRAM_CIRCULAR_ARROW_KEY" val="POWER_USER_DIAGRAM_CIRCULAR_ARROW_VALUE_18"/>
</p:tagLst>
</file>

<file path=ppt/tags/tag131.xml><?xml version="1.0" encoding="utf-8"?>
<p:tagLst xmlns:p="http://schemas.openxmlformats.org/presentationml/2006/main">
  <p:tag name="POWER_USER_DIAGRAM_CIRCULAR_ARROW_KEY" val="POWER_USER_DIAGRAM_CIRCULAR_ARROW_VALUE_19"/>
</p:tagLst>
</file>

<file path=ppt/tags/tag132.xml><?xml version="1.0" encoding="utf-8"?>
<p:tagLst xmlns:p="http://schemas.openxmlformats.org/presentationml/2006/main">
  <p:tag name="POWER_USER_DIAGRAM_CIRCULAR_ARROW_KEY" val="POWER_USER_DIAGRAM_CIRCULAR_ARROW_VALUE_20"/>
</p:tagLst>
</file>

<file path=ppt/tags/tag133.xml><?xml version="1.0" encoding="utf-8"?>
<p:tagLst xmlns:p="http://schemas.openxmlformats.org/presentationml/2006/main">
  <p:tag name="POWER_USER_DIAGRAM_CIRCULAR_ARROW_KEY" val="POWER_USER_DIAGRAM_CIRCULAR_ARROW_VALUE_21"/>
</p:tagLst>
</file>

<file path=ppt/tags/tag134.xml><?xml version="1.0" encoding="utf-8"?>
<p:tagLst xmlns:p="http://schemas.openxmlformats.org/presentationml/2006/main">
  <p:tag name="POWER_USER_DIAGRAM_CIRCULAR_ARROW_KEY" val="POWER_USER_DIAGRAM_CIRCULAR_ARROW_VALUE_22"/>
</p:tagLst>
</file>

<file path=ppt/tags/tag135.xml><?xml version="1.0" encoding="utf-8"?>
<p:tagLst xmlns:p="http://schemas.openxmlformats.org/presentationml/2006/main">
  <p:tag name="POWER_USER_DIAGRAM_CIRCULAR_ARROW_KEY" val="POWER_USER_DIAGRAM_CIRCULAR_ARROW_VALUE_23"/>
</p:tagLst>
</file>

<file path=ppt/tags/tag136.xml><?xml version="1.0" encoding="utf-8"?>
<p:tagLst xmlns:p="http://schemas.openxmlformats.org/presentationml/2006/main">
  <p:tag name="POWER_USER_DIAGRAM_CIRCULAR_ARROW_KEY" val="POWER_USER_DIAGRAM_CIRCULAR_ARROW_VALUE_24"/>
</p:tagLst>
</file>

<file path=ppt/tags/tag137.xml><?xml version="1.0" encoding="utf-8"?>
<p:tagLst xmlns:p="http://schemas.openxmlformats.org/presentationml/2006/main">
  <p:tag name="POWER_USER_DIAGRAM_CIRCULAR_ARROW_KEY" val="POWER_USER_DIAGRAM_CIRCULAR_ARROW_VALUE_25"/>
</p:tagLst>
</file>

<file path=ppt/tags/tag138.xml><?xml version="1.0" encoding="utf-8"?>
<p:tagLst xmlns:p="http://schemas.openxmlformats.org/presentationml/2006/main">
  <p:tag name="POWER_USER_DIAGRAM_CIRCULAR_ARROW_KEY" val="POWER_USER_DIAGRAM_CIRCULAR_ARROW_VALUE_26"/>
</p:tagLst>
</file>

<file path=ppt/tags/tag139.xml><?xml version="1.0" encoding="utf-8"?>
<p:tagLst xmlns:p="http://schemas.openxmlformats.org/presentationml/2006/main">
  <p:tag name="POWER_USER_DIAGRAM_CIRCULAR_ARROW_KEY" val="POWER_USER_DIAGRAM_CIRCULAR_ARROW_VALUE_27"/>
</p:tagLst>
</file>

<file path=ppt/tags/tag14.xml><?xml version="1.0" encoding="utf-8"?>
<p:tagLst xmlns:p="http://schemas.openxmlformats.org/presentationml/2006/main">
  <p:tag name="POWER_USER_DIAGRAM_CIRCULAR_ARROW_KEY" val="POWER_USER_DIAGRAM_CIRCULAR_ARROW_VALUE_18"/>
</p:tagLst>
</file>

<file path=ppt/tags/tag140.xml><?xml version="1.0" encoding="utf-8"?>
<p:tagLst xmlns:p="http://schemas.openxmlformats.org/presentationml/2006/main">
  <p:tag name="POWER_USER_DIAGRAM_CIRCULAR_ARROW_KEY" val="POWER_USER_DIAGRAM_CIRCULAR_ARROW_VALUE_28"/>
</p:tagLst>
</file>

<file path=ppt/tags/tag141.xml><?xml version="1.0" encoding="utf-8"?>
<p:tagLst xmlns:p="http://schemas.openxmlformats.org/presentationml/2006/main">
  <p:tag name="POWER_USER_DIAGRAM_CIRCULAR_ARROW_KEY" val="POWER_USER_DIAGRAM_CIRCULAR_ARROW_VALUE_29"/>
</p:tagLst>
</file>

<file path=ppt/tags/tag142.xml><?xml version="1.0" encoding="utf-8"?>
<p:tagLst xmlns:p="http://schemas.openxmlformats.org/presentationml/2006/main">
  <p:tag name="POWER_USER_DIAGRAM_CIRCULAR_ARROW_KEY" val="POWER_USER_DIAGRAM_CIRCULAR_ARROW_VALUE_30"/>
</p:tagLst>
</file>

<file path=ppt/tags/tag143.xml><?xml version="1.0" encoding="utf-8"?>
<p:tagLst xmlns:p="http://schemas.openxmlformats.org/presentationml/2006/main">
  <p:tag name="POWER_USER_DIAGRAM_CIRCULAR_ARROW_KEY" val="POWER_USER_DIAGRAM_CIRCULAR_ARROW_VALUE_31"/>
</p:tagLst>
</file>

<file path=ppt/tags/tag144.xml><?xml version="1.0" encoding="utf-8"?>
<p:tagLst xmlns:p="http://schemas.openxmlformats.org/presentationml/2006/main">
  <p:tag name="POWER_USER_DIAGRAM_CIRCULAR_ARROW_KEY" val="POWER_USER_DIAGRAM_CIRCULAR_ARROW_VALUE_32"/>
</p:tagLst>
</file>

<file path=ppt/tags/tag145.xml><?xml version="1.0" encoding="utf-8"?>
<p:tagLst xmlns:p="http://schemas.openxmlformats.org/presentationml/2006/main">
  <p:tag name="POWER_USER_DIAGRAM_CIRCULAR_ARROW_KEY" val="POWER_USER_DIAGRAM_CIRCULAR_ARROW_VALUE_33"/>
</p:tagLst>
</file>

<file path=ppt/tags/tag146.xml><?xml version="1.0" encoding="utf-8"?>
<p:tagLst xmlns:p="http://schemas.openxmlformats.org/presentationml/2006/main">
  <p:tag name="POWER_USER_DIAGRAM_CIRCULAR_ARROW_KEY" val="POWER_USER_DIAGRAM_CIRCULAR_ARROW_VALUE_34"/>
</p:tagLst>
</file>

<file path=ppt/tags/tag147.xml><?xml version="1.0" encoding="utf-8"?>
<p:tagLst xmlns:p="http://schemas.openxmlformats.org/presentationml/2006/main">
  <p:tag name="POWER_USER_DIAGRAM_CIRCULAR_ARROW_KEY" val="POWER_USER_DIAGRAM_CIRCULAR_ARROW_VALUE_35"/>
</p:tagLst>
</file>

<file path=ppt/tags/tag148.xml><?xml version="1.0" encoding="utf-8"?>
<p:tagLst xmlns:p="http://schemas.openxmlformats.org/presentationml/2006/main">
  <p:tag name="POWER_USER_DIAGRAM_CIRCULAR_ARROW_KEY" val="POWER_USER_DIAGRAM_CIRCULAR_ARROW_VALUE_36"/>
</p:tagLst>
</file>

<file path=ppt/tags/tag149.xml><?xml version="1.0" encoding="utf-8"?>
<p:tagLst xmlns:p="http://schemas.openxmlformats.org/presentationml/2006/main">
  <p:tag name="POWER_USER_DIAGRAM_CIRCULAR_ARROW_KEY" val="POWER_USER_DIAGRAM_CIRCULAR_ARROW_VALUE_37"/>
</p:tagLst>
</file>

<file path=ppt/tags/tag15.xml><?xml version="1.0" encoding="utf-8"?>
<p:tagLst xmlns:p="http://schemas.openxmlformats.org/presentationml/2006/main">
  <p:tag name="POWER_USER_DIAGRAM_CIRCULAR_ARROW_KEY" val="POWER_USER_DIAGRAM_CIRCULAR_ARROW_VALUE_19"/>
</p:tagLst>
</file>

<file path=ppt/tags/tag150.xml><?xml version="1.0" encoding="utf-8"?>
<p:tagLst xmlns:p="http://schemas.openxmlformats.org/presentationml/2006/main">
  <p:tag name="POWER_USER_DIAGRAM_CIRCULAR_ARROW_KEY" val="POWER_USER_DIAGRAM_CIRCULAR_ARROW_VALUE_38"/>
</p:tagLst>
</file>

<file path=ppt/tags/tag151.xml><?xml version="1.0" encoding="utf-8"?>
<p:tagLst xmlns:p="http://schemas.openxmlformats.org/presentationml/2006/main">
  <p:tag name="POWER_USER_DIAGRAM_CIRCULAR_ARROW_KEY" val="POWER_USER_DIAGRAM_CIRCULAR_ARROW_VALUE_39"/>
</p:tagLst>
</file>

<file path=ppt/tags/tag152.xml><?xml version="1.0" encoding="utf-8"?>
<p:tagLst xmlns:p="http://schemas.openxmlformats.org/presentationml/2006/main">
  <p:tag name="POWER_USER_DIAGRAM_CIRCULAR_ARROW_KEY" val="POWER_USER_DIAGRAM_CIRCULAR_ARROW_VALUE_40"/>
</p:tagLst>
</file>

<file path=ppt/tags/tag153.xml><?xml version="1.0" encoding="utf-8"?>
<p:tagLst xmlns:p="http://schemas.openxmlformats.org/presentationml/2006/main">
  <p:tag name="POWER_USER_DIAGRAM_CIRCULAR_ARROW_KEY" val="POWER_USER_DIAGRAM_CIRCULAR_ARROW_VALUE_41"/>
</p:tagLst>
</file>

<file path=ppt/tags/tag154.xml><?xml version="1.0" encoding="utf-8"?>
<p:tagLst xmlns:p="http://schemas.openxmlformats.org/presentationml/2006/main">
  <p:tag name="POWER_USER_DIAGRAM_CIRCULAR_ARROW_KEY" val="POWER_USER_DIAGRAM_CIRCULAR_ARROW_VALUE_42"/>
</p:tagLst>
</file>

<file path=ppt/tags/tag155.xml><?xml version="1.0" encoding="utf-8"?>
<p:tagLst xmlns:p="http://schemas.openxmlformats.org/presentationml/2006/main">
  <p:tag name="POWER_USER_DIAGRAM_CIRCULAR_ARROW_KEY" val="POWER_USER_DIAGRAM_CIRCULAR_ARROW_VALUE_43"/>
</p:tagLst>
</file>

<file path=ppt/tags/tag156.xml><?xml version="1.0" encoding="utf-8"?>
<p:tagLst xmlns:p="http://schemas.openxmlformats.org/presentationml/2006/main">
  <p:tag name="POWER_USER_DIAGRAM_CIRCULAR_ARROW_KEY" val="POWER_USER_DIAGRAM_CIRCULAR_ARROW_VALUE_44"/>
</p:tagLst>
</file>

<file path=ppt/tags/tag157.xml><?xml version="1.0" encoding="utf-8"?>
<p:tagLst xmlns:p="http://schemas.openxmlformats.org/presentationml/2006/main">
  <p:tag name="POWER_USER_DIAGRAM_CIRCULAR_ARROW_KEY" val="POWER_USER_DIAGRAM_CIRCULAR_ARROW_VALUE_45"/>
</p:tagLst>
</file>

<file path=ppt/tags/tag158.xml><?xml version="1.0" encoding="utf-8"?>
<p:tagLst xmlns:p="http://schemas.openxmlformats.org/presentationml/2006/main">
  <p:tag name="POWER_USER_DIAGRAM_CIRCULAR_ARROW_KEY" val="POWER_USER_DIAGRAM_CIRCULAR_ARROW_VALUE_46"/>
</p:tagLst>
</file>

<file path=ppt/tags/tag159.xml><?xml version="1.0" encoding="utf-8"?>
<p:tagLst xmlns:p="http://schemas.openxmlformats.org/presentationml/2006/main">
  <p:tag name="POWER_USER_DIAGRAM_CIRCULAR_ARROW_KEY" val="POWER_USER_DIAGRAM_CIRCULAR_ARROW_VALUE_47"/>
</p:tagLst>
</file>

<file path=ppt/tags/tag16.xml><?xml version="1.0" encoding="utf-8"?>
<p:tagLst xmlns:p="http://schemas.openxmlformats.org/presentationml/2006/main">
  <p:tag name="POWER_USER_DIAGRAM_CIRCULAR_ARROW_KEY" val="POWER_USER_DIAGRAM_CIRCULAR_ARROW_VALUE_20"/>
</p:tagLst>
</file>

<file path=ppt/tags/tag160.xml><?xml version="1.0" encoding="utf-8"?>
<p:tagLst xmlns:p="http://schemas.openxmlformats.org/presentationml/2006/main">
  <p:tag name="POWER_USER_DIAGRAM_CIRCULAR_ARROW_KEY" val="POWER_USER_DIAGRAM_CIRCULAR_ARROW_VALUE_48"/>
</p:tagLst>
</file>

<file path=ppt/tags/tag161.xml><?xml version="1.0" encoding="utf-8"?>
<p:tagLst xmlns:p="http://schemas.openxmlformats.org/presentationml/2006/main">
  <p:tag name="POWER_USER_DIAGRAM_CIRCULAR_ARROW_KEY" val="POWER_USER_DIAGRAM_CIRCULAR_ARROW_VALUE_49"/>
</p:tagLst>
</file>

<file path=ppt/tags/tag162.xml><?xml version="1.0" encoding="utf-8"?>
<p:tagLst xmlns:p="http://schemas.openxmlformats.org/presentationml/2006/main">
  <p:tag name="POWER_USER_DIAGRAM_CIRCULAR_ARROW_KEY" val="POWER_USER_DIAGRAM_CIRCULAR_ARROW_VALUE_50"/>
</p:tagLst>
</file>

<file path=ppt/tags/tag163.xml><?xml version="1.0" encoding="utf-8"?>
<p:tagLst xmlns:p="http://schemas.openxmlformats.org/presentationml/2006/main">
  <p:tag name="POWER_USER_TAGS_ICONS" val="Shape icons"/>
</p:tagLst>
</file>

<file path=ppt/tags/tag164.xml><?xml version="1.0" encoding="utf-8"?>
<p:tagLst xmlns:p="http://schemas.openxmlformats.org/presentationml/2006/main">
  <p:tag name="POWER_USER_TAGS_ICONS" val="Shape icons"/>
</p:tagLst>
</file>

<file path=ppt/tags/tag165.xml><?xml version="1.0" encoding="utf-8"?>
<p:tagLst xmlns:p="http://schemas.openxmlformats.org/presentationml/2006/main">
  <p:tag name="POWER_USER_TAGS_ICONS" val="Shape icons"/>
</p:tagLst>
</file>

<file path=ppt/tags/tag166.xml><?xml version="1.0" encoding="utf-8"?>
<p:tagLst xmlns:p="http://schemas.openxmlformats.org/presentationml/2006/main">
  <p:tag name="POWER_USER_TAGS_ICONS" val="Shape icons"/>
</p:tagLst>
</file>

<file path=ppt/tags/tag167.xml><?xml version="1.0" encoding="utf-8"?>
<p:tagLst xmlns:p="http://schemas.openxmlformats.org/presentationml/2006/main">
  <p:tag name="POWER_USER_TAGS_ICONS" val=""/>
</p:tagLst>
</file>

<file path=ppt/tags/tag168.xml><?xml version="1.0" encoding="utf-8"?>
<p:tagLst xmlns:p="http://schemas.openxmlformats.org/presentationml/2006/main">
  <p:tag name="POWER_USER_TAGS_ICONS" val=""/>
</p:tagLst>
</file>

<file path=ppt/tags/tag169.xml><?xml version="1.0" encoding="utf-8"?>
<p:tagLst xmlns:p="http://schemas.openxmlformats.org/presentationml/2006/main">
  <p:tag name="POWER_USER_TAGS_ICONS" val=""/>
</p:tagLst>
</file>

<file path=ppt/tags/tag17.xml><?xml version="1.0" encoding="utf-8"?>
<p:tagLst xmlns:p="http://schemas.openxmlformats.org/presentationml/2006/main">
  <p:tag name="POWER_USER_DIAGRAM_CIRCULAR_ARROW_KEY" val="POWER_USER_DIAGRAM_CIRCULAR_ARROW_VALUE_21"/>
</p:tagLst>
</file>

<file path=ppt/tags/tag170.xml><?xml version="1.0" encoding="utf-8"?>
<p:tagLst xmlns:p="http://schemas.openxmlformats.org/presentationml/2006/main">
  <p:tag name="POWER_USER_TAGS_ICONS" val="Shape icons"/>
</p:tagLst>
</file>

<file path=ppt/tags/tag171.xml><?xml version="1.0" encoding="utf-8"?>
<p:tagLst xmlns:p="http://schemas.openxmlformats.org/presentationml/2006/main">
  <p:tag name="POWER_USER_DIAGRAM_CIRCULAR_ARROW_KEY" val="POWER_USER_DIAGRAM_CIRCULAR_ARROW_VALUE_5"/>
</p:tagLst>
</file>

<file path=ppt/tags/tag172.xml><?xml version="1.0" encoding="utf-8"?>
<p:tagLst xmlns:p="http://schemas.openxmlformats.org/presentationml/2006/main">
  <p:tag name="POWER_USER_DIAGRAM_CIRCULAR_ARROW_KEY" val="POWER_USER_DIAGRAM_CIRCULAR_ARROW_VALUE_6"/>
</p:tagLst>
</file>

<file path=ppt/tags/tag173.xml><?xml version="1.0" encoding="utf-8"?>
<p:tagLst xmlns:p="http://schemas.openxmlformats.org/presentationml/2006/main">
  <p:tag name="POWER_USER_DIAGRAM_CIRCULAR_ARROW_KEY" val="POWER_USER_DIAGRAM_CIRCULAR_ARROW_VALUE_7"/>
</p:tagLst>
</file>

<file path=ppt/tags/tag174.xml><?xml version="1.0" encoding="utf-8"?>
<p:tagLst xmlns:p="http://schemas.openxmlformats.org/presentationml/2006/main">
  <p:tag name="POWER_USER_DIAGRAM_CIRCULAR_ARROW_KEY" val="POWER_USER_DIAGRAM_CIRCULAR_ARROW_VALUE_8"/>
</p:tagLst>
</file>

<file path=ppt/tags/tag175.xml><?xml version="1.0" encoding="utf-8"?>
<p:tagLst xmlns:p="http://schemas.openxmlformats.org/presentationml/2006/main">
  <p:tag name="POWER_USER_DIAGRAM_CIRCULAR_ARROW_KEY" val="POWER_USER_DIAGRAM_CIRCULAR_ARROW_VALUE_9"/>
</p:tagLst>
</file>

<file path=ppt/tags/tag176.xml><?xml version="1.0" encoding="utf-8"?>
<p:tagLst xmlns:p="http://schemas.openxmlformats.org/presentationml/2006/main">
  <p:tag name="POWER_USER_DIAGRAM_CIRCULAR_ARROW_KEY" val="POWER_USER_DIAGRAM_CIRCULAR_ARROW_VALUE_10"/>
</p:tagLst>
</file>

<file path=ppt/tags/tag177.xml><?xml version="1.0" encoding="utf-8"?>
<p:tagLst xmlns:p="http://schemas.openxmlformats.org/presentationml/2006/main">
  <p:tag name="POWER_USER_DIAGRAM_CIRCULAR_ARROW_KEY" val="POWER_USER_DIAGRAM_CIRCULAR_ARROW_VALUE_11"/>
</p:tagLst>
</file>

<file path=ppt/tags/tag178.xml><?xml version="1.0" encoding="utf-8"?>
<p:tagLst xmlns:p="http://schemas.openxmlformats.org/presentationml/2006/main">
  <p:tag name="POWER_USER_DIAGRAM_CIRCULAR_ARROW_KEY" val="POWER_USER_DIAGRAM_CIRCULAR_ARROW_VALUE_12"/>
</p:tagLst>
</file>

<file path=ppt/tags/tag179.xml><?xml version="1.0" encoding="utf-8"?>
<p:tagLst xmlns:p="http://schemas.openxmlformats.org/presentationml/2006/main">
  <p:tag name="POWER_USER_DIAGRAM_CIRCULAR_ARROW_KEY" val="POWER_USER_DIAGRAM_CIRCULAR_ARROW_VALUE_13"/>
</p:tagLst>
</file>

<file path=ppt/tags/tag18.xml><?xml version="1.0" encoding="utf-8"?>
<p:tagLst xmlns:p="http://schemas.openxmlformats.org/presentationml/2006/main">
  <p:tag name="POWER_USER_DIAGRAM_CIRCULAR_ARROW_KEY" val="POWER_USER_DIAGRAM_CIRCULAR_ARROW_VALUE_22"/>
</p:tagLst>
</file>

<file path=ppt/tags/tag180.xml><?xml version="1.0" encoding="utf-8"?>
<p:tagLst xmlns:p="http://schemas.openxmlformats.org/presentationml/2006/main">
  <p:tag name="POWER_USER_DIAGRAM_CIRCULAR_ARROW_KEY" val="POWER_USER_DIAGRAM_CIRCULAR_ARROW_VALUE_14"/>
</p:tagLst>
</file>

<file path=ppt/tags/tag181.xml><?xml version="1.0" encoding="utf-8"?>
<p:tagLst xmlns:p="http://schemas.openxmlformats.org/presentationml/2006/main">
  <p:tag name="POWER_USER_DIAGRAM_CIRCULAR_ARROW_KEY" val="POWER_USER_DIAGRAM_CIRCULAR_ARROW_VALUE_15"/>
</p:tagLst>
</file>

<file path=ppt/tags/tag182.xml><?xml version="1.0" encoding="utf-8"?>
<p:tagLst xmlns:p="http://schemas.openxmlformats.org/presentationml/2006/main">
  <p:tag name="POWER_USER_DIAGRAM_CIRCULAR_ARROW_KEY" val="POWER_USER_DIAGRAM_CIRCULAR_ARROW_VALUE_16"/>
</p:tagLst>
</file>

<file path=ppt/tags/tag183.xml><?xml version="1.0" encoding="utf-8"?>
<p:tagLst xmlns:p="http://schemas.openxmlformats.org/presentationml/2006/main">
  <p:tag name="POWER_USER_DIAGRAM_CIRCULAR_ARROW_KEY" val="POWER_USER_DIAGRAM_CIRCULAR_ARROW_VALUE_17"/>
</p:tagLst>
</file>

<file path=ppt/tags/tag184.xml><?xml version="1.0" encoding="utf-8"?>
<p:tagLst xmlns:p="http://schemas.openxmlformats.org/presentationml/2006/main">
  <p:tag name="POWER_USER_DIAGRAM_CIRCULAR_ARROW_KEY" val="POWER_USER_DIAGRAM_CIRCULAR_ARROW_VALUE_18"/>
</p:tagLst>
</file>

<file path=ppt/tags/tag185.xml><?xml version="1.0" encoding="utf-8"?>
<p:tagLst xmlns:p="http://schemas.openxmlformats.org/presentationml/2006/main">
  <p:tag name="POWER_USER_DIAGRAM_CIRCULAR_ARROW_KEY" val="POWER_USER_DIAGRAM_CIRCULAR_ARROW_VALUE_19"/>
</p:tagLst>
</file>

<file path=ppt/tags/tag186.xml><?xml version="1.0" encoding="utf-8"?>
<p:tagLst xmlns:p="http://schemas.openxmlformats.org/presentationml/2006/main">
  <p:tag name="POWER_USER_DIAGRAM_CIRCULAR_ARROW_KEY" val="POWER_USER_DIAGRAM_CIRCULAR_ARROW_VALUE_20"/>
</p:tagLst>
</file>

<file path=ppt/tags/tag187.xml><?xml version="1.0" encoding="utf-8"?>
<p:tagLst xmlns:p="http://schemas.openxmlformats.org/presentationml/2006/main">
  <p:tag name="POWER_USER_DIAGRAM_CIRCULAR_ARROW_KEY" val="POWER_USER_DIAGRAM_CIRCULAR_ARROW_VALUE_21"/>
</p:tagLst>
</file>

<file path=ppt/tags/tag188.xml><?xml version="1.0" encoding="utf-8"?>
<p:tagLst xmlns:p="http://schemas.openxmlformats.org/presentationml/2006/main">
  <p:tag name="POWER_USER_DIAGRAM_CIRCULAR_ARROW_KEY" val="POWER_USER_DIAGRAM_CIRCULAR_ARROW_VALUE_22"/>
</p:tagLst>
</file>

<file path=ppt/tags/tag189.xml><?xml version="1.0" encoding="utf-8"?>
<p:tagLst xmlns:p="http://schemas.openxmlformats.org/presentationml/2006/main">
  <p:tag name="POWER_USER_DIAGRAM_CIRCULAR_ARROW_KEY" val="POWER_USER_DIAGRAM_CIRCULAR_ARROW_VALUE_23"/>
</p:tagLst>
</file>

<file path=ppt/tags/tag19.xml><?xml version="1.0" encoding="utf-8"?>
<p:tagLst xmlns:p="http://schemas.openxmlformats.org/presentationml/2006/main">
  <p:tag name="POWER_USER_DIAGRAM_CIRCULAR_ARROW_KEY" val="POWER_USER_DIAGRAM_CIRCULAR_ARROW_VALUE_23"/>
</p:tagLst>
</file>

<file path=ppt/tags/tag190.xml><?xml version="1.0" encoding="utf-8"?>
<p:tagLst xmlns:p="http://schemas.openxmlformats.org/presentationml/2006/main">
  <p:tag name="POWER_USER_DIAGRAM_CIRCULAR_ARROW_KEY" val="POWER_USER_DIAGRAM_CIRCULAR_ARROW_VALUE_24"/>
</p:tagLst>
</file>

<file path=ppt/tags/tag191.xml><?xml version="1.0" encoding="utf-8"?>
<p:tagLst xmlns:p="http://schemas.openxmlformats.org/presentationml/2006/main">
  <p:tag name="POWER_USER_DIAGRAM_CIRCULAR_ARROW_KEY" val="POWER_USER_DIAGRAM_CIRCULAR_ARROW_VALUE_25"/>
</p:tagLst>
</file>

<file path=ppt/tags/tag192.xml><?xml version="1.0" encoding="utf-8"?>
<p:tagLst xmlns:p="http://schemas.openxmlformats.org/presentationml/2006/main">
  <p:tag name="POWER_USER_DIAGRAM_CIRCULAR_ARROW_KEY" val="POWER_USER_DIAGRAM_CIRCULAR_ARROW_VALUE_26"/>
</p:tagLst>
</file>

<file path=ppt/tags/tag193.xml><?xml version="1.0" encoding="utf-8"?>
<p:tagLst xmlns:p="http://schemas.openxmlformats.org/presentationml/2006/main">
  <p:tag name="POWER_USER_DIAGRAM_CIRCULAR_ARROW_KEY" val="POWER_USER_DIAGRAM_CIRCULAR_ARROW_VALUE_27"/>
</p:tagLst>
</file>

<file path=ppt/tags/tag194.xml><?xml version="1.0" encoding="utf-8"?>
<p:tagLst xmlns:p="http://schemas.openxmlformats.org/presentationml/2006/main">
  <p:tag name="POWER_USER_DIAGRAM_CIRCULAR_ARROW_KEY" val="POWER_USER_DIAGRAM_CIRCULAR_ARROW_VALUE_28"/>
</p:tagLst>
</file>

<file path=ppt/tags/tag195.xml><?xml version="1.0" encoding="utf-8"?>
<p:tagLst xmlns:p="http://schemas.openxmlformats.org/presentationml/2006/main">
  <p:tag name="POWER_USER_DIAGRAM_CIRCULAR_ARROW_KEY" val="POWER_USER_DIAGRAM_CIRCULAR_ARROW_VALUE_29"/>
</p:tagLst>
</file>

<file path=ppt/tags/tag196.xml><?xml version="1.0" encoding="utf-8"?>
<p:tagLst xmlns:p="http://schemas.openxmlformats.org/presentationml/2006/main">
  <p:tag name="POWER_USER_DIAGRAM_CIRCULAR_ARROW_KEY" val="POWER_USER_DIAGRAM_CIRCULAR_ARROW_VALUE_30"/>
</p:tagLst>
</file>

<file path=ppt/tags/tag197.xml><?xml version="1.0" encoding="utf-8"?>
<p:tagLst xmlns:p="http://schemas.openxmlformats.org/presentationml/2006/main">
  <p:tag name="POWER_USER_DIAGRAM_CIRCULAR_ARROW_KEY" val="POWER_USER_DIAGRAM_CIRCULAR_ARROW_VALUE_31"/>
</p:tagLst>
</file>

<file path=ppt/tags/tag198.xml><?xml version="1.0" encoding="utf-8"?>
<p:tagLst xmlns:p="http://schemas.openxmlformats.org/presentationml/2006/main">
  <p:tag name="POWER_USER_DIAGRAM_CIRCULAR_ARROW_KEY" val="POWER_USER_DIAGRAM_CIRCULAR_ARROW_VALUE_32"/>
</p:tagLst>
</file>

<file path=ppt/tags/tag199.xml><?xml version="1.0" encoding="utf-8"?>
<p:tagLst xmlns:p="http://schemas.openxmlformats.org/presentationml/2006/main">
  <p:tag name="POWER_USER_DIAGRAM_CIRCULAR_ARROW_KEY" val="POWER_USER_DIAGRAM_CIRCULAR_ARROW_VALUE_33"/>
</p:tagLst>
</file>

<file path=ppt/tags/tag2.xml><?xml version="1.0" encoding="utf-8"?>
<p:tagLst xmlns:p="http://schemas.openxmlformats.org/presentationml/2006/main">
  <p:tag name="POWER_USER_DIAGRAM_CIRCULAR_ARROW_KEY" val="POWER_USER_DIAGRAM_CIRCULAR_ARROW_VALUE_6"/>
</p:tagLst>
</file>

<file path=ppt/tags/tag20.xml><?xml version="1.0" encoding="utf-8"?>
<p:tagLst xmlns:p="http://schemas.openxmlformats.org/presentationml/2006/main">
  <p:tag name="POWER_USER_DIAGRAM_CIRCULAR_ARROW_KEY" val="POWER_USER_DIAGRAM_CIRCULAR_ARROW_VALUE_24"/>
</p:tagLst>
</file>

<file path=ppt/tags/tag200.xml><?xml version="1.0" encoding="utf-8"?>
<p:tagLst xmlns:p="http://schemas.openxmlformats.org/presentationml/2006/main">
  <p:tag name="POWER_USER_DIAGRAM_CIRCULAR_ARROW_KEY" val="POWER_USER_DIAGRAM_CIRCULAR_ARROW_VALUE_34"/>
</p:tagLst>
</file>

<file path=ppt/tags/tag201.xml><?xml version="1.0" encoding="utf-8"?>
<p:tagLst xmlns:p="http://schemas.openxmlformats.org/presentationml/2006/main">
  <p:tag name="POWER_USER_DIAGRAM_CIRCULAR_ARROW_KEY" val="POWER_USER_DIAGRAM_CIRCULAR_ARROW_VALUE_35"/>
</p:tagLst>
</file>

<file path=ppt/tags/tag202.xml><?xml version="1.0" encoding="utf-8"?>
<p:tagLst xmlns:p="http://schemas.openxmlformats.org/presentationml/2006/main">
  <p:tag name="POWER_USER_DIAGRAM_CIRCULAR_ARROW_KEY" val="POWER_USER_DIAGRAM_CIRCULAR_ARROW_VALUE_36"/>
</p:tagLst>
</file>

<file path=ppt/tags/tag203.xml><?xml version="1.0" encoding="utf-8"?>
<p:tagLst xmlns:p="http://schemas.openxmlformats.org/presentationml/2006/main">
  <p:tag name="POWER_USER_DIAGRAM_CIRCULAR_ARROW_KEY" val="POWER_USER_DIAGRAM_CIRCULAR_ARROW_VALUE_37"/>
</p:tagLst>
</file>

<file path=ppt/tags/tag204.xml><?xml version="1.0" encoding="utf-8"?>
<p:tagLst xmlns:p="http://schemas.openxmlformats.org/presentationml/2006/main">
  <p:tag name="POWER_USER_DIAGRAM_CIRCULAR_ARROW_KEY" val="POWER_USER_DIAGRAM_CIRCULAR_ARROW_VALUE_38"/>
</p:tagLst>
</file>

<file path=ppt/tags/tag205.xml><?xml version="1.0" encoding="utf-8"?>
<p:tagLst xmlns:p="http://schemas.openxmlformats.org/presentationml/2006/main">
  <p:tag name="POWER_USER_DIAGRAM_CIRCULAR_ARROW_KEY" val="POWER_USER_DIAGRAM_CIRCULAR_ARROW_VALUE_39"/>
</p:tagLst>
</file>

<file path=ppt/tags/tag206.xml><?xml version="1.0" encoding="utf-8"?>
<p:tagLst xmlns:p="http://schemas.openxmlformats.org/presentationml/2006/main">
  <p:tag name="POWER_USER_DIAGRAM_CIRCULAR_ARROW_KEY" val="POWER_USER_DIAGRAM_CIRCULAR_ARROW_VALUE_40"/>
</p:tagLst>
</file>

<file path=ppt/tags/tag207.xml><?xml version="1.0" encoding="utf-8"?>
<p:tagLst xmlns:p="http://schemas.openxmlformats.org/presentationml/2006/main">
  <p:tag name="POWER_USER_DIAGRAM_CIRCULAR_ARROW_KEY" val="POWER_USER_DIAGRAM_CIRCULAR_ARROW_VALUE_41"/>
</p:tagLst>
</file>

<file path=ppt/tags/tag208.xml><?xml version="1.0" encoding="utf-8"?>
<p:tagLst xmlns:p="http://schemas.openxmlformats.org/presentationml/2006/main">
  <p:tag name="POWER_USER_DIAGRAM_CIRCULAR_ARROW_KEY" val="POWER_USER_DIAGRAM_CIRCULAR_ARROW_VALUE_42"/>
</p:tagLst>
</file>

<file path=ppt/tags/tag209.xml><?xml version="1.0" encoding="utf-8"?>
<p:tagLst xmlns:p="http://schemas.openxmlformats.org/presentationml/2006/main">
  <p:tag name="POWER_USER_DIAGRAM_CIRCULAR_ARROW_KEY" val="POWER_USER_DIAGRAM_CIRCULAR_ARROW_VALUE_43"/>
</p:tagLst>
</file>

<file path=ppt/tags/tag21.xml><?xml version="1.0" encoding="utf-8"?>
<p:tagLst xmlns:p="http://schemas.openxmlformats.org/presentationml/2006/main">
  <p:tag name="POWER_USER_DIAGRAM_CIRCULAR_ARROW_KEY" val="POWER_USER_DIAGRAM_CIRCULAR_ARROW_VALUE_25"/>
</p:tagLst>
</file>

<file path=ppt/tags/tag210.xml><?xml version="1.0" encoding="utf-8"?>
<p:tagLst xmlns:p="http://schemas.openxmlformats.org/presentationml/2006/main">
  <p:tag name="POWER_USER_DIAGRAM_CIRCULAR_ARROW_KEY" val="POWER_USER_DIAGRAM_CIRCULAR_ARROW_VALUE_44"/>
</p:tagLst>
</file>

<file path=ppt/tags/tag211.xml><?xml version="1.0" encoding="utf-8"?>
<p:tagLst xmlns:p="http://schemas.openxmlformats.org/presentationml/2006/main">
  <p:tag name="POWER_USER_DIAGRAM_CIRCULAR_ARROW_KEY" val="POWER_USER_DIAGRAM_CIRCULAR_ARROW_VALUE_45"/>
</p:tagLst>
</file>

<file path=ppt/tags/tag212.xml><?xml version="1.0" encoding="utf-8"?>
<p:tagLst xmlns:p="http://schemas.openxmlformats.org/presentationml/2006/main">
  <p:tag name="POWER_USER_DIAGRAM_CIRCULAR_ARROW_KEY" val="POWER_USER_DIAGRAM_CIRCULAR_ARROW_VALUE_46"/>
</p:tagLst>
</file>

<file path=ppt/tags/tag213.xml><?xml version="1.0" encoding="utf-8"?>
<p:tagLst xmlns:p="http://schemas.openxmlformats.org/presentationml/2006/main">
  <p:tag name="POWER_USER_DIAGRAM_CIRCULAR_ARROW_KEY" val="POWER_USER_DIAGRAM_CIRCULAR_ARROW_VALUE_47"/>
</p:tagLst>
</file>

<file path=ppt/tags/tag214.xml><?xml version="1.0" encoding="utf-8"?>
<p:tagLst xmlns:p="http://schemas.openxmlformats.org/presentationml/2006/main">
  <p:tag name="POWER_USER_DIAGRAM_CIRCULAR_ARROW_KEY" val="POWER_USER_DIAGRAM_CIRCULAR_ARROW_VALUE_48"/>
</p:tagLst>
</file>

<file path=ppt/tags/tag215.xml><?xml version="1.0" encoding="utf-8"?>
<p:tagLst xmlns:p="http://schemas.openxmlformats.org/presentationml/2006/main">
  <p:tag name="POWER_USER_DIAGRAM_CIRCULAR_ARROW_KEY" val="POWER_USER_DIAGRAM_CIRCULAR_ARROW_VALUE_49"/>
</p:tagLst>
</file>

<file path=ppt/tags/tag216.xml><?xml version="1.0" encoding="utf-8"?>
<p:tagLst xmlns:p="http://schemas.openxmlformats.org/presentationml/2006/main">
  <p:tag name="POWER_USER_DIAGRAM_CIRCULAR_ARROW_KEY" val="POWER_USER_DIAGRAM_CIRCULAR_ARROW_VALUE_50"/>
</p:tagLst>
</file>

<file path=ppt/tags/tag217.xml><?xml version="1.0" encoding="utf-8"?>
<p:tagLst xmlns:p="http://schemas.openxmlformats.org/presentationml/2006/main">
  <p:tag name="POWER_USER_TAGS_ICONS" val=""/>
</p:tagLst>
</file>

<file path=ppt/tags/tag218.xml><?xml version="1.0" encoding="utf-8"?>
<p:tagLst xmlns:p="http://schemas.openxmlformats.org/presentationml/2006/main">
  <p:tag name="POWER_USER_TAGS_ICONS" val=""/>
</p:tagLst>
</file>

<file path=ppt/tags/tag219.xml><?xml version="1.0" encoding="utf-8"?>
<p:tagLst xmlns:p="http://schemas.openxmlformats.org/presentationml/2006/main">
  <p:tag name="POWER_USER_TAGS_ICONS" val=""/>
</p:tagLst>
</file>

<file path=ppt/tags/tag22.xml><?xml version="1.0" encoding="utf-8"?>
<p:tagLst xmlns:p="http://schemas.openxmlformats.org/presentationml/2006/main">
  <p:tag name="POWER_USER_DIAGRAM_CIRCULAR_ARROW_KEY" val="POWER_USER_DIAGRAM_CIRCULAR_ARROW_VALUE_26"/>
</p:tagLst>
</file>

<file path=ppt/tags/tag220.xml><?xml version="1.0" encoding="utf-8"?>
<p:tagLst xmlns:p="http://schemas.openxmlformats.org/presentationml/2006/main">
  <p:tag name="POWER_USER_TAGS_ICONS" val="business-man_POWER_USER_SEPARATOR_ICONS_worker"/>
</p:tagLst>
</file>

<file path=ppt/tags/tag221.xml><?xml version="1.0" encoding="utf-8"?>
<p:tagLst xmlns:p="http://schemas.openxmlformats.org/presentationml/2006/main">
  <p:tag name="POWER_USER_TAGS_ICONS" val="businessman*professional"/>
</p:tagLst>
</file>

<file path=ppt/tags/tag222.xml><?xml version="1.0" encoding="utf-8"?>
<p:tagLst xmlns:p="http://schemas.openxmlformats.org/presentationml/2006/main">
  <p:tag name="POWER_USER_TAGS_ICONS" val="business people"/>
</p:tagLst>
</file>

<file path=ppt/tags/tag223.xml><?xml version="1.0" encoding="utf-8"?>
<p:tagLst xmlns:p="http://schemas.openxmlformats.org/presentationml/2006/main">
  <p:tag name="POWER_USER_DIAGRAM_CIRCULAR_ARROW_KEY" val="POWER_USER_DIAGRAM_CIRCULAR_ARROW_VALUE_5"/>
</p:tagLst>
</file>

<file path=ppt/tags/tag224.xml><?xml version="1.0" encoding="utf-8"?>
<p:tagLst xmlns:p="http://schemas.openxmlformats.org/presentationml/2006/main">
  <p:tag name="POWER_USER_DIAGRAM_CIRCULAR_ARROW_KEY" val="POWER_USER_DIAGRAM_CIRCULAR_ARROW_VALUE_6"/>
</p:tagLst>
</file>

<file path=ppt/tags/tag225.xml><?xml version="1.0" encoding="utf-8"?>
<p:tagLst xmlns:p="http://schemas.openxmlformats.org/presentationml/2006/main">
  <p:tag name="POWER_USER_DIAGRAM_CIRCULAR_ARROW_KEY" val="POWER_USER_DIAGRAM_CIRCULAR_ARROW_VALUE_7"/>
</p:tagLst>
</file>

<file path=ppt/tags/tag226.xml><?xml version="1.0" encoding="utf-8"?>
<p:tagLst xmlns:p="http://schemas.openxmlformats.org/presentationml/2006/main">
  <p:tag name="POWER_USER_DIAGRAM_CIRCULAR_ARROW_KEY" val="POWER_USER_DIAGRAM_CIRCULAR_ARROW_VALUE_8"/>
</p:tagLst>
</file>

<file path=ppt/tags/tag227.xml><?xml version="1.0" encoding="utf-8"?>
<p:tagLst xmlns:p="http://schemas.openxmlformats.org/presentationml/2006/main">
  <p:tag name="POWER_USER_DIAGRAM_CIRCULAR_ARROW_KEY" val="POWER_USER_DIAGRAM_CIRCULAR_ARROW_VALUE_9"/>
</p:tagLst>
</file>

<file path=ppt/tags/tag228.xml><?xml version="1.0" encoding="utf-8"?>
<p:tagLst xmlns:p="http://schemas.openxmlformats.org/presentationml/2006/main">
  <p:tag name="POWER_USER_DIAGRAM_CIRCULAR_ARROW_KEY" val="POWER_USER_DIAGRAM_CIRCULAR_ARROW_VALUE_10"/>
</p:tagLst>
</file>

<file path=ppt/tags/tag229.xml><?xml version="1.0" encoding="utf-8"?>
<p:tagLst xmlns:p="http://schemas.openxmlformats.org/presentationml/2006/main">
  <p:tag name="POWER_USER_DIAGRAM_CIRCULAR_ARROW_KEY" val="POWER_USER_DIAGRAM_CIRCULAR_ARROW_VALUE_11"/>
</p:tagLst>
</file>

<file path=ppt/tags/tag23.xml><?xml version="1.0" encoding="utf-8"?>
<p:tagLst xmlns:p="http://schemas.openxmlformats.org/presentationml/2006/main">
  <p:tag name="POWER_USER_DIAGRAM_CIRCULAR_ARROW_KEY" val="POWER_USER_DIAGRAM_CIRCULAR_ARROW_VALUE_27"/>
</p:tagLst>
</file>

<file path=ppt/tags/tag230.xml><?xml version="1.0" encoding="utf-8"?>
<p:tagLst xmlns:p="http://schemas.openxmlformats.org/presentationml/2006/main">
  <p:tag name="POWER_USER_DIAGRAM_CIRCULAR_ARROW_KEY" val="POWER_USER_DIAGRAM_CIRCULAR_ARROW_VALUE_12"/>
</p:tagLst>
</file>

<file path=ppt/tags/tag231.xml><?xml version="1.0" encoding="utf-8"?>
<p:tagLst xmlns:p="http://schemas.openxmlformats.org/presentationml/2006/main">
  <p:tag name="POWER_USER_DIAGRAM_CIRCULAR_ARROW_KEY" val="POWER_USER_DIAGRAM_CIRCULAR_ARROW_VALUE_13"/>
</p:tagLst>
</file>

<file path=ppt/tags/tag232.xml><?xml version="1.0" encoding="utf-8"?>
<p:tagLst xmlns:p="http://schemas.openxmlformats.org/presentationml/2006/main">
  <p:tag name="POWER_USER_DIAGRAM_CIRCULAR_ARROW_KEY" val="POWER_USER_DIAGRAM_CIRCULAR_ARROW_VALUE_14"/>
</p:tagLst>
</file>

<file path=ppt/tags/tag233.xml><?xml version="1.0" encoding="utf-8"?>
<p:tagLst xmlns:p="http://schemas.openxmlformats.org/presentationml/2006/main">
  <p:tag name="POWER_USER_DIAGRAM_CIRCULAR_ARROW_KEY" val="POWER_USER_DIAGRAM_CIRCULAR_ARROW_VALUE_15"/>
</p:tagLst>
</file>

<file path=ppt/tags/tag234.xml><?xml version="1.0" encoding="utf-8"?>
<p:tagLst xmlns:p="http://schemas.openxmlformats.org/presentationml/2006/main">
  <p:tag name="POWER_USER_DIAGRAM_CIRCULAR_ARROW_KEY" val="POWER_USER_DIAGRAM_CIRCULAR_ARROW_VALUE_16"/>
</p:tagLst>
</file>

<file path=ppt/tags/tag235.xml><?xml version="1.0" encoding="utf-8"?>
<p:tagLst xmlns:p="http://schemas.openxmlformats.org/presentationml/2006/main">
  <p:tag name="POWER_USER_DIAGRAM_CIRCULAR_ARROW_KEY" val="POWER_USER_DIAGRAM_CIRCULAR_ARROW_VALUE_17"/>
</p:tagLst>
</file>

<file path=ppt/tags/tag236.xml><?xml version="1.0" encoding="utf-8"?>
<p:tagLst xmlns:p="http://schemas.openxmlformats.org/presentationml/2006/main">
  <p:tag name="POWER_USER_DIAGRAM_CIRCULAR_ARROW_KEY" val="POWER_USER_DIAGRAM_CIRCULAR_ARROW_VALUE_18"/>
</p:tagLst>
</file>

<file path=ppt/tags/tag237.xml><?xml version="1.0" encoding="utf-8"?>
<p:tagLst xmlns:p="http://schemas.openxmlformats.org/presentationml/2006/main">
  <p:tag name="POWER_USER_DIAGRAM_CIRCULAR_ARROW_KEY" val="POWER_USER_DIAGRAM_CIRCULAR_ARROW_VALUE_19"/>
</p:tagLst>
</file>

<file path=ppt/tags/tag238.xml><?xml version="1.0" encoding="utf-8"?>
<p:tagLst xmlns:p="http://schemas.openxmlformats.org/presentationml/2006/main">
  <p:tag name="POWER_USER_DIAGRAM_CIRCULAR_ARROW_KEY" val="POWER_USER_DIAGRAM_CIRCULAR_ARROW_VALUE_20"/>
</p:tagLst>
</file>

<file path=ppt/tags/tag239.xml><?xml version="1.0" encoding="utf-8"?>
<p:tagLst xmlns:p="http://schemas.openxmlformats.org/presentationml/2006/main">
  <p:tag name="POWER_USER_DIAGRAM_CIRCULAR_ARROW_KEY" val="POWER_USER_DIAGRAM_CIRCULAR_ARROW_VALUE_21"/>
</p:tagLst>
</file>

<file path=ppt/tags/tag24.xml><?xml version="1.0" encoding="utf-8"?>
<p:tagLst xmlns:p="http://schemas.openxmlformats.org/presentationml/2006/main">
  <p:tag name="POWER_USER_DIAGRAM_CIRCULAR_ARROW_KEY" val="POWER_USER_DIAGRAM_CIRCULAR_ARROW_VALUE_28"/>
</p:tagLst>
</file>

<file path=ppt/tags/tag240.xml><?xml version="1.0" encoding="utf-8"?>
<p:tagLst xmlns:p="http://schemas.openxmlformats.org/presentationml/2006/main">
  <p:tag name="POWER_USER_DIAGRAM_CIRCULAR_ARROW_KEY" val="POWER_USER_DIAGRAM_CIRCULAR_ARROW_VALUE_22"/>
</p:tagLst>
</file>

<file path=ppt/tags/tag241.xml><?xml version="1.0" encoding="utf-8"?>
<p:tagLst xmlns:p="http://schemas.openxmlformats.org/presentationml/2006/main">
  <p:tag name="POWER_USER_DIAGRAM_CIRCULAR_ARROW_KEY" val="POWER_USER_DIAGRAM_CIRCULAR_ARROW_VALUE_23"/>
</p:tagLst>
</file>

<file path=ppt/tags/tag242.xml><?xml version="1.0" encoding="utf-8"?>
<p:tagLst xmlns:p="http://schemas.openxmlformats.org/presentationml/2006/main">
  <p:tag name="POWER_USER_DIAGRAM_CIRCULAR_ARROW_KEY" val="POWER_USER_DIAGRAM_CIRCULAR_ARROW_VALUE_24"/>
</p:tagLst>
</file>

<file path=ppt/tags/tag243.xml><?xml version="1.0" encoding="utf-8"?>
<p:tagLst xmlns:p="http://schemas.openxmlformats.org/presentationml/2006/main">
  <p:tag name="POWER_USER_DIAGRAM_CIRCULAR_ARROW_KEY" val="POWER_USER_DIAGRAM_CIRCULAR_ARROW_VALUE_25"/>
</p:tagLst>
</file>

<file path=ppt/tags/tag244.xml><?xml version="1.0" encoding="utf-8"?>
<p:tagLst xmlns:p="http://schemas.openxmlformats.org/presentationml/2006/main">
  <p:tag name="POWER_USER_DIAGRAM_CIRCULAR_ARROW_KEY" val="POWER_USER_DIAGRAM_CIRCULAR_ARROW_VALUE_26"/>
</p:tagLst>
</file>

<file path=ppt/tags/tag245.xml><?xml version="1.0" encoding="utf-8"?>
<p:tagLst xmlns:p="http://schemas.openxmlformats.org/presentationml/2006/main">
  <p:tag name="POWER_USER_DIAGRAM_CIRCULAR_ARROW_KEY" val="POWER_USER_DIAGRAM_CIRCULAR_ARROW_VALUE_27"/>
</p:tagLst>
</file>

<file path=ppt/tags/tag246.xml><?xml version="1.0" encoding="utf-8"?>
<p:tagLst xmlns:p="http://schemas.openxmlformats.org/presentationml/2006/main">
  <p:tag name="POWER_USER_DIAGRAM_CIRCULAR_ARROW_KEY" val="POWER_USER_DIAGRAM_CIRCULAR_ARROW_VALUE_28"/>
</p:tagLst>
</file>

<file path=ppt/tags/tag247.xml><?xml version="1.0" encoding="utf-8"?>
<p:tagLst xmlns:p="http://schemas.openxmlformats.org/presentationml/2006/main">
  <p:tag name="POWER_USER_DIAGRAM_CIRCULAR_ARROW_KEY" val="POWER_USER_DIAGRAM_CIRCULAR_ARROW_VALUE_29"/>
</p:tagLst>
</file>

<file path=ppt/tags/tag248.xml><?xml version="1.0" encoding="utf-8"?>
<p:tagLst xmlns:p="http://schemas.openxmlformats.org/presentationml/2006/main">
  <p:tag name="POWER_USER_DIAGRAM_CIRCULAR_ARROW_KEY" val="POWER_USER_DIAGRAM_CIRCULAR_ARROW_VALUE_30"/>
</p:tagLst>
</file>

<file path=ppt/tags/tag249.xml><?xml version="1.0" encoding="utf-8"?>
<p:tagLst xmlns:p="http://schemas.openxmlformats.org/presentationml/2006/main">
  <p:tag name="POWER_USER_DIAGRAM_CIRCULAR_ARROW_KEY" val="POWER_USER_DIAGRAM_CIRCULAR_ARROW_VALUE_31"/>
</p:tagLst>
</file>

<file path=ppt/tags/tag25.xml><?xml version="1.0" encoding="utf-8"?>
<p:tagLst xmlns:p="http://schemas.openxmlformats.org/presentationml/2006/main">
  <p:tag name="POWER_USER_DIAGRAM_CIRCULAR_ARROW_KEY" val="POWER_USER_DIAGRAM_CIRCULAR_ARROW_VALUE_29"/>
</p:tagLst>
</file>

<file path=ppt/tags/tag250.xml><?xml version="1.0" encoding="utf-8"?>
<p:tagLst xmlns:p="http://schemas.openxmlformats.org/presentationml/2006/main">
  <p:tag name="POWER_USER_DIAGRAM_CIRCULAR_ARROW_KEY" val="POWER_USER_DIAGRAM_CIRCULAR_ARROW_VALUE_32"/>
</p:tagLst>
</file>

<file path=ppt/tags/tag251.xml><?xml version="1.0" encoding="utf-8"?>
<p:tagLst xmlns:p="http://schemas.openxmlformats.org/presentationml/2006/main">
  <p:tag name="POWER_USER_DIAGRAM_CIRCULAR_ARROW_KEY" val="POWER_USER_DIAGRAM_CIRCULAR_ARROW_VALUE_33"/>
</p:tagLst>
</file>

<file path=ppt/tags/tag252.xml><?xml version="1.0" encoding="utf-8"?>
<p:tagLst xmlns:p="http://schemas.openxmlformats.org/presentationml/2006/main">
  <p:tag name="POWER_USER_DIAGRAM_CIRCULAR_ARROW_KEY" val="POWER_USER_DIAGRAM_CIRCULAR_ARROW_VALUE_34"/>
</p:tagLst>
</file>

<file path=ppt/tags/tag253.xml><?xml version="1.0" encoding="utf-8"?>
<p:tagLst xmlns:p="http://schemas.openxmlformats.org/presentationml/2006/main">
  <p:tag name="POWER_USER_DIAGRAM_CIRCULAR_ARROW_KEY" val="POWER_USER_DIAGRAM_CIRCULAR_ARROW_VALUE_35"/>
</p:tagLst>
</file>

<file path=ppt/tags/tag254.xml><?xml version="1.0" encoding="utf-8"?>
<p:tagLst xmlns:p="http://schemas.openxmlformats.org/presentationml/2006/main">
  <p:tag name="POWER_USER_DIAGRAM_CIRCULAR_ARROW_KEY" val="POWER_USER_DIAGRAM_CIRCULAR_ARROW_VALUE_36"/>
</p:tagLst>
</file>

<file path=ppt/tags/tag255.xml><?xml version="1.0" encoding="utf-8"?>
<p:tagLst xmlns:p="http://schemas.openxmlformats.org/presentationml/2006/main">
  <p:tag name="POWER_USER_DIAGRAM_CIRCULAR_ARROW_KEY" val="POWER_USER_DIAGRAM_CIRCULAR_ARROW_VALUE_37"/>
</p:tagLst>
</file>

<file path=ppt/tags/tag256.xml><?xml version="1.0" encoding="utf-8"?>
<p:tagLst xmlns:p="http://schemas.openxmlformats.org/presentationml/2006/main">
  <p:tag name="POWER_USER_DIAGRAM_CIRCULAR_ARROW_KEY" val="POWER_USER_DIAGRAM_CIRCULAR_ARROW_VALUE_38"/>
</p:tagLst>
</file>

<file path=ppt/tags/tag257.xml><?xml version="1.0" encoding="utf-8"?>
<p:tagLst xmlns:p="http://schemas.openxmlformats.org/presentationml/2006/main">
  <p:tag name="POWER_USER_DIAGRAM_CIRCULAR_ARROW_KEY" val="POWER_USER_DIAGRAM_CIRCULAR_ARROW_VALUE_39"/>
</p:tagLst>
</file>

<file path=ppt/tags/tag258.xml><?xml version="1.0" encoding="utf-8"?>
<p:tagLst xmlns:p="http://schemas.openxmlformats.org/presentationml/2006/main">
  <p:tag name="POWER_USER_DIAGRAM_CIRCULAR_ARROW_KEY" val="POWER_USER_DIAGRAM_CIRCULAR_ARROW_VALUE_40"/>
</p:tagLst>
</file>

<file path=ppt/tags/tag259.xml><?xml version="1.0" encoding="utf-8"?>
<p:tagLst xmlns:p="http://schemas.openxmlformats.org/presentationml/2006/main">
  <p:tag name="POWER_USER_DIAGRAM_CIRCULAR_ARROW_KEY" val="POWER_USER_DIAGRAM_CIRCULAR_ARROW_VALUE_41"/>
</p:tagLst>
</file>

<file path=ppt/tags/tag26.xml><?xml version="1.0" encoding="utf-8"?>
<p:tagLst xmlns:p="http://schemas.openxmlformats.org/presentationml/2006/main">
  <p:tag name="POWER_USER_DIAGRAM_CIRCULAR_ARROW_KEY" val="POWER_USER_DIAGRAM_CIRCULAR_ARROW_VALUE_30"/>
</p:tagLst>
</file>

<file path=ppt/tags/tag260.xml><?xml version="1.0" encoding="utf-8"?>
<p:tagLst xmlns:p="http://schemas.openxmlformats.org/presentationml/2006/main">
  <p:tag name="POWER_USER_DIAGRAM_CIRCULAR_ARROW_KEY" val="POWER_USER_DIAGRAM_CIRCULAR_ARROW_VALUE_42"/>
</p:tagLst>
</file>

<file path=ppt/tags/tag261.xml><?xml version="1.0" encoding="utf-8"?>
<p:tagLst xmlns:p="http://schemas.openxmlformats.org/presentationml/2006/main">
  <p:tag name="POWER_USER_DIAGRAM_CIRCULAR_ARROW_KEY" val="POWER_USER_DIAGRAM_CIRCULAR_ARROW_VALUE_43"/>
</p:tagLst>
</file>

<file path=ppt/tags/tag262.xml><?xml version="1.0" encoding="utf-8"?>
<p:tagLst xmlns:p="http://schemas.openxmlformats.org/presentationml/2006/main">
  <p:tag name="POWER_USER_DIAGRAM_CIRCULAR_ARROW_KEY" val="POWER_USER_DIAGRAM_CIRCULAR_ARROW_VALUE_44"/>
</p:tagLst>
</file>

<file path=ppt/tags/tag263.xml><?xml version="1.0" encoding="utf-8"?>
<p:tagLst xmlns:p="http://schemas.openxmlformats.org/presentationml/2006/main">
  <p:tag name="POWER_USER_DIAGRAM_CIRCULAR_ARROW_KEY" val="POWER_USER_DIAGRAM_CIRCULAR_ARROW_VALUE_45"/>
</p:tagLst>
</file>

<file path=ppt/tags/tag264.xml><?xml version="1.0" encoding="utf-8"?>
<p:tagLst xmlns:p="http://schemas.openxmlformats.org/presentationml/2006/main">
  <p:tag name="POWER_USER_DIAGRAM_CIRCULAR_ARROW_KEY" val="POWER_USER_DIAGRAM_CIRCULAR_ARROW_VALUE_46"/>
</p:tagLst>
</file>

<file path=ppt/tags/tag265.xml><?xml version="1.0" encoding="utf-8"?>
<p:tagLst xmlns:p="http://schemas.openxmlformats.org/presentationml/2006/main">
  <p:tag name="POWER_USER_DIAGRAM_CIRCULAR_ARROW_KEY" val="POWER_USER_DIAGRAM_CIRCULAR_ARROW_VALUE_47"/>
</p:tagLst>
</file>

<file path=ppt/tags/tag266.xml><?xml version="1.0" encoding="utf-8"?>
<p:tagLst xmlns:p="http://schemas.openxmlformats.org/presentationml/2006/main">
  <p:tag name="POWER_USER_DIAGRAM_CIRCULAR_ARROW_KEY" val="POWER_USER_DIAGRAM_CIRCULAR_ARROW_VALUE_48"/>
</p:tagLst>
</file>

<file path=ppt/tags/tag267.xml><?xml version="1.0" encoding="utf-8"?>
<p:tagLst xmlns:p="http://schemas.openxmlformats.org/presentationml/2006/main">
  <p:tag name="POWER_USER_DIAGRAM_CIRCULAR_ARROW_KEY" val="POWER_USER_DIAGRAM_CIRCULAR_ARROW_VALUE_49"/>
</p:tagLst>
</file>

<file path=ppt/tags/tag268.xml><?xml version="1.0" encoding="utf-8"?>
<p:tagLst xmlns:p="http://schemas.openxmlformats.org/presentationml/2006/main">
  <p:tag name="POWER_USER_DIAGRAM_CIRCULAR_ARROW_KEY" val="POWER_USER_DIAGRAM_CIRCULAR_ARROW_VALUE_50"/>
</p:tagLst>
</file>

<file path=ppt/tags/tag269.xml><?xml version="1.0" encoding="utf-8"?>
<p:tagLst xmlns:p="http://schemas.openxmlformats.org/presentationml/2006/main">
  <p:tag name="POWER_USER_DIAGRAM_CIRCULAR_ARROW_KEY" val="POWER_USER_DIAGRAM_CIRCULAR_ARROW_VALUE_5"/>
</p:tagLst>
</file>

<file path=ppt/tags/tag27.xml><?xml version="1.0" encoding="utf-8"?>
<p:tagLst xmlns:p="http://schemas.openxmlformats.org/presentationml/2006/main">
  <p:tag name="POWER_USER_DIAGRAM_CIRCULAR_ARROW_KEY" val="POWER_USER_DIAGRAM_CIRCULAR_ARROW_VALUE_31"/>
</p:tagLst>
</file>

<file path=ppt/tags/tag270.xml><?xml version="1.0" encoding="utf-8"?>
<p:tagLst xmlns:p="http://schemas.openxmlformats.org/presentationml/2006/main">
  <p:tag name="POWER_USER_DIAGRAM_CIRCULAR_ARROW_KEY" val="POWER_USER_DIAGRAM_CIRCULAR_ARROW_VALUE_6"/>
</p:tagLst>
</file>

<file path=ppt/tags/tag271.xml><?xml version="1.0" encoding="utf-8"?>
<p:tagLst xmlns:p="http://schemas.openxmlformats.org/presentationml/2006/main">
  <p:tag name="POWER_USER_DIAGRAM_CIRCULAR_ARROW_KEY" val="POWER_USER_DIAGRAM_CIRCULAR_ARROW_VALUE_7"/>
</p:tagLst>
</file>

<file path=ppt/tags/tag272.xml><?xml version="1.0" encoding="utf-8"?>
<p:tagLst xmlns:p="http://schemas.openxmlformats.org/presentationml/2006/main">
  <p:tag name="POWER_USER_DIAGRAM_CIRCULAR_ARROW_KEY" val="POWER_USER_DIAGRAM_CIRCULAR_ARROW_VALUE_8"/>
</p:tagLst>
</file>

<file path=ppt/tags/tag273.xml><?xml version="1.0" encoding="utf-8"?>
<p:tagLst xmlns:p="http://schemas.openxmlformats.org/presentationml/2006/main">
  <p:tag name="POWER_USER_DIAGRAM_CIRCULAR_ARROW_KEY" val="POWER_USER_DIAGRAM_CIRCULAR_ARROW_VALUE_9"/>
</p:tagLst>
</file>

<file path=ppt/tags/tag274.xml><?xml version="1.0" encoding="utf-8"?>
<p:tagLst xmlns:p="http://schemas.openxmlformats.org/presentationml/2006/main">
  <p:tag name="POWER_USER_DIAGRAM_CIRCULAR_ARROW_KEY" val="POWER_USER_DIAGRAM_CIRCULAR_ARROW_VALUE_10"/>
</p:tagLst>
</file>

<file path=ppt/tags/tag275.xml><?xml version="1.0" encoding="utf-8"?>
<p:tagLst xmlns:p="http://schemas.openxmlformats.org/presentationml/2006/main">
  <p:tag name="POWER_USER_DIAGRAM_CIRCULAR_ARROW_KEY" val="POWER_USER_DIAGRAM_CIRCULAR_ARROW_VALUE_11"/>
</p:tagLst>
</file>

<file path=ppt/tags/tag276.xml><?xml version="1.0" encoding="utf-8"?>
<p:tagLst xmlns:p="http://schemas.openxmlformats.org/presentationml/2006/main">
  <p:tag name="POWER_USER_DIAGRAM_CIRCULAR_ARROW_KEY" val="POWER_USER_DIAGRAM_CIRCULAR_ARROW_VALUE_12"/>
</p:tagLst>
</file>

<file path=ppt/tags/tag277.xml><?xml version="1.0" encoding="utf-8"?>
<p:tagLst xmlns:p="http://schemas.openxmlformats.org/presentationml/2006/main">
  <p:tag name="POWER_USER_DIAGRAM_CIRCULAR_ARROW_KEY" val="POWER_USER_DIAGRAM_CIRCULAR_ARROW_VALUE_13"/>
</p:tagLst>
</file>

<file path=ppt/tags/tag278.xml><?xml version="1.0" encoding="utf-8"?>
<p:tagLst xmlns:p="http://schemas.openxmlformats.org/presentationml/2006/main">
  <p:tag name="POWER_USER_DIAGRAM_CIRCULAR_ARROW_KEY" val="POWER_USER_DIAGRAM_CIRCULAR_ARROW_VALUE_14"/>
</p:tagLst>
</file>

<file path=ppt/tags/tag279.xml><?xml version="1.0" encoding="utf-8"?>
<p:tagLst xmlns:p="http://schemas.openxmlformats.org/presentationml/2006/main">
  <p:tag name="POWER_USER_DIAGRAM_CIRCULAR_ARROW_KEY" val="POWER_USER_DIAGRAM_CIRCULAR_ARROW_VALUE_15"/>
</p:tagLst>
</file>

<file path=ppt/tags/tag28.xml><?xml version="1.0" encoding="utf-8"?>
<p:tagLst xmlns:p="http://schemas.openxmlformats.org/presentationml/2006/main">
  <p:tag name="POWER_USER_DIAGRAM_CIRCULAR_ARROW_KEY" val="POWER_USER_DIAGRAM_CIRCULAR_ARROW_VALUE_32"/>
</p:tagLst>
</file>

<file path=ppt/tags/tag280.xml><?xml version="1.0" encoding="utf-8"?>
<p:tagLst xmlns:p="http://schemas.openxmlformats.org/presentationml/2006/main">
  <p:tag name="POWER_USER_DIAGRAM_CIRCULAR_ARROW_KEY" val="POWER_USER_DIAGRAM_CIRCULAR_ARROW_VALUE_16"/>
</p:tagLst>
</file>

<file path=ppt/tags/tag281.xml><?xml version="1.0" encoding="utf-8"?>
<p:tagLst xmlns:p="http://schemas.openxmlformats.org/presentationml/2006/main">
  <p:tag name="POWER_USER_DIAGRAM_CIRCULAR_ARROW_KEY" val="POWER_USER_DIAGRAM_CIRCULAR_ARROW_VALUE_17"/>
</p:tagLst>
</file>

<file path=ppt/tags/tag282.xml><?xml version="1.0" encoding="utf-8"?>
<p:tagLst xmlns:p="http://schemas.openxmlformats.org/presentationml/2006/main">
  <p:tag name="POWER_USER_DIAGRAM_CIRCULAR_ARROW_KEY" val="POWER_USER_DIAGRAM_CIRCULAR_ARROW_VALUE_18"/>
</p:tagLst>
</file>

<file path=ppt/tags/tag283.xml><?xml version="1.0" encoding="utf-8"?>
<p:tagLst xmlns:p="http://schemas.openxmlformats.org/presentationml/2006/main">
  <p:tag name="POWER_USER_DIAGRAM_CIRCULAR_ARROW_KEY" val="POWER_USER_DIAGRAM_CIRCULAR_ARROW_VALUE_19"/>
</p:tagLst>
</file>

<file path=ppt/tags/tag284.xml><?xml version="1.0" encoding="utf-8"?>
<p:tagLst xmlns:p="http://schemas.openxmlformats.org/presentationml/2006/main">
  <p:tag name="POWER_USER_DIAGRAM_CIRCULAR_ARROW_KEY" val="POWER_USER_DIAGRAM_CIRCULAR_ARROW_VALUE_20"/>
</p:tagLst>
</file>

<file path=ppt/tags/tag285.xml><?xml version="1.0" encoding="utf-8"?>
<p:tagLst xmlns:p="http://schemas.openxmlformats.org/presentationml/2006/main">
  <p:tag name="POWER_USER_DIAGRAM_CIRCULAR_ARROW_KEY" val="POWER_USER_DIAGRAM_CIRCULAR_ARROW_VALUE_21"/>
</p:tagLst>
</file>

<file path=ppt/tags/tag286.xml><?xml version="1.0" encoding="utf-8"?>
<p:tagLst xmlns:p="http://schemas.openxmlformats.org/presentationml/2006/main">
  <p:tag name="POWER_USER_DIAGRAM_CIRCULAR_ARROW_KEY" val="POWER_USER_DIAGRAM_CIRCULAR_ARROW_VALUE_22"/>
</p:tagLst>
</file>

<file path=ppt/tags/tag287.xml><?xml version="1.0" encoding="utf-8"?>
<p:tagLst xmlns:p="http://schemas.openxmlformats.org/presentationml/2006/main">
  <p:tag name="POWER_USER_DIAGRAM_CIRCULAR_ARROW_KEY" val="POWER_USER_DIAGRAM_CIRCULAR_ARROW_VALUE_23"/>
</p:tagLst>
</file>

<file path=ppt/tags/tag288.xml><?xml version="1.0" encoding="utf-8"?>
<p:tagLst xmlns:p="http://schemas.openxmlformats.org/presentationml/2006/main">
  <p:tag name="POWER_USER_DIAGRAM_CIRCULAR_ARROW_KEY" val="POWER_USER_DIAGRAM_CIRCULAR_ARROW_VALUE_24"/>
</p:tagLst>
</file>

<file path=ppt/tags/tag289.xml><?xml version="1.0" encoding="utf-8"?>
<p:tagLst xmlns:p="http://schemas.openxmlformats.org/presentationml/2006/main">
  <p:tag name="POWER_USER_DIAGRAM_CIRCULAR_ARROW_KEY" val="POWER_USER_DIAGRAM_CIRCULAR_ARROW_VALUE_25"/>
</p:tagLst>
</file>

<file path=ppt/tags/tag29.xml><?xml version="1.0" encoding="utf-8"?>
<p:tagLst xmlns:p="http://schemas.openxmlformats.org/presentationml/2006/main">
  <p:tag name="POWER_USER_DIAGRAM_CIRCULAR_ARROW_KEY" val="POWER_USER_DIAGRAM_CIRCULAR_ARROW_VALUE_33"/>
</p:tagLst>
</file>

<file path=ppt/tags/tag290.xml><?xml version="1.0" encoding="utf-8"?>
<p:tagLst xmlns:p="http://schemas.openxmlformats.org/presentationml/2006/main">
  <p:tag name="POWER_USER_DIAGRAM_CIRCULAR_ARROW_KEY" val="POWER_USER_DIAGRAM_CIRCULAR_ARROW_VALUE_26"/>
</p:tagLst>
</file>

<file path=ppt/tags/tag291.xml><?xml version="1.0" encoding="utf-8"?>
<p:tagLst xmlns:p="http://schemas.openxmlformats.org/presentationml/2006/main">
  <p:tag name="POWER_USER_DIAGRAM_CIRCULAR_ARROW_KEY" val="POWER_USER_DIAGRAM_CIRCULAR_ARROW_VALUE_27"/>
</p:tagLst>
</file>

<file path=ppt/tags/tag292.xml><?xml version="1.0" encoding="utf-8"?>
<p:tagLst xmlns:p="http://schemas.openxmlformats.org/presentationml/2006/main">
  <p:tag name="POWER_USER_DIAGRAM_CIRCULAR_ARROW_KEY" val="POWER_USER_DIAGRAM_CIRCULAR_ARROW_VALUE_28"/>
</p:tagLst>
</file>

<file path=ppt/tags/tag293.xml><?xml version="1.0" encoding="utf-8"?>
<p:tagLst xmlns:p="http://schemas.openxmlformats.org/presentationml/2006/main">
  <p:tag name="POWER_USER_DIAGRAM_CIRCULAR_ARROW_KEY" val="POWER_USER_DIAGRAM_CIRCULAR_ARROW_VALUE_29"/>
</p:tagLst>
</file>

<file path=ppt/tags/tag294.xml><?xml version="1.0" encoding="utf-8"?>
<p:tagLst xmlns:p="http://schemas.openxmlformats.org/presentationml/2006/main">
  <p:tag name="POWER_USER_DIAGRAM_CIRCULAR_ARROW_KEY" val="POWER_USER_DIAGRAM_CIRCULAR_ARROW_VALUE_30"/>
</p:tagLst>
</file>

<file path=ppt/tags/tag295.xml><?xml version="1.0" encoding="utf-8"?>
<p:tagLst xmlns:p="http://schemas.openxmlformats.org/presentationml/2006/main">
  <p:tag name="POWER_USER_DIAGRAM_CIRCULAR_ARROW_KEY" val="POWER_USER_DIAGRAM_CIRCULAR_ARROW_VALUE_31"/>
</p:tagLst>
</file>

<file path=ppt/tags/tag296.xml><?xml version="1.0" encoding="utf-8"?>
<p:tagLst xmlns:p="http://schemas.openxmlformats.org/presentationml/2006/main">
  <p:tag name="POWER_USER_DIAGRAM_CIRCULAR_ARROW_KEY" val="POWER_USER_DIAGRAM_CIRCULAR_ARROW_VALUE_32"/>
</p:tagLst>
</file>

<file path=ppt/tags/tag297.xml><?xml version="1.0" encoding="utf-8"?>
<p:tagLst xmlns:p="http://schemas.openxmlformats.org/presentationml/2006/main">
  <p:tag name="POWER_USER_DIAGRAM_CIRCULAR_ARROW_KEY" val="POWER_USER_DIAGRAM_CIRCULAR_ARROW_VALUE_33"/>
</p:tagLst>
</file>

<file path=ppt/tags/tag298.xml><?xml version="1.0" encoding="utf-8"?>
<p:tagLst xmlns:p="http://schemas.openxmlformats.org/presentationml/2006/main">
  <p:tag name="POWER_USER_DIAGRAM_CIRCULAR_ARROW_KEY" val="POWER_USER_DIAGRAM_CIRCULAR_ARROW_VALUE_34"/>
</p:tagLst>
</file>

<file path=ppt/tags/tag299.xml><?xml version="1.0" encoding="utf-8"?>
<p:tagLst xmlns:p="http://schemas.openxmlformats.org/presentationml/2006/main">
  <p:tag name="POWER_USER_DIAGRAM_CIRCULAR_ARROW_KEY" val="POWER_USER_DIAGRAM_CIRCULAR_ARROW_VALUE_35"/>
</p:tagLst>
</file>

<file path=ppt/tags/tag3.xml><?xml version="1.0" encoding="utf-8"?>
<p:tagLst xmlns:p="http://schemas.openxmlformats.org/presentationml/2006/main">
  <p:tag name="POWER_USER_DIAGRAM_CIRCULAR_ARROW_KEY" val="POWER_USER_DIAGRAM_CIRCULAR_ARROW_VALUE_7"/>
</p:tagLst>
</file>

<file path=ppt/tags/tag30.xml><?xml version="1.0" encoding="utf-8"?>
<p:tagLst xmlns:p="http://schemas.openxmlformats.org/presentationml/2006/main">
  <p:tag name="POWER_USER_DIAGRAM_CIRCULAR_ARROW_KEY" val="POWER_USER_DIAGRAM_CIRCULAR_ARROW_VALUE_34"/>
</p:tagLst>
</file>

<file path=ppt/tags/tag300.xml><?xml version="1.0" encoding="utf-8"?>
<p:tagLst xmlns:p="http://schemas.openxmlformats.org/presentationml/2006/main">
  <p:tag name="POWER_USER_DIAGRAM_CIRCULAR_ARROW_KEY" val="POWER_USER_DIAGRAM_CIRCULAR_ARROW_VALUE_36"/>
</p:tagLst>
</file>

<file path=ppt/tags/tag301.xml><?xml version="1.0" encoding="utf-8"?>
<p:tagLst xmlns:p="http://schemas.openxmlformats.org/presentationml/2006/main">
  <p:tag name="POWER_USER_DIAGRAM_CIRCULAR_ARROW_KEY" val="POWER_USER_DIAGRAM_CIRCULAR_ARROW_VALUE_37"/>
</p:tagLst>
</file>

<file path=ppt/tags/tag302.xml><?xml version="1.0" encoding="utf-8"?>
<p:tagLst xmlns:p="http://schemas.openxmlformats.org/presentationml/2006/main">
  <p:tag name="POWER_USER_DIAGRAM_CIRCULAR_ARROW_KEY" val="POWER_USER_DIAGRAM_CIRCULAR_ARROW_VALUE_38"/>
</p:tagLst>
</file>

<file path=ppt/tags/tag303.xml><?xml version="1.0" encoding="utf-8"?>
<p:tagLst xmlns:p="http://schemas.openxmlformats.org/presentationml/2006/main">
  <p:tag name="POWER_USER_DIAGRAM_CIRCULAR_ARROW_KEY" val="POWER_USER_DIAGRAM_CIRCULAR_ARROW_VALUE_39"/>
</p:tagLst>
</file>

<file path=ppt/tags/tag304.xml><?xml version="1.0" encoding="utf-8"?>
<p:tagLst xmlns:p="http://schemas.openxmlformats.org/presentationml/2006/main">
  <p:tag name="POWER_USER_DIAGRAM_CIRCULAR_ARROW_KEY" val="POWER_USER_DIAGRAM_CIRCULAR_ARROW_VALUE_40"/>
</p:tagLst>
</file>

<file path=ppt/tags/tag305.xml><?xml version="1.0" encoding="utf-8"?>
<p:tagLst xmlns:p="http://schemas.openxmlformats.org/presentationml/2006/main">
  <p:tag name="POWER_USER_DIAGRAM_CIRCULAR_ARROW_KEY" val="POWER_USER_DIAGRAM_CIRCULAR_ARROW_VALUE_41"/>
</p:tagLst>
</file>

<file path=ppt/tags/tag306.xml><?xml version="1.0" encoding="utf-8"?>
<p:tagLst xmlns:p="http://schemas.openxmlformats.org/presentationml/2006/main">
  <p:tag name="POWER_USER_DIAGRAM_CIRCULAR_ARROW_KEY" val="POWER_USER_DIAGRAM_CIRCULAR_ARROW_VALUE_42"/>
</p:tagLst>
</file>

<file path=ppt/tags/tag307.xml><?xml version="1.0" encoding="utf-8"?>
<p:tagLst xmlns:p="http://schemas.openxmlformats.org/presentationml/2006/main">
  <p:tag name="POWER_USER_DIAGRAM_CIRCULAR_ARROW_KEY" val="POWER_USER_DIAGRAM_CIRCULAR_ARROW_VALUE_43"/>
</p:tagLst>
</file>

<file path=ppt/tags/tag308.xml><?xml version="1.0" encoding="utf-8"?>
<p:tagLst xmlns:p="http://schemas.openxmlformats.org/presentationml/2006/main">
  <p:tag name="POWER_USER_DIAGRAM_CIRCULAR_ARROW_KEY" val="POWER_USER_DIAGRAM_CIRCULAR_ARROW_VALUE_44"/>
</p:tagLst>
</file>

<file path=ppt/tags/tag309.xml><?xml version="1.0" encoding="utf-8"?>
<p:tagLst xmlns:p="http://schemas.openxmlformats.org/presentationml/2006/main">
  <p:tag name="POWER_USER_DIAGRAM_CIRCULAR_ARROW_KEY" val="POWER_USER_DIAGRAM_CIRCULAR_ARROW_VALUE_45"/>
</p:tagLst>
</file>

<file path=ppt/tags/tag31.xml><?xml version="1.0" encoding="utf-8"?>
<p:tagLst xmlns:p="http://schemas.openxmlformats.org/presentationml/2006/main">
  <p:tag name="POWER_USER_DIAGRAM_CIRCULAR_ARROW_KEY" val="POWER_USER_DIAGRAM_CIRCULAR_ARROW_VALUE_35"/>
</p:tagLst>
</file>

<file path=ppt/tags/tag310.xml><?xml version="1.0" encoding="utf-8"?>
<p:tagLst xmlns:p="http://schemas.openxmlformats.org/presentationml/2006/main">
  <p:tag name="POWER_USER_DIAGRAM_CIRCULAR_ARROW_KEY" val="POWER_USER_DIAGRAM_CIRCULAR_ARROW_VALUE_46"/>
</p:tagLst>
</file>

<file path=ppt/tags/tag311.xml><?xml version="1.0" encoding="utf-8"?>
<p:tagLst xmlns:p="http://schemas.openxmlformats.org/presentationml/2006/main">
  <p:tag name="POWER_USER_DIAGRAM_CIRCULAR_ARROW_KEY" val="POWER_USER_DIAGRAM_CIRCULAR_ARROW_VALUE_47"/>
</p:tagLst>
</file>

<file path=ppt/tags/tag312.xml><?xml version="1.0" encoding="utf-8"?>
<p:tagLst xmlns:p="http://schemas.openxmlformats.org/presentationml/2006/main">
  <p:tag name="POWER_USER_DIAGRAM_CIRCULAR_ARROW_KEY" val="POWER_USER_DIAGRAM_CIRCULAR_ARROW_VALUE_48"/>
</p:tagLst>
</file>

<file path=ppt/tags/tag313.xml><?xml version="1.0" encoding="utf-8"?>
<p:tagLst xmlns:p="http://schemas.openxmlformats.org/presentationml/2006/main">
  <p:tag name="POWER_USER_DIAGRAM_CIRCULAR_ARROW_KEY" val="POWER_USER_DIAGRAM_CIRCULAR_ARROW_VALUE_49"/>
</p:tagLst>
</file>

<file path=ppt/tags/tag314.xml><?xml version="1.0" encoding="utf-8"?>
<p:tagLst xmlns:p="http://schemas.openxmlformats.org/presentationml/2006/main">
  <p:tag name="POWER_USER_DIAGRAM_CIRCULAR_ARROW_KEY" val="POWER_USER_DIAGRAM_CIRCULAR_ARROW_VALUE_50"/>
</p:tagLst>
</file>

<file path=ppt/tags/tag315.xml><?xml version="1.0" encoding="utf-8"?>
<p:tagLst xmlns:p="http://schemas.openxmlformats.org/presentationml/2006/main">
  <p:tag name="POWER_USER_DIAGRAM_CIRCULAR_ARROW_KEY" val="POWER_USER_DIAGRAM_CIRCULAR_ARROW_VALUE_5"/>
</p:tagLst>
</file>

<file path=ppt/tags/tag316.xml><?xml version="1.0" encoding="utf-8"?>
<p:tagLst xmlns:p="http://schemas.openxmlformats.org/presentationml/2006/main">
  <p:tag name="POWER_USER_DIAGRAM_CIRCULAR_ARROW_KEY" val="POWER_USER_DIAGRAM_CIRCULAR_ARROW_VALUE_6"/>
</p:tagLst>
</file>

<file path=ppt/tags/tag317.xml><?xml version="1.0" encoding="utf-8"?>
<p:tagLst xmlns:p="http://schemas.openxmlformats.org/presentationml/2006/main">
  <p:tag name="POWER_USER_DIAGRAM_CIRCULAR_ARROW_KEY" val="POWER_USER_DIAGRAM_CIRCULAR_ARROW_VALUE_7"/>
</p:tagLst>
</file>

<file path=ppt/tags/tag318.xml><?xml version="1.0" encoding="utf-8"?>
<p:tagLst xmlns:p="http://schemas.openxmlformats.org/presentationml/2006/main">
  <p:tag name="POWER_USER_DIAGRAM_CIRCULAR_ARROW_KEY" val="POWER_USER_DIAGRAM_CIRCULAR_ARROW_VALUE_8"/>
</p:tagLst>
</file>

<file path=ppt/tags/tag319.xml><?xml version="1.0" encoding="utf-8"?>
<p:tagLst xmlns:p="http://schemas.openxmlformats.org/presentationml/2006/main">
  <p:tag name="POWER_USER_DIAGRAM_CIRCULAR_ARROW_KEY" val="POWER_USER_DIAGRAM_CIRCULAR_ARROW_VALUE_9"/>
</p:tagLst>
</file>

<file path=ppt/tags/tag32.xml><?xml version="1.0" encoding="utf-8"?>
<p:tagLst xmlns:p="http://schemas.openxmlformats.org/presentationml/2006/main">
  <p:tag name="POWER_USER_DIAGRAM_CIRCULAR_ARROW_KEY" val="POWER_USER_DIAGRAM_CIRCULAR_ARROW_VALUE_36"/>
</p:tagLst>
</file>

<file path=ppt/tags/tag320.xml><?xml version="1.0" encoding="utf-8"?>
<p:tagLst xmlns:p="http://schemas.openxmlformats.org/presentationml/2006/main">
  <p:tag name="POWER_USER_DIAGRAM_CIRCULAR_ARROW_KEY" val="POWER_USER_DIAGRAM_CIRCULAR_ARROW_VALUE_10"/>
</p:tagLst>
</file>

<file path=ppt/tags/tag321.xml><?xml version="1.0" encoding="utf-8"?>
<p:tagLst xmlns:p="http://schemas.openxmlformats.org/presentationml/2006/main">
  <p:tag name="POWER_USER_DIAGRAM_CIRCULAR_ARROW_KEY" val="POWER_USER_DIAGRAM_CIRCULAR_ARROW_VALUE_11"/>
</p:tagLst>
</file>

<file path=ppt/tags/tag322.xml><?xml version="1.0" encoding="utf-8"?>
<p:tagLst xmlns:p="http://schemas.openxmlformats.org/presentationml/2006/main">
  <p:tag name="POWER_USER_DIAGRAM_CIRCULAR_ARROW_KEY" val="POWER_USER_DIAGRAM_CIRCULAR_ARROW_VALUE_12"/>
</p:tagLst>
</file>

<file path=ppt/tags/tag323.xml><?xml version="1.0" encoding="utf-8"?>
<p:tagLst xmlns:p="http://schemas.openxmlformats.org/presentationml/2006/main">
  <p:tag name="POWER_USER_DIAGRAM_CIRCULAR_ARROW_KEY" val="POWER_USER_DIAGRAM_CIRCULAR_ARROW_VALUE_13"/>
</p:tagLst>
</file>

<file path=ppt/tags/tag324.xml><?xml version="1.0" encoding="utf-8"?>
<p:tagLst xmlns:p="http://schemas.openxmlformats.org/presentationml/2006/main">
  <p:tag name="POWER_USER_DIAGRAM_CIRCULAR_ARROW_KEY" val="POWER_USER_DIAGRAM_CIRCULAR_ARROW_VALUE_14"/>
</p:tagLst>
</file>

<file path=ppt/tags/tag325.xml><?xml version="1.0" encoding="utf-8"?>
<p:tagLst xmlns:p="http://schemas.openxmlformats.org/presentationml/2006/main">
  <p:tag name="POWER_USER_DIAGRAM_CIRCULAR_ARROW_KEY" val="POWER_USER_DIAGRAM_CIRCULAR_ARROW_VALUE_15"/>
</p:tagLst>
</file>

<file path=ppt/tags/tag326.xml><?xml version="1.0" encoding="utf-8"?>
<p:tagLst xmlns:p="http://schemas.openxmlformats.org/presentationml/2006/main">
  <p:tag name="POWER_USER_DIAGRAM_CIRCULAR_ARROW_KEY" val="POWER_USER_DIAGRAM_CIRCULAR_ARROW_VALUE_16"/>
</p:tagLst>
</file>

<file path=ppt/tags/tag327.xml><?xml version="1.0" encoding="utf-8"?>
<p:tagLst xmlns:p="http://schemas.openxmlformats.org/presentationml/2006/main">
  <p:tag name="POWER_USER_DIAGRAM_CIRCULAR_ARROW_KEY" val="POWER_USER_DIAGRAM_CIRCULAR_ARROW_VALUE_17"/>
</p:tagLst>
</file>

<file path=ppt/tags/tag328.xml><?xml version="1.0" encoding="utf-8"?>
<p:tagLst xmlns:p="http://schemas.openxmlformats.org/presentationml/2006/main">
  <p:tag name="POWER_USER_DIAGRAM_CIRCULAR_ARROW_KEY" val="POWER_USER_DIAGRAM_CIRCULAR_ARROW_VALUE_18"/>
</p:tagLst>
</file>

<file path=ppt/tags/tag329.xml><?xml version="1.0" encoding="utf-8"?>
<p:tagLst xmlns:p="http://schemas.openxmlformats.org/presentationml/2006/main">
  <p:tag name="POWER_USER_DIAGRAM_CIRCULAR_ARROW_KEY" val="POWER_USER_DIAGRAM_CIRCULAR_ARROW_VALUE_19"/>
</p:tagLst>
</file>

<file path=ppt/tags/tag33.xml><?xml version="1.0" encoding="utf-8"?>
<p:tagLst xmlns:p="http://schemas.openxmlformats.org/presentationml/2006/main">
  <p:tag name="POWER_USER_DIAGRAM_CIRCULAR_ARROW_KEY" val="POWER_USER_DIAGRAM_CIRCULAR_ARROW_VALUE_37"/>
</p:tagLst>
</file>

<file path=ppt/tags/tag330.xml><?xml version="1.0" encoding="utf-8"?>
<p:tagLst xmlns:p="http://schemas.openxmlformats.org/presentationml/2006/main">
  <p:tag name="POWER_USER_DIAGRAM_CIRCULAR_ARROW_KEY" val="POWER_USER_DIAGRAM_CIRCULAR_ARROW_VALUE_20"/>
</p:tagLst>
</file>

<file path=ppt/tags/tag331.xml><?xml version="1.0" encoding="utf-8"?>
<p:tagLst xmlns:p="http://schemas.openxmlformats.org/presentationml/2006/main">
  <p:tag name="POWER_USER_DIAGRAM_CIRCULAR_ARROW_KEY" val="POWER_USER_DIAGRAM_CIRCULAR_ARROW_VALUE_21"/>
</p:tagLst>
</file>

<file path=ppt/tags/tag332.xml><?xml version="1.0" encoding="utf-8"?>
<p:tagLst xmlns:p="http://schemas.openxmlformats.org/presentationml/2006/main">
  <p:tag name="POWER_USER_DIAGRAM_CIRCULAR_ARROW_KEY" val="POWER_USER_DIAGRAM_CIRCULAR_ARROW_VALUE_22"/>
</p:tagLst>
</file>

<file path=ppt/tags/tag333.xml><?xml version="1.0" encoding="utf-8"?>
<p:tagLst xmlns:p="http://schemas.openxmlformats.org/presentationml/2006/main">
  <p:tag name="POWER_USER_DIAGRAM_CIRCULAR_ARROW_KEY" val="POWER_USER_DIAGRAM_CIRCULAR_ARROW_VALUE_23"/>
</p:tagLst>
</file>

<file path=ppt/tags/tag334.xml><?xml version="1.0" encoding="utf-8"?>
<p:tagLst xmlns:p="http://schemas.openxmlformats.org/presentationml/2006/main">
  <p:tag name="POWER_USER_DIAGRAM_CIRCULAR_ARROW_KEY" val="POWER_USER_DIAGRAM_CIRCULAR_ARROW_VALUE_24"/>
</p:tagLst>
</file>

<file path=ppt/tags/tag335.xml><?xml version="1.0" encoding="utf-8"?>
<p:tagLst xmlns:p="http://schemas.openxmlformats.org/presentationml/2006/main">
  <p:tag name="POWER_USER_DIAGRAM_CIRCULAR_ARROW_KEY" val="POWER_USER_DIAGRAM_CIRCULAR_ARROW_VALUE_25"/>
</p:tagLst>
</file>

<file path=ppt/tags/tag336.xml><?xml version="1.0" encoding="utf-8"?>
<p:tagLst xmlns:p="http://schemas.openxmlformats.org/presentationml/2006/main">
  <p:tag name="POWER_USER_DIAGRAM_CIRCULAR_ARROW_KEY" val="POWER_USER_DIAGRAM_CIRCULAR_ARROW_VALUE_26"/>
</p:tagLst>
</file>

<file path=ppt/tags/tag337.xml><?xml version="1.0" encoding="utf-8"?>
<p:tagLst xmlns:p="http://schemas.openxmlformats.org/presentationml/2006/main">
  <p:tag name="POWER_USER_DIAGRAM_CIRCULAR_ARROW_KEY" val="POWER_USER_DIAGRAM_CIRCULAR_ARROW_VALUE_27"/>
</p:tagLst>
</file>

<file path=ppt/tags/tag338.xml><?xml version="1.0" encoding="utf-8"?>
<p:tagLst xmlns:p="http://schemas.openxmlformats.org/presentationml/2006/main">
  <p:tag name="POWER_USER_DIAGRAM_CIRCULAR_ARROW_KEY" val="POWER_USER_DIAGRAM_CIRCULAR_ARROW_VALUE_28"/>
</p:tagLst>
</file>

<file path=ppt/tags/tag339.xml><?xml version="1.0" encoding="utf-8"?>
<p:tagLst xmlns:p="http://schemas.openxmlformats.org/presentationml/2006/main">
  <p:tag name="POWER_USER_DIAGRAM_CIRCULAR_ARROW_KEY" val="POWER_USER_DIAGRAM_CIRCULAR_ARROW_VALUE_29"/>
</p:tagLst>
</file>

<file path=ppt/tags/tag34.xml><?xml version="1.0" encoding="utf-8"?>
<p:tagLst xmlns:p="http://schemas.openxmlformats.org/presentationml/2006/main">
  <p:tag name="POWER_USER_DIAGRAM_CIRCULAR_ARROW_KEY" val="POWER_USER_DIAGRAM_CIRCULAR_ARROW_VALUE_38"/>
</p:tagLst>
</file>

<file path=ppt/tags/tag340.xml><?xml version="1.0" encoding="utf-8"?>
<p:tagLst xmlns:p="http://schemas.openxmlformats.org/presentationml/2006/main">
  <p:tag name="POWER_USER_DIAGRAM_CIRCULAR_ARROW_KEY" val="POWER_USER_DIAGRAM_CIRCULAR_ARROW_VALUE_30"/>
</p:tagLst>
</file>

<file path=ppt/tags/tag341.xml><?xml version="1.0" encoding="utf-8"?>
<p:tagLst xmlns:p="http://schemas.openxmlformats.org/presentationml/2006/main">
  <p:tag name="POWER_USER_DIAGRAM_CIRCULAR_ARROW_KEY" val="POWER_USER_DIAGRAM_CIRCULAR_ARROW_VALUE_31"/>
</p:tagLst>
</file>

<file path=ppt/tags/tag342.xml><?xml version="1.0" encoding="utf-8"?>
<p:tagLst xmlns:p="http://schemas.openxmlformats.org/presentationml/2006/main">
  <p:tag name="POWER_USER_DIAGRAM_CIRCULAR_ARROW_KEY" val="POWER_USER_DIAGRAM_CIRCULAR_ARROW_VALUE_32"/>
</p:tagLst>
</file>

<file path=ppt/tags/tag343.xml><?xml version="1.0" encoding="utf-8"?>
<p:tagLst xmlns:p="http://schemas.openxmlformats.org/presentationml/2006/main">
  <p:tag name="POWER_USER_DIAGRAM_CIRCULAR_ARROW_KEY" val="POWER_USER_DIAGRAM_CIRCULAR_ARROW_VALUE_33"/>
</p:tagLst>
</file>

<file path=ppt/tags/tag344.xml><?xml version="1.0" encoding="utf-8"?>
<p:tagLst xmlns:p="http://schemas.openxmlformats.org/presentationml/2006/main">
  <p:tag name="POWER_USER_DIAGRAM_CIRCULAR_ARROW_KEY" val="POWER_USER_DIAGRAM_CIRCULAR_ARROW_VALUE_34"/>
</p:tagLst>
</file>

<file path=ppt/tags/tag345.xml><?xml version="1.0" encoding="utf-8"?>
<p:tagLst xmlns:p="http://schemas.openxmlformats.org/presentationml/2006/main">
  <p:tag name="POWER_USER_DIAGRAM_CIRCULAR_ARROW_KEY" val="POWER_USER_DIAGRAM_CIRCULAR_ARROW_VALUE_35"/>
</p:tagLst>
</file>

<file path=ppt/tags/tag346.xml><?xml version="1.0" encoding="utf-8"?>
<p:tagLst xmlns:p="http://schemas.openxmlformats.org/presentationml/2006/main">
  <p:tag name="POWER_USER_DIAGRAM_CIRCULAR_ARROW_KEY" val="POWER_USER_DIAGRAM_CIRCULAR_ARROW_VALUE_36"/>
</p:tagLst>
</file>

<file path=ppt/tags/tag347.xml><?xml version="1.0" encoding="utf-8"?>
<p:tagLst xmlns:p="http://schemas.openxmlformats.org/presentationml/2006/main">
  <p:tag name="POWER_USER_DIAGRAM_CIRCULAR_ARROW_KEY" val="POWER_USER_DIAGRAM_CIRCULAR_ARROW_VALUE_37"/>
</p:tagLst>
</file>

<file path=ppt/tags/tag348.xml><?xml version="1.0" encoding="utf-8"?>
<p:tagLst xmlns:p="http://schemas.openxmlformats.org/presentationml/2006/main">
  <p:tag name="POWER_USER_DIAGRAM_CIRCULAR_ARROW_KEY" val="POWER_USER_DIAGRAM_CIRCULAR_ARROW_VALUE_38"/>
</p:tagLst>
</file>

<file path=ppt/tags/tag349.xml><?xml version="1.0" encoding="utf-8"?>
<p:tagLst xmlns:p="http://schemas.openxmlformats.org/presentationml/2006/main">
  <p:tag name="POWER_USER_DIAGRAM_CIRCULAR_ARROW_KEY" val="POWER_USER_DIAGRAM_CIRCULAR_ARROW_VALUE_39"/>
</p:tagLst>
</file>

<file path=ppt/tags/tag35.xml><?xml version="1.0" encoding="utf-8"?>
<p:tagLst xmlns:p="http://schemas.openxmlformats.org/presentationml/2006/main">
  <p:tag name="POWER_USER_DIAGRAM_CIRCULAR_ARROW_KEY" val="POWER_USER_DIAGRAM_CIRCULAR_ARROW_VALUE_39"/>
</p:tagLst>
</file>

<file path=ppt/tags/tag350.xml><?xml version="1.0" encoding="utf-8"?>
<p:tagLst xmlns:p="http://schemas.openxmlformats.org/presentationml/2006/main">
  <p:tag name="POWER_USER_DIAGRAM_CIRCULAR_ARROW_KEY" val="POWER_USER_DIAGRAM_CIRCULAR_ARROW_VALUE_40"/>
</p:tagLst>
</file>

<file path=ppt/tags/tag351.xml><?xml version="1.0" encoding="utf-8"?>
<p:tagLst xmlns:p="http://schemas.openxmlformats.org/presentationml/2006/main">
  <p:tag name="POWER_USER_DIAGRAM_CIRCULAR_ARROW_KEY" val="POWER_USER_DIAGRAM_CIRCULAR_ARROW_VALUE_41"/>
</p:tagLst>
</file>

<file path=ppt/tags/tag352.xml><?xml version="1.0" encoding="utf-8"?>
<p:tagLst xmlns:p="http://schemas.openxmlformats.org/presentationml/2006/main">
  <p:tag name="POWER_USER_DIAGRAM_CIRCULAR_ARROW_KEY" val="POWER_USER_DIAGRAM_CIRCULAR_ARROW_VALUE_42"/>
</p:tagLst>
</file>

<file path=ppt/tags/tag353.xml><?xml version="1.0" encoding="utf-8"?>
<p:tagLst xmlns:p="http://schemas.openxmlformats.org/presentationml/2006/main">
  <p:tag name="POWER_USER_DIAGRAM_CIRCULAR_ARROW_KEY" val="POWER_USER_DIAGRAM_CIRCULAR_ARROW_VALUE_43"/>
</p:tagLst>
</file>

<file path=ppt/tags/tag354.xml><?xml version="1.0" encoding="utf-8"?>
<p:tagLst xmlns:p="http://schemas.openxmlformats.org/presentationml/2006/main">
  <p:tag name="POWER_USER_DIAGRAM_CIRCULAR_ARROW_KEY" val="POWER_USER_DIAGRAM_CIRCULAR_ARROW_VALUE_44"/>
</p:tagLst>
</file>

<file path=ppt/tags/tag355.xml><?xml version="1.0" encoding="utf-8"?>
<p:tagLst xmlns:p="http://schemas.openxmlformats.org/presentationml/2006/main">
  <p:tag name="POWER_USER_DIAGRAM_CIRCULAR_ARROW_KEY" val="POWER_USER_DIAGRAM_CIRCULAR_ARROW_VALUE_45"/>
</p:tagLst>
</file>

<file path=ppt/tags/tag356.xml><?xml version="1.0" encoding="utf-8"?>
<p:tagLst xmlns:p="http://schemas.openxmlformats.org/presentationml/2006/main">
  <p:tag name="POWER_USER_DIAGRAM_CIRCULAR_ARROW_KEY" val="POWER_USER_DIAGRAM_CIRCULAR_ARROW_VALUE_46"/>
</p:tagLst>
</file>

<file path=ppt/tags/tag357.xml><?xml version="1.0" encoding="utf-8"?>
<p:tagLst xmlns:p="http://schemas.openxmlformats.org/presentationml/2006/main">
  <p:tag name="POWER_USER_DIAGRAM_CIRCULAR_ARROW_KEY" val="POWER_USER_DIAGRAM_CIRCULAR_ARROW_VALUE_47"/>
</p:tagLst>
</file>

<file path=ppt/tags/tag358.xml><?xml version="1.0" encoding="utf-8"?>
<p:tagLst xmlns:p="http://schemas.openxmlformats.org/presentationml/2006/main">
  <p:tag name="POWER_USER_DIAGRAM_CIRCULAR_ARROW_KEY" val="POWER_USER_DIAGRAM_CIRCULAR_ARROW_VALUE_48"/>
</p:tagLst>
</file>

<file path=ppt/tags/tag359.xml><?xml version="1.0" encoding="utf-8"?>
<p:tagLst xmlns:p="http://schemas.openxmlformats.org/presentationml/2006/main">
  <p:tag name="POWER_USER_DIAGRAM_CIRCULAR_ARROW_KEY" val="POWER_USER_DIAGRAM_CIRCULAR_ARROW_VALUE_49"/>
</p:tagLst>
</file>

<file path=ppt/tags/tag36.xml><?xml version="1.0" encoding="utf-8"?>
<p:tagLst xmlns:p="http://schemas.openxmlformats.org/presentationml/2006/main">
  <p:tag name="POWER_USER_DIAGRAM_CIRCULAR_ARROW_KEY" val="POWER_USER_DIAGRAM_CIRCULAR_ARROW_VALUE_40"/>
</p:tagLst>
</file>

<file path=ppt/tags/tag360.xml><?xml version="1.0" encoding="utf-8"?>
<p:tagLst xmlns:p="http://schemas.openxmlformats.org/presentationml/2006/main">
  <p:tag name="POWER_USER_DIAGRAM_CIRCULAR_ARROW_KEY" val="POWER_USER_DIAGRAM_CIRCULAR_ARROW_VALUE_50"/>
</p:tagLst>
</file>

<file path=ppt/tags/tag361.xml><?xml version="1.0" encoding="utf-8"?>
<p:tagLst xmlns:p="http://schemas.openxmlformats.org/presentationml/2006/main">
  <p:tag name="POWER_USER_DIAGRAM_CIRCULAR_ARROW_KEY" val="POWER_USER_DIAGRAM_CIRCULAR_ARROW_VALUE_5"/>
</p:tagLst>
</file>

<file path=ppt/tags/tag362.xml><?xml version="1.0" encoding="utf-8"?>
<p:tagLst xmlns:p="http://schemas.openxmlformats.org/presentationml/2006/main">
  <p:tag name="POWER_USER_DIAGRAM_CIRCULAR_ARROW_KEY" val="POWER_USER_DIAGRAM_CIRCULAR_ARROW_VALUE_6"/>
</p:tagLst>
</file>

<file path=ppt/tags/tag363.xml><?xml version="1.0" encoding="utf-8"?>
<p:tagLst xmlns:p="http://schemas.openxmlformats.org/presentationml/2006/main">
  <p:tag name="POWER_USER_DIAGRAM_CIRCULAR_ARROW_KEY" val="POWER_USER_DIAGRAM_CIRCULAR_ARROW_VALUE_7"/>
</p:tagLst>
</file>

<file path=ppt/tags/tag364.xml><?xml version="1.0" encoding="utf-8"?>
<p:tagLst xmlns:p="http://schemas.openxmlformats.org/presentationml/2006/main">
  <p:tag name="POWER_USER_DIAGRAM_CIRCULAR_ARROW_KEY" val="POWER_USER_DIAGRAM_CIRCULAR_ARROW_VALUE_8"/>
</p:tagLst>
</file>

<file path=ppt/tags/tag365.xml><?xml version="1.0" encoding="utf-8"?>
<p:tagLst xmlns:p="http://schemas.openxmlformats.org/presentationml/2006/main">
  <p:tag name="POWER_USER_DIAGRAM_CIRCULAR_ARROW_KEY" val="POWER_USER_DIAGRAM_CIRCULAR_ARROW_VALUE_9"/>
</p:tagLst>
</file>

<file path=ppt/tags/tag366.xml><?xml version="1.0" encoding="utf-8"?>
<p:tagLst xmlns:p="http://schemas.openxmlformats.org/presentationml/2006/main">
  <p:tag name="POWER_USER_DIAGRAM_CIRCULAR_ARROW_KEY" val="POWER_USER_DIAGRAM_CIRCULAR_ARROW_VALUE_10"/>
</p:tagLst>
</file>

<file path=ppt/tags/tag367.xml><?xml version="1.0" encoding="utf-8"?>
<p:tagLst xmlns:p="http://schemas.openxmlformats.org/presentationml/2006/main">
  <p:tag name="POWER_USER_DIAGRAM_CIRCULAR_ARROW_KEY" val="POWER_USER_DIAGRAM_CIRCULAR_ARROW_VALUE_11"/>
</p:tagLst>
</file>

<file path=ppt/tags/tag368.xml><?xml version="1.0" encoding="utf-8"?>
<p:tagLst xmlns:p="http://schemas.openxmlformats.org/presentationml/2006/main">
  <p:tag name="POWER_USER_DIAGRAM_CIRCULAR_ARROW_KEY" val="POWER_USER_DIAGRAM_CIRCULAR_ARROW_VALUE_12"/>
</p:tagLst>
</file>

<file path=ppt/tags/tag369.xml><?xml version="1.0" encoding="utf-8"?>
<p:tagLst xmlns:p="http://schemas.openxmlformats.org/presentationml/2006/main">
  <p:tag name="POWER_USER_DIAGRAM_CIRCULAR_ARROW_KEY" val="POWER_USER_DIAGRAM_CIRCULAR_ARROW_VALUE_13"/>
</p:tagLst>
</file>

<file path=ppt/tags/tag37.xml><?xml version="1.0" encoding="utf-8"?>
<p:tagLst xmlns:p="http://schemas.openxmlformats.org/presentationml/2006/main">
  <p:tag name="POWER_USER_DIAGRAM_CIRCULAR_ARROW_KEY" val="POWER_USER_DIAGRAM_CIRCULAR_ARROW_VALUE_41"/>
</p:tagLst>
</file>

<file path=ppt/tags/tag370.xml><?xml version="1.0" encoding="utf-8"?>
<p:tagLst xmlns:p="http://schemas.openxmlformats.org/presentationml/2006/main">
  <p:tag name="POWER_USER_DIAGRAM_CIRCULAR_ARROW_KEY" val="POWER_USER_DIAGRAM_CIRCULAR_ARROW_VALUE_14"/>
</p:tagLst>
</file>

<file path=ppt/tags/tag371.xml><?xml version="1.0" encoding="utf-8"?>
<p:tagLst xmlns:p="http://schemas.openxmlformats.org/presentationml/2006/main">
  <p:tag name="POWER_USER_DIAGRAM_CIRCULAR_ARROW_KEY" val="POWER_USER_DIAGRAM_CIRCULAR_ARROW_VALUE_15"/>
</p:tagLst>
</file>

<file path=ppt/tags/tag372.xml><?xml version="1.0" encoding="utf-8"?>
<p:tagLst xmlns:p="http://schemas.openxmlformats.org/presentationml/2006/main">
  <p:tag name="POWER_USER_DIAGRAM_CIRCULAR_ARROW_KEY" val="POWER_USER_DIAGRAM_CIRCULAR_ARROW_VALUE_16"/>
</p:tagLst>
</file>

<file path=ppt/tags/tag373.xml><?xml version="1.0" encoding="utf-8"?>
<p:tagLst xmlns:p="http://schemas.openxmlformats.org/presentationml/2006/main">
  <p:tag name="POWER_USER_DIAGRAM_CIRCULAR_ARROW_KEY" val="POWER_USER_DIAGRAM_CIRCULAR_ARROW_VALUE_17"/>
</p:tagLst>
</file>

<file path=ppt/tags/tag374.xml><?xml version="1.0" encoding="utf-8"?>
<p:tagLst xmlns:p="http://schemas.openxmlformats.org/presentationml/2006/main">
  <p:tag name="POWER_USER_DIAGRAM_CIRCULAR_ARROW_KEY" val="POWER_USER_DIAGRAM_CIRCULAR_ARROW_VALUE_18"/>
</p:tagLst>
</file>

<file path=ppt/tags/tag375.xml><?xml version="1.0" encoding="utf-8"?>
<p:tagLst xmlns:p="http://schemas.openxmlformats.org/presentationml/2006/main">
  <p:tag name="POWER_USER_DIAGRAM_CIRCULAR_ARROW_KEY" val="POWER_USER_DIAGRAM_CIRCULAR_ARROW_VALUE_19"/>
</p:tagLst>
</file>

<file path=ppt/tags/tag376.xml><?xml version="1.0" encoding="utf-8"?>
<p:tagLst xmlns:p="http://schemas.openxmlformats.org/presentationml/2006/main">
  <p:tag name="POWER_USER_DIAGRAM_CIRCULAR_ARROW_KEY" val="POWER_USER_DIAGRAM_CIRCULAR_ARROW_VALUE_20"/>
</p:tagLst>
</file>

<file path=ppt/tags/tag377.xml><?xml version="1.0" encoding="utf-8"?>
<p:tagLst xmlns:p="http://schemas.openxmlformats.org/presentationml/2006/main">
  <p:tag name="POWER_USER_DIAGRAM_CIRCULAR_ARROW_KEY" val="POWER_USER_DIAGRAM_CIRCULAR_ARROW_VALUE_21"/>
</p:tagLst>
</file>

<file path=ppt/tags/tag378.xml><?xml version="1.0" encoding="utf-8"?>
<p:tagLst xmlns:p="http://schemas.openxmlformats.org/presentationml/2006/main">
  <p:tag name="POWER_USER_DIAGRAM_CIRCULAR_ARROW_KEY" val="POWER_USER_DIAGRAM_CIRCULAR_ARROW_VALUE_22"/>
</p:tagLst>
</file>

<file path=ppt/tags/tag379.xml><?xml version="1.0" encoding="utf-8"?>
<p:tagLst xmlns:p="http://schemas.openxmlformats.org/presentationml/2006/main">
  <p:tag name="POWER_USER_DIAGRAM_CIRCULAR_ARROW_KEY" val="POWER_USER_DIAGRAM_CIRCULAR_ARROW_VALUE_23"/>
</p:tagLst>
</file>

<file path=ppt/tags/tag38.xml><?xml version="1.0" encoding="utf-8"?>
<p:tagLst xmlns:p="http://schemas.openxmlformats.org/presentationml/2006/main">
  <p:tag name="POWER_USER_DIAGRAM_CIRCULAR_ARROW_KEY" val="POWER_USER_DIAGRAM_CIRCULAR_ARROW_VALUE_42"/>
</p:tagLst>
</file>

<file path=ppt/tags/tag380.xml><?xml version="1.0" encoding="utf-8"?>
<p:tagLst xmlns:p="http://schemas.openxmlformats.org/presentationml/2006/main">
  <p:tag name="POWER_USER_DIAGRAM_CIRCULAR_ARROW_KEY" val="POWER_USER_DIAGRAM_CIRCULAR_ARROW_VALUE_24"/>
</p:tagLst>
</file>

<file path=ppt/tags/tag381.xml><?xml version="1.0" encoding="utf-8"?>
<p:tagLst xmlns:p="http://schemas.openxmlformats.org/presentationml/2006/main">
  <p:tag name="POWER_USER_DIAGRAM_CIRCULAR_ARROW_KEY" val="POWER_USER_DIAGRAM_CIRCULAR_ARROW_VALUE_25"/>
</p:tagLst>
</file>

<file path=ppt/tags/tag382.xml><?xml version="1.0" encoding="utf-8"?>
<p:tagLst xmlns:p="http://schemas.openxmlformats.org/presentationml/2006/main">
  <p:tag name="POWER_USER_DIAGRAM_CIRCULAR_ARROW_KEY" val="POWER_USER_DIAGRAM_CIRCULAR_ARROW_VALUE_26"/>
</p:tagLst>
</file>

<file path=ppt/tags/tag383.xml><?xml version="1.0" encoding="utf-8"?>
<p:tagLst xmlns:p="http://schemas.openxmlformats.org/presentationml/2006/main">
  <p:tag name="POWER_USER_DIAGRAM_CIRCULAR_ARROW_KEY" val="POWER_USER_DIAGRAM_CIRCULAR_ARROW_VALUE_27"/>
</p:tagLst>
</file>

<file path=ppt/tags/tag384.xml><?xml version="1.0" encoding="utf-8"?>
<p:tagLst xmlns:p="http://schemas.openxmlformats.org/presentationml/2006/main">
  <p:tag name="POWER_USER_DIAGRAM_CIRCULAR_ARROW_KEY" val="POWER_USER_DIAGRAM_CIRCULAR_ARROW_VALUE_28"/>
</p:tagLst>
</file>

<file path=ppt/tags/tag385.xml><?xml version="1.0" encoding="utf-8"?>
<p:tagLst xmlns:p="http://schemas.openxmlformats.org/presentationml/2006/main">
  <p:tag name="POWER_USER_DIAGRAM_CIRCULAR_ARROW_KEY" val="POWER_USER_DIAGRAM_CIRCULAR_ARROW_VALUE_29"/>
</p:tagLst>
</file>

<file path=ppt/tags/tag386.xml><?xml version="1.0" encoding="utf-8"?>
<p:tagLst xmlns:p="http://schemas.openxmlformats.org/presentationml/2006/main">
  <p:tag name="POWER_USER_DIAGRAM_CIRCULAR_ARROW_KEY" val="POWER_USER_DIAGRAM_CIRCULAR_ARROW_VALUE_30"/>
</p:tagLst>
</file>

<file path=ppt/tags/tag387.xml><?xml version="1.0" encoding="utf-8"?>
<p:tagLst xmlns:p="http://schemas.openxmlformats.org/presentationml/2006/main">
  <p:tag name="POWER_USER_DIAGRAM_CIRCULAR_ARROW_KEY" val="POWER_USER_DIAGRAM_CIRCULAR_ARROW_VALUE_31"/>
</p:tagLst>
</file>

<file path=ppt/tags/tag388.xml><?xml version="1.0" encoding="utf-8"?>
<p:tagLst xmlns:p="http://schemas.openxmlformats.org/presentationml/2006/main">
  <p:tag name="POWER_USER_DIAGRAM_CIRCULAR_ARROW_KEY" val="POWER_USER_DIAGRAM_CIRCULAR_ARROW_VALUE_32"/>
</p:tagLst>
</file>

<file path=ppt/tags/tag389.xml><?xml version="1.0" encoding="utf-8"?>
<p:tagLst xmlns:p="http://schemas.openxmlformats.org/presentationml/2006/main">
  <p:tag name="POWER_USER_DIAGRAM_CIRCULAR_ARROW_KEY" val="POWER_USER_DIAGRAM_CIRCULAR_ARROW_VALUE_33"/>
</p:tagLst>
</file>

<file path=ppt/tags/tag39.xml><?xml version="1.0" encoding="utf-8"?>
<p:tagLst xmlns:p="http://schemas.openxmlformats.org/presentationml/2006/main">
  <p:tag name="POWER_USER_DIAGRAM_CIRCULAR_ARROW_KEY" val="POWER_USER_DIAGRAM_CIRCULAR_ARROW_VALUE_43"/>
</p:tagLst>
</file>

<file path=ppt/tags/tag390.xml><?xml version="1.0" encoding="utf-8"?>
<p:tagLst xmlns:p="http://schemas.openxmlformats.org/presentationml/2006/main">
  <p:tag name="POWER_USER_DIAGRAM_CIRCULAR_ARROW_KEY" val="POWER_USER_DIAGRAM_CIRCULAR_ARROW_VALUE_34"/>
</p:tagLst>
</file>

<file path=ppt/tags/tag391.xml><?xml version="1.0" encoding="utf-8"?>
<p:tagLst xmlns:p="http://schemas.openxmlformats.org/presentationml/2006/main">
  <p:tag name="POWER_USER_DIAGRAM_CIRCULAR_ARROW_KEY" val="POWER_USER_DIAGRAM_CIRCULAR_ARROW_VALUE_35"/>
</p:tagLst>
</file>

<file path=ppt/tags/tag392.xml><?xml version="1.0" encoding="utf-8"?>
<p:tagLst xmlns:p="http://schemas.openxmlformats.org/presentationml/2006/main">
  <p:tag name="POWER_USER_DIAGRAM_CIRCULAR_ARROW_KEY" val="POWER_USER_DIAGRAM_CIRCULAR_ARROW_VALUE_36"/>
</p:tagLst>
</file>

<file path=ppt/tags/tag393.xml><?xml version="1.0" encoding="utf-8"?>
<p:tagLst xmlns:p="http://schemas.openxmlformats.org/presentationml/2006/main">
  <p:tag name="POWER_USER_DIAGRAM_CIRCULAR_ARROW_KEY" val="POWER_USER_DIAGRAM_CIRCULAR_ARROW_VALUE_37"/>
</p:tagLst>
</file>

<file path=ppt/tags/tag394.xml><?xml version="1.0" encoding="utf-8"?>
<p:tagLst xmlns:p="http://schemas.openxmlformats.org/presentationml/2006/main">
  <p:tag name="POWER_USER_DIAGRAM_CIRCULAR_ARROW_KEY" val="POWER_USER_DIAGRAM_CIRCULAR_ARROW_VALUE_38"/>
</p:tagLst>
</file>

<file path=ppt/tags/tag395.xml><?xml version="1.0" encoding="utf-8"?>
<p:tagLst xmlns:p="http://schemas.openxmlformats.org/presentationml/2006/main">
  <p:tag name="POWER_USER_DIAGRAM_CIRCULAR_ARROW_KEY" val="POWER_USER_DIAGRAM_CIRCULAR_ARROW_VALUE_39"/>
</p:tagLst>
</file>

<file path=ppt/tags/tag396.xml><?xml version="1.0" encoding="utf-8"?>
<p:tagLst xmlns:p="http://schemas.openxmlformats.org/presentationml/2006/main">
  <p:tag name="POWER_USER_DIAGRAM_CIRCULAR_ARROW_KEY" val="POWER_USER_DIAGRAM_CIRCULAR_ARROW_VALUE_40"/>
</p:tagLst>
</file>

<file path=ppt/tags/tag397.xml><?xml version="1.0" encoding="utf-8"?>
<p:tagLst xmlns:p="http://schemas.openxmlformats.org/presentationml/2006/main">
  <p:tag name="POWER_USER_DIAGRAM_CIRCULAR_ARROW_KEY" val="POWER_USER_DIAGRAM_CIRCULAR_ARROW_VALUE_41"/>
</p:tagLst>
</file>

<file path=ppt/tags/tag398.xml><?xml version="1.0" encoding="utf-8"?>
<p:tagLst xmlns:p="http://schemas.openxmlformats.org/presentationml/2006/main">
  <p:tag name="POWER_USER_DIAGRAM_CIRCULAR_ARROW_KEY" val="POWER_USER_DIAGRAM_CIRCULAR_ARROW_VALUE_42"/>
</p:tagLst>
</file>

<file path=ppt/tags/tag399.xml><?xml version="1.0" encoding="utf-8"?>
<p:tagLst xmlns:p="http://schemas.openxmlformats.org/presentationml/2006/main">
  <p:tag name="POWER_USER_DIAGRAM_CIRCULAR_ARROW_KEY" val="POWER_USER_DIAGRAM_CIRCULAR_ARROW_VALUE_43"/>
</p:tagLst>
</file>

<file path=ppt/tags/tag4.xml><?xml version="1.0" encoding="utf-8"?>
<p:tagLst xmlns:p="http://schemas.openxmlformats.org/presentationml/2006/main">
  <p:tag name="POWER_USER_DIAGRAM_CIRCULAR_ARROW_KEY" val="POWER_USER_DIAGRAM_CIRCULAR_ARROW_VALUE_8"/>
</p:tagLst>
</file>

<file path=ppt/tags/tag40.xml><?xml version="1.0" encoding="utf-8"?>
<p:tagLst xmlns:p="http://schemas.openxmlformats.org/presentationml/2006/main">
  <p:tag name="POWER_USER_DIAGRAM_CIRCULAR_ARROW_KEY" val="POWER_USER_DIAGRAM_CIRCULAR_ARROW_VALUE_44"/>
</p:tagLst>
</file>

<file path=ppt/tags/tag400.xml><?xml version="1.0" encoding="utf-8"?>
<p:tagLst xmlns:p="http://schemas.openxmlformats.org/presentationml/2006/main">
  <p:tag name="POWER_USER_DIAGRAM_CIRCULAR_ARROW_KEY" val="POWER_USER_DIAGRAM_CIRCULAR_ARROW_VALUE_44"/>
</p:tagLst>
</file>

<file path=ppt/tags/tag401.xml><?xml version="1.0" encoding="utf-8"?>
<p:tagLst xmlns:p="http://schemas.openxmlformats.org/presentationml/2006/main">
  <p:tag name="POWER_USER_DIAGRAM_CIRCULAR_ARROW_KEY" val="POWER_USER_DIAGRAM_CIRCULAR_ARROW_VALUE_45"/>
</p:tagLst>
</file>

<file path=ppt/tags/tag402.xml><?xml version="1.0" encoding="utf-8"?>
<p:tagLst xmlns:p="http://schemas.openxmlformats.org/presentationml/2006/main">
  <p:tag name="POWER_USER_DIAGRAM_CIRCULAR_ARROW_KEY" val="POWER_USER_DIAGRAM_CIRCULAR_ARROW_VALUE_46"/>
</p:tagLst>
</file>

<file path=ppt/tags/tag403.xml><?xml version="1.0" encoding="utf-8"?>
<p:tagLst xmlns:p="http://schemas.openxmlformats.org/presentationml/2006/main">
  <p:tag name="POWER_USER_DIAGRAM_CIRCULAR_ARROW_KEY" val="POWER_USER_DIAGRAM_CIRCULAR_ARROW_VALUE_47"/>
</p:tagLst>
</file>

<file path=ppt/tags/tag404.xml><?xml version="1.0" encoding="utf-8"?>
<p:tagLst xmlns:p="http://schemas.openxmlformats.org/presentationml/2006/main">
  <p:tag name="POWER_USER_DIAGRAM_CIRCULAR_ARROW_KEY" val="POWER_USER_DIAGRAM_CIRCULAR_ARROW_VALUE_48"/>
</p:tagLst>
</file>

<file path=ppt/tags/tag405.xml><?xml version="1.0" encoding="utf-8"?>
<p:tagLst xmlns:p="http://schemas.openxmlformats.org/presentationml/2006/main">
  <p:tag name="POWER_USER_DIAGRAM_CIRCULAR_ARROW_KEY" val="POWER_USER_DIAGRAM_CIRCULAR_ARROW_VALUE_49"/>
</p:tagLst>
</file>

<file path=ppt/tags/tag406.xml><?xml version="1.0" encoding="utf-8"?>
<p:tagLst xmlns:p="http://schemas.openxmlformats.org/presentationml/2006/main">
  <p:tag name="POWER_USER_DIAGRAM_CIRCULAR_ARROW_KEY" val="POWER_USER_DIAGRAM_CIRCULAR_ARROW_VALUE_50"/>
</p:tagLst>
</file>

<file path=ppt/tags/tag407.xml><?xml version="1.0" encoding="utf-8"?>
<p:tagLst xmlns:p="http://schemas.openxmlformats.org/presentationml/2006/main">
  <p:tag name="POWER_USER_DIAGRAM_CIRCULAR_ARROW_KEY" val="POWER_USER_DIAGRAM_CIRCULAR_ARROW_VALUE_5"/>
</p:tagLst>
</file>

<file path=ppt/tags/tag408.xml><?xml version="1.0" encoding="utf-8"?>
<p:tagLst xmlns:p="http://schemas.openxmlformats.org/presentationml/2006/main">
  <p:tag name="POWER_USER_DIAGRAM_CIRCULAR_ARROW_KEY" val="POWER_USER_DIAGRAM_CIRCULAR_ARROW_VALUE_6"/>
</p:tagLst>
</file>

<file path=ppt/tags/tag409.xml><?xml version="1.0" encoding="utf-8"?>
<p:tagLst xmlns:p="http://schemas.openxmlformats.org/presentationml/2006/main">
  <p:tag name="POWER_USER_DIAGRAM_CIRCULAR_ARROW_KEY" val="POWER_USER_DIAGRAM_CIRCULAR_ARROW_VALUE_7"/>
</p:tagLst>
</file>

<file path=ppt/tags/tag41.xml><?xml version="1.0" encoding="utf-8"?>
<p:tagLst xmlns:p="http://schemas.openxmlformats.org/presentationml/2006/main">
  <p:tag name="POWER_USER_DIAGRAM_CIRCULAR_ARROW_KEY" val="POWER_USER_DIAGRAM_CIRCULAR_ARROW_VALUE_45"/>
</p:tagLst>
</file>

<file path=ppt/tags/tag410.xml><?xml version="1.0" encoding="utf-8"?>
<p:tagLst xmlns:p="http://schemas.openxmlformats.org/presentationml/2006/main">
  <p:tag name="POWER_USER_DIAGRAM_CIRCULAR_ARROW_KEY" val="POWER_USER_DIAGRAM_CIRCULAR_ARROW_VALUE_8"/>
</p:tagLst>
</file>

<file path=ppt/tags/tag411.xml><?xml version="1.0" encoding="utf-8"?>
<p:tagLst xmlns:p="http://schemas.openxmlformats.org/presentationml/2006/main">
  <p:tag name="POWER_USER_DIAGRAM_CIRCULAR_ARROW_KEY" val="POWER_USER_DIAGRAM_CIRCULAR_ARROW_VALUE_9"/>
</p:tagLst>
</file>

<file path=ppt/tags/tag412.xml><?xml version="1.0" encoding="utf-8"?>
<p:tagLst xmlns:p="http://schemas.openxmlformats.org/presentationml/2006/main">
  <p:tag name="POWER_USER_DIAGRAM_CIRCULAR_ARROW_KEY" val="POWER_USER_DIAGRAM_CIRCULAR_ARROW_VALUE_10"/>
</p:tagLst>
</file>

<file path=ppt/tags/tag413.xml><?xml version="1.0" encoding="utf-8"?>
<p:tagLst xmlns:p="http://schemas.openxmlformats.org/presentationml/2006/main">
  <p:tag name="POWER_USER_DIAGRAM_CIRCULAR_ARROW_KEY" val="POWER_USER_DIAGRAM_CIRCULAR_ARROW_VALUE_11"/>
</p:tagLst>
</file>

<file path=ppt/tags/tag414.xml><?xml version="1.0" encoding="utf-8"?>
<p:tagLst xmlns:p="http://schemas.openxmlformats.org/presentationml/2006/main">
  <p:tag name="POWER_USER_DIAGRAM_CIRCULAR_ARROW_KEY" val="POWER_USER_DIAGRAM_CIRCULAR_ARROW_VALUE_12"/>
</p:tagLst>
</file>

<file path=ppt/tags/tag415.xml><?xml version="1.0" encoding="utf-8"?>
<p:tagLst xmlns:p="http://schemas.openxmlformats.org/presentationml/2006/main">
  <p:tag name="POWER_USER_DIAGRAM_CIRCULAR_ARROW_KEY" val="POWER_USER_DIAGRAM_CIRCULAR_ARROW_VALUE_13"/>
</p:tagLst>
</file>

<file path=ppt/tags/tag416.xml><?xml version="1.0" encoding="utf-8"?>
<p:tagLst xmlns:p="http://schemas.openxmlformats.org/presentationml/2006/main">
  <p:tag name="POWER_USER_DIAGRAM_CIRCULAR_ARROW_KEY" val="POWER_USER_DIAGRAM_CIRCULAR_ARROW_VALUE_14"/>
</p:tagLst>
</file>

<file path=ppt/tags/tag417.xml><?xml version="1.0" encoding="utf-8"?>
<p:tagLst xmlns:p="http://schemas.openxmlformats.org/presentationml/2006/main">
  <p:tag name="POWER_USER_DIAGRAM_CIRCULAR_ARROW_KEY" val="POWER_USER_DIAGRAM_CIRCULAR_ARROW_VALUE_15"/>
</p:tagLst>
</file>

<file path=ppt/tags/tag418.xml><?xml version="1.0" encoding="utf-8"?>
<p:tagLst xmlns:p="http://schemas.openxmlformats.org/presentationml/2006/main">
  <p:tag name="POWER_USER_DIAGRAM_CIRCULAR_ARROW_KEY" val="POWER_USER_DIAGRAM_CIRCULAR_ARROW_VALUE_16"/>
</p:tagLst>
</file>

<file path=ppt/tags/tag419.xml><?xml version="1.0" encoding="utf-8"?>
<p:tagLst xmlns:p="http://schemas.openxmlformats.org/presentationml/2006/main">
  <p:tag name="POWER_USER_DIAGRAM_CIRCULAR_ARROW_KEY" val="POWER_USER_DIAGRAM_CIRCULAR_ARROW_VALUE_17"/>
</p:tagLst>
</file>

<file path=ppt/tags/tag42.xml><?xml version="1.0" encoding="utf-8"?>
<p:tagLst xmlns:p="http://schemas.openxmlformats.org/presentationml/2006/main">
  <p:tag name="POWER_USER_DIAGRAM_CIRCULAR_ARROW_KEY" val="POWER_USER_DIAGRAM_CIRCULAR_ARROW_VALUE_46"/>
</p:tagLst>
</file>

<file path=ppt/tags/tag420.xml><?xml version="1.0" encoding="utf-8"?>
<p:tagLst xmlns:p="http://schemas.openxmlformats.org/presentationml/2006/main">
  <p:tag name="POWER_USER_DIAGRAM_CIRCULAR_ARROW_KEY" val="POWER_USER_DIAGRAM_CIRCULAR_ARROW_VALUE_18"/>
</p:tagLst>
</file>

<file path=ppt/tags/tag421.xml><?xml version="1.0" encoding="utf-8"?>
<p:tagLst xmlns:p="http://schemas.openxmlformats.org/presentationml/2006/main">
  <p:tag name="POWER_USER_DIAGRAM_CIRCULAR_ARROW_KEY" val="POWER_USER_DIAGRAM_CIRCULAR_ARROW_VALUE_19"/>
</p:tagLst>
</file>

<file path=ppt/tags/tag422.xml><?xml version="1.0" encoding="utf-8"?>
<p:tagLst xmlns:p="http://schemas.openxmlformats.org/presentationml/2006/main">
  <p:tag name="POWER_USER_DIAGRAM_CIRCULAR_ARROW_KEY" val="POWER_USER_DIAGRAM_CIRCULAR_ARROW_VALUE_20"/>
</p:tagLst>
</file>

<file path=ppt/tags/tag423.xml><?xml version="1.0" encoding="utf-8"?>
<p:tagLst xmlns:p="http://schemas.openxmlformats.org/presentationml/2006/main">
  <p:tag name="POWER_USER_DIAGRAM_CIRCULAR_ARROW_KEY" val="POWER_USER_DIAGRAM_CIRCULAR_ARROW_VALUE_21"/>
</p:tagLst>
</file>

<file path=ppt/tags/tag424.xml><?xml version="1.0" encoding="utf-8"?>
<p:tagLst xmlns:p="http://schemas.openxmlformats.org/presentationml/2006/main">
  <p:tag name="POWER_USER_DIAGRAM_CIRCULAR_ARROW_KEY" val="POWER_USER_DIAGRAM_CIRCULAR_ARROW_VALUE_22"/>
</p:tagLst>
</file>

<file path=ppt/tags/tag425.xml><?xml version="1.0" encoding="utf-8"?>
<p:tagLst xmlns:p="http://schemas.openxmlformats.org/presentationml/2006/main">
  <p:tag name="POWER_USER_DIAGRAM_CIRCULAR_ARROW_KEY" val="POWER_USER_DIAGRAM_CIRCULAR_ARROW_VALUE_23"/>
</p:tagLst>
</file>

<file path=ppt/tags/tag426.xml><?xml version="1.0" encoding="utf-8"?>
<p:tagLst xmlns:p="http://schemas.openxmlformats.org/presentationml/2006/main">
  <p:tag name="POWER_USER_DIAGRAM_CIRCULAR_ARROW_KEY" val="POWER_USER_DIAGRAM_CIRCULAR_ARROW_VALUE_24"/>
</p:tagLst>
</file>

<file path=ppt/tags/tag427.xml><?xml version="1.0" encoding="utf-8"?>
<p:tagLst xmlns:p="http://schemas.openxmlformats.org/presentationml/2006/main">
  <p:tag name="POWER_USER_DIAGRAM_CIRCULAR_ARROW_KEY" val="POWER_USER_DIAGRAM_CIRCULAR_ARROW_VALUE_25"/>
</p:tagLst>
</file>

<file path=ppt/tags/tag428.xml><?xml version="1.0" encoding="utf-8"?>
<p:tagLst xmlns:p="http://schemas.openxmlformats.org/presentationml/2006/main">
  <p:tag name="POWER_USER_DIAGRAM_CIRCULAR_ARROW_KEY" val="POWER_USER_DIAGRAM_CIRCULAR_ARROW_VALUE_26"/>
</p:tagLst>
</file>

<file path=ppt/tags/tag429.xml><?xml version="1.0" encoding="utf-8"?>
<p:tagLst xmlns:p="http://schemas.openxmlformats.org/presentationml/2006/main">
  <p:tag name="POWER_USER_DIAGRAM_CIRCULAR_ARROW_KEY" val="POWER_USER_DIAGRAM_CIRCULAR_ARROW_VALUE_27"/>
</p:tagLst>
</file>

<file path=ppt/tags/tag43.xml><?xml version="1.0" encoding="utf-8"?>
<p:tagLst xmlns:p="http://schemas.openxmlformats.org/presentationml/2006/main">
  <p:tag name="POWER_USER_DIAGRAM_CIRCULAR_ARROW_KEY" val="POWER_USER_DIAGRAM_CIRCULAR_ARROW_VALUE_47"/>
</p:tagLst>
</file>

<file path=ppt/tags/tag430.xml><?xml version="1.0" encoding="utf-8"?>
<p:tagLst xmlns:p="http://schemas.openxmlformats.org/presentationml/2006/main">
  <p:tag name="POWER_USER_DIAGRAM_CIRCULAR_ARROW_KEY" val="POWER_USER_DIAGRAM_CIRCULAR_ARROW_VALUE_28"/>
</p:tagLst>
</file>

<file path=ppt/tags/tag431.xml><?xml version="1.0" encoding="utf-8"?>
<p:tagLst xmlns:p="http://schemas.openxmlformats.org/presentationml/2006/main">
  <p:tag name="POWER_USER_DIAGRAM_CIRCULAR_ARROW_KEY" val="POWER_USER_DIAGRAM_CIRCULAR_ARROW_VALUE_29"/>
</p:tagLst>
</file>

<file path=ppt/tags/tag432.xml><?xml version="1.0" encoding="utf-8"?>
<p:tagLst xmlns:p="http://schemas.openxmlformats.org/presentationml/2006/main">
  <p:tag name="POWER_USER_DIAGRAM_CIRCULAR_ARROW_KEY" val="POWER_USER_DIAGRAM_CIRCULAR_ARROW_VALUE_30"/>
</p:tagLst>
</file>

<file path=ppt/tags/tag433.xml><?xml version="1.0" encoding="utf-8"?>
<p:tagLst xmlns:p="http://schemas.openxmlformats.org/presentationml/2006/main">
  <p:tag name="POWER_USER_DIAGRAM_CIRCULAR_ARROW_KEY" val="POWER_USER_DIAGRAM_CIRCULAR_ARROW_VALUE_31"/>
</p:tagLst>
</file>

<file path=ppt/tags/tag434.xml><?xml version="1.0" encoding="utf-8"?>
<p:tagLst xmlns:p="http://schemas.openxmlformats.org/presentationml/2006/main">
  <p:tag name="POWER_USER_DIAGRAM_CIRCULAR_ARROW_KEY" val="POWER_USER_DIAGRAM_CIRCULAR_ARROW_VALUE_32"/>
</p:tagLst>
</file>

<file path=ppt/tags/tag435.xml><?xml version="1.0" encoding="utf-8"?>
<p:tagLst xmlns:p="http://schemas.openxmlformats.org/presentationml/2006/main">
  <p:tag name="POWER_USER_DIAGRAM_CIRCULAR_ARROW_KEY" val="POWER_USER_DIAGRAM_CIRCULAR_ARROW_VALUE_33"/>
</p:tagLst>
</file>

<file path=ppt/tags/tag436.xml><?xml version="1.0" encoding="utf-8"?>
<p:tagLst xmlns:p="http://schemas.openxmlformats.org/presentationml/2006/main">
  <p:tag name="POWER_USER_DIAGRAM_CIRCULAR_ARROW_KEY" val="POWER_USER_DIAGRAM_CIRCULAR_ARROW_VALUE_34"/>
</p:tagLst>
</file>

<file path=ppt/tags/tag437.xml><?xml version="1.0" encoding="utf-8"?>
<p:tagLst xmlns:p="http://schemas.openxmlformats.org/presentationml/2006/main">
  <p:tag name="POWER_USER_DIAGRAM_CIRCULAR_ARROW_KEY" val="POWER_USER_DIAGRAM_CIRCULAR_ARROW_VALUE_35"/>
</p:tagLst>
</file>

<file path=ppt/tags/tag438.xml><?xml version="1.0" encoding="utf-8"?>
<p:tagLst xmlns:p="http://schemas.openxmlformats.org/presentationml/2006/main">
  <p:tag name="POWER_USER_DIAGRAM_CIRCULAR_ARROW_KEY" val="POWER_USER_DIAGRAM_CIRCULAR_ARROW_VALUE_36"/>
</p:tagLst>
</file>

<file path=ppt/tags/tag439.xml><?xml version="1.0" encoding="utf-8"?>
<p:tagLst xmlns:p="http://schemas.openxmlformats.org/presentationml/2006/main">
  <p:tag name="POWER_USER_DIAGRAM_CIRCULAR_ARROW_KEY" val="POWER_USER_DIAGRAM_CIRCULAR_ARROW_VALUE_37"/>
</p:tagLst>
</file>

<file path=ppt/tags/tag44.xml><?xml version="1.0" encoding="utf-8"?>
<p:tagLst xmlns:p="http://schemas.openxmlformats.org/presentationml/2006/main">
  <p:tag name="POWER_USER_DIAGRAM_CIRCULAR_ARROW_KEY" val="POWER_USER_DIAGRAM_CIRCULAR_ARROW_VALUE_48"/>
</p:tagLst>
</file>

<file path=ppt/tags/tag440.xml><?xml version="1.0" encoding="utf-8"?>
<p:tagLst xmlns:p="http://schemas.openxmlformats.org/presentationml/2006/main">
  <p:tag name="POWER_USER_DIAGRAM_CIRCULAR_ARROW_KEY" val="POWER_USER_DIAGRAM_CIRCULAR_ARROW_VALUE_38"/>
</p:tagLst>
</file>

<file path=ppt/tags/tag441.xml><?xml version="1.0" encoding="utf-8"?>
<p:tagLst xmlns:p="http://schemas.openxmlformats.org/presentationml/2006/main">
  <p:tag name="POWER_USER_DIAGRAM_CIRCULAR_ARROW_KEY" val="POWER_USER_DIAGRAM_CIRCULAR_ARROW_VALUE_39"/>
</p:tagLst>
</file>

<file path=ppt/tags/tag442.xml><?xml version="1.0" encoding="utf-8"?>
<p:tagLst xmlns:p="http://schemas.openxmlformats.org/presentationml/2006/main">
  <p:tag name="POWER_USER_DIAGRAM_CIRCULAR_ARROW_KEY" val="POWER_USER_DIAGRAM_CIRCULAR_ARROW_VALUE_40"/>
</p:tagLst>
</file>

<file path=ppt/tags/tag443.xml><?xml version="1.0" encoding="utf-8"?>
<p:tagLst xmlns:p="http://schemas.openxmlformats.org/presentationml/2006/main">
  <p:tag name="POWER_USER_DIAGRAM_CIRCULAR_ARROW_KEY" val="POWER_USER_DIAGRAM_CIRCULAR_ARROW_VALUE_41"/>
</p:tagLst>
</file>

<file path=ppt/tags/tag444.xml><?xml version="1.0" encoding="utf-8"?>
<p:tagLst xmlns:p="http://schemas.openxmlformats.org/presentationml/2006/main">
  <p:tag name="POWER_USER_DIAGRAM_CIRCULAR_ARROW_KEY" val="POWER_USER_DIAGRAM_CIRCULAR_ARROW_VALUE_42"/>
</p:tagLst>
</file>

<file path=ppt/tags/tag445.xml><?xml version="1.0" encoding="utf-8"?>
<p:tagLst xmlns:p="http://schemas.openxmlformats.org/presentationml/2006/main">
  <p:tag name="POWER_USER_DIAGRAM_CIRCULAR_ARROW_KEY" val="POWER_USER_DIAGRAM_CIRCULAR_ARROW_VALUE_43"/>
</p:tagLst>
</file>

<file path=ppt/tags/tag446.xml><?xml version="1.0" encoding="utf-8"?>
<p:tagLst xmlns:p="http://schemas.openxmlformats.org/presentationml/2006/main">
  <p:tag name="POWER_USER_DIAGRAM_CIRCULAR_ARROW_KEY" val="POWER_USER_DIAGRAM_CIRCULAR_ARROW_VALUE_44"/>
</p:tagLst>
</file>

<file path=ppt/tags/tag447.xml><?xml version="1.0" encoding="utf-8"?>
<p:tagLst xmlns:p="http://schemas.openxmlformats.org/presentationml/2006/main">
  <p:tag name="POWER_USER_DIAGRAM_CIRCULAR_ARROW_KEY" val="POWER_USER_DIAGRAM_CIRCULAR_ARROW_VALUE_45"/>
</p:tagLst>
</file>

<file path=ppt/tags/tag448.xml><?xml version="1.0" encoding="utf-8"?>
<p:tagLst xmlns:p="http://schemas.openxmlformats.org/presentationml/2006/main">
  <p:tag name="POWER_USER_DIAGRAM_CIRCULAR_ARROW_KEY" val="POWER_USER_DIAGRAM_CIRCULAR_ARROW_VALUE_46"/>
</p:tagLst>
</file>

<file path=ppt/tags/tag449.xml><?xml version="1.0" encoding="utf-8"?>
<p:tagLst xmlns:p="http://schemas.openxmlformats.org/presentationml/2006/main">
  <p:tag name="POWER_USER_DIAGRAM_CIRCULAR_ARROW_KEY" val="POWER_USER_DIAGRAM_CIRCULAR_ARROW_VALUE_47"/>
</p:tagLst>
</file>

<file path=ppt/tags/tag45.xml><?xml version="1.0" encoding="utf-8"?>
<p:tagLst xmlns:p="http://schemas.openxmlformats.org/presentationml/2006/main">
  <p:tag name="POWER_USER_DIAGRAM_CIRCULAR_ARROW_KEY" val="POWER_USER_DIAGRAM_CIRCULAR_ARROW_VALUE_49"/>
</p:tagLst>
</file>

<file path=ppt/tags/tag450.xml><?xml version="1.0" encoding="utf-8"?>
<p:tagLst xmlns:p="http://schemas.openxmlformats.org/presentationml/2006/main">
  <p:tag name="POWER_USER_DIAGRAM_CIRCULAR_ARROW_KEY" val="POWER_USER_DIAGRAM_CIRCULAR_ARROW_VALUE_48"/>
</p:tagLst>
</file>

<file path=ppt/tags/tag451.xml><?xml version="1.0" encoding="utf-8"?>
<p:tagLst xmlns:p="http://schemas.openxmlformats.org/presentationml/2006/main">
  <p:tag name="POWER_USER_DIAGRAM_CIRCULAR_ARROW_KEY" val="POWER_USER_DIAGRAM_CIRCULAR_ARROW_VALUE_49"/>
</p:tagLst>
</file>

<file path=ppt/tags/tag452.xml><?xml version="1.0" encoding="utf-8"?>
<p:tagLst xmlns:p="http://schemas.openxmlformats.org/presentationml/2006/main">
  <p:tag name="POWER_USER_DIAGRAM_CIRCULAR_ARROW_KEY" val="POWER_USER_DIAGRAM_CIRCULAR_ARROW_VALUE_50"/>
</p:tagLst>
</file>

<file path=ppt/tags/tag453.xml><?xml version="1.0" encoding="utf-8"?>
<p:tagLst xmlns:p="http://schemas.openxmlformats.org/presentationml/2006/main">
  <p:tag name="POWER_USER_TAGS_ICONS" val=""/>
</p:tagLst>
</file>

<file path=ppt/tags/tag454.xml><?xml version="1.0" encoding="utf-8"?>
<p:tagLst xmlns:p="http://schemas.openxmlformats.org/presentationml/2006/main">
  <p:tag name="POWER_USER_TAGS_ICONS" val="analytics*data*analysis*chart"/>
</p:tagLst>
</file>

<file path=ppt/tags/tag455.xml><?xml version="1.0" encoding="utf-8"?>
<p:tagLst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456.xml><?xml version="1.0" encoding="utf-8"?>
<p:tagLst xmlns:p="http://schemas.openxmlformats.org/presentationml/2006/main">
  <p:tag name="POWER_USER_TAGS_ICONS" val=""/>
</p:tagLst>
</file>

<file path=ppt/tags/tag457.xml><?xml version="1.0" encoding="utf-8"?>
<p:tagLst xmlns:p="http://schemas.openxmlformats.org/presentationml/2006/main">
  <p:tag name="POWER_USER_DIAGRAM_CIRCULAR_ARROW_KEY" val="POWER_USER_DIAGRAM_CIRCULAR_ARROW_VALUE_5"/>
</p:tagLst>
</file>

<file path=ppt/tags/tag458.xml><?xml version="1.0" encoding="utf-8"?>
<p:tagLst xmlns:p="http://schemas.openxmlformats.org/presentationml/2006/main">
  <p:tag name="POWER_USER_DIAGRAM_CIRCULAR_ARROW_KEY" val="POWER_USER_DIAGRAM_CIRCULAR_ARROW_VALUE_6"/>
</p:tagLst>
</file>

<file path=ppt/tags/tag459.xml><?xml version="1.0" encoding="utf-8"?>
<p:tagLst xmlns:p="http://schemas.openxmlformats.org/presentationml/2006/main">
  <p:tag name="POWER_USER_DIAGRAM_CIRCULAR_ARROW_KEY" val="POWER_USER_DIAGRAM_CIRCULAR_ARROW_VALUE_7"/>
</p:tagLst>
</file>

<file path=ppt/tags/tag46.xml><?xml version="1.0" encoding="utf-8"?>
<p:tagLst xmlns:p="http://schemas.openxmlformats.org/presentationml/2006/main">
  <p:tag name="POWER_USER_DIAGRAM_CIRCULAR_ARROW_KEY" val="POWER_USER_DIAGRAM_CIRCULAR_ARROW_VALUE_50"/>
</p:tagLst>
</file>

<file path=ppt/tags/tag460.xml><?xml version="1.0" encoding="utf-8"?>
<p:tagLst xmlns:p="http://schemas.openxmlformats.org/presentationml/2006/main">
  <p:tag name="POWER_USER_DIAGRAM_CIRCULAR_ARROW_KEY" val="POWER_USER_DIAGRAM_CIRCULAR_ARROW_VALUE_8"/>
</p:tagLst>
</file>

<file path=ppt/tags/tag461.xml><?xml version="1.0" encoding="utf-8"?>
<p:tagLst xmlns:p="http://schemas.openxmlformats.org/presentationml/2006/main">
  <p:tag name="POWER_USER_DIAGRAM_CIRCULAR_ARROW_KEY" val="POWER_USER_DIAGRAM_CIRCULAR_ARROW_VALUE_9"/>
</p:tagLst>
</file>

<file path=ppt/tags/tag462.xml><?xml version="1.0" encoding="utf-8"?>
<p:tagLst xmlns:p="http://schemas.openxmlformats.org/presentationml/2006/main">
  <p:tag name="POWER_USER_DIAGRAM_CIRCULAR_ARROW_KEY" val="POWER_USER_DIAGRAM_CIRCULAR_ARROW_VALUE_10"/>
</p:tagLst>
</file>

<file path=ppt/tags/tag463.xml><?xml version="1.0" encoding="utf-8"?>
<p:tagLst xmlns:p="http://schemas.openxmlformats.org/presentationml/2006/main">
  <p:tag name="POWER_USER_DIAGRAM_CIRCULAR_ARROW_KEY" val="POWER_USER_DIAGRAM_CIRCULAR_ARROW_VALUE_11"/>
</p:tagLst>
</file>

<file path=ppt/tags/tag464.xml><?xml version="1.0" encoding="utf-8"?>
<p:tagLst xmlns:p="http://schemas.openxmlformats.org/presentationml/2006/main">
  <p:tag name="POWER_USER_DIAGRAM_CIRCULAR_ARROW_KEY" val="POWER_USER_DIAGRAM_CIRCULAR_ARROW_VALUE_12"/>
</p:tagLst>
</file>

<file path=ppt/tags/tag465.xml><?xml version="1.0" encoding="utf-8"?>
<p:tagLst xmlns:p="http://schemas.openxmlformats.org/presentationml/2006/main">
  <p:tag name="POWER_USER_DIAGRAM_CIRCULAR_ARROW_KEY" val="POWER_USER_DIAGRAM_CIRCULAR_ARROW_VALUE_13"/>
</p:tagLst>
</file>

<file path=ppt/tags/tag466.xml><?xml version="1.0" encoding="utf-8"?>
<p:tagLst xmlns:p="http://schemas.openxmlformats.org/presentationml/2006/main">
  <p:tag name="POWER_USER_DIAGRAM_CIRCULAR_ARROW_KEY" val="POWER_USER_DIAGRAM_CIRCULAR_ARROW_VALUE_14"/>
</p:tagLst>
</file>

<file path=ppt/tags/tag467.xml><?xml version="1.0" encoding="utf-8"?>
<p:tagLst xmlns:p="http://schemas.openxmlformats.org/presentationml/2006/main">
  <p:tag name="POWER_USER_DIAGRAM_CIRCULAR_ARROW_KEY" val="POWER_USER_DIAGRAM_CIRCULAR_ARROW_VALUE_15"/>
</p:tagLst>
</file>

<file path=ppt/tags/tag468.xml><?xml version="1.0" encoding="utf-8"?>
<p:tagLst xmlns:p="http://schemas.openxmlformats.org/presentationml/2006/main">
  <p:tag name="POWER_USER_DIAGRAM_CIRCULAR_ARROW_KEY" val="POWER_USER_DIAGRAM_CIRCULAR_ARROW_VALUE_16"/>
</p:tagLst>
</file>

<file path=ppt/tags/tag469.xml><?xml version="1.0" encoding="utf-8"?>
<p:tagLst xmlns:p="http://schemas.openxmlformats.org/presentationml/2006/main">
  <p:tag name="POWER_USER_DIAGRAM_CIRCULAR_ARROW_KEY" val="POWER_USER_DIAGRAM_CIRCULAR_ARROW_VALUE_17"/>
</p:tagLst>
</file>

<file path=ppt/tags/tag47.xml><?xml version="1.0" encoding="utf-8"?>
<p:tagLst xmlns:p="http://schemas.openxmlformats.org/presentationml/2006/main">
  <p:tag name="POWER_USER_DIAGRAM_CIRCULAR_ARROW_KEY" val="POWER_USER_DIAGRAM_CIRCULAR_ARROW_VALUE_5"/>
</p:tagLst>
</file>

<file path=ppt/tags/tag470.xml><?xml version="1.0" encoding="utf-8"?>
<p:tagLst xmlns:p="http://schemas.openxmlformats.org/presentationml/2006/main">
  <p:tag name="POWER_USER_DIAGRAM_CIRCULAR_ARROW_KEY" val="POWER_USER_DIAGRAM_CIRCULAR_ARROW_VALUE_18"/>
</p:tagLst>
</file>

<file path=ppt/tags/tag471.xml><?xml version="1.0" encoding="utf-8"?>
<p:tagLst xmlns:p="http://schemas.openxmlformats.org/presentationml/2006/main">
  <p:tag name="POWER_USER_DIAGRAM_CIRCULAR_ARROW_KEY" val="POWER_USER_DIAGRAM_CIRCULAR_ARROW_VALUE_19"/>
</p:tagLst>
</file>

<file path=ppt/tags/tag472.xml><?xml version="1.0" encoding="utf-8"?>
<p:tagLst xmlns:p="http://schemas.openxmlformats.org/presentationml/2006/main">
  <p:tag name="POWER_USER_DIAGRAM_CIRCULAR_ARROW_KEY" val="POWER_USER_DIAGRAM_CIRCULAR_ARROW_VALUE_20"/>
</p:tagLst>
</file>

<file path=ppt/tags/tag473.xml><?xml version="1.0" encoding="utf-8"?>
<p:tagLst xmlns:p="http://schemas.openxmlformats.org/presentationml/2006/main">
  <p:tag name="POWER_USER_DIAGRAM_CIRCULAR_ARROW_KEY" val="POWER_USER_DIAGRAM_CIRCULAR_ARROW_VALUE_21"/>
</p:tagLst>
</file>

<file path=ppt/tags/tag474.xml><?xml version="1.0" encoding="utf-8"?>
<p:tagLst xmlns:p="http://schemas.openxmlformats.org/presentationml/2006/main">
  <p:tag name="POWER_USER_DIAGRAM_CIRCULAR_ARROW_KEY" val="POWER_USER_DIAGRAM_CIRCULAR_ARROW_VALUE_22"/>
</p:tagLst>
</file>

<file path=ppt/tags/tag475.xml><?xml version="1.0" encoding="utf-8"?>
<p:tagLst xmlns:p="http://schemas.openxmlformats.org/presentationml/2006/main">
  <p:tag name="POWER_USER_DIAGRAM_CIRCULAR_ARROW_KEY" val="POWER_USER_DIAGRAM_CIRCULAR_ARROW_VALUE_23"/>
</p:tagLst>
</file>

<file path=ppt/tags/tag476.xml><?xml version="1.0" encoding="utf-8"?>
<p:tagLst xmlns:p="http://schemas.openxmlformats.org/presentationml/2006/main">
  <p:tag name="POWER_USER_DIAGRAM_CIRCULAR_ARROW_KEY" val="POWER_USER_DIAGRAM_CIRCULAR_ARROW_VALUE_24"/>
</p:tagLst>
</file>

<file path=ppt/tags/tag477.xml><?xml version="1.0" encoding="utf-8"?>
<p:tagLst xmlns:p="http://schemas.openxmlformats.org/presentationml/2006/main">
  <p:tag name="POWER_USER_DIAGRAM_CIRCULAR_ARROW_KEY" val="POWER_USER_DIAGRAM_CIRCULAR_ARROW_VALUE_25"/>
</p:tagLst>
</file>

<file path=ppt/tags/tag478.xml><?xml version="1.0" encoding="utf-8"?>
<p:tagLst xmlns:p="http://schemas.openxmlformats.org/presentationml/2006/main">
  <p:tag name="POWER_USER_DIAGRAM_CIRCULAR_ARROW_KEY" val="POWER_USER_DIAGRAM_CIRCULAR_ARROW_VALUE_26"/>
</p:tagLst>
</file>

<file path=ppt/tags/tag479.xml><?xml version="1.0" encoding="utf-8"?>
<p:tagLst xmlns:p="http://schemas.openxmlformats.org/presentationml/2006/main">
  <p:tag name="POWER_USER_DIAGRAM_CIRCULAR_ARROW_KEY" val="POWER_USER_DIAGRAM_CIRCULAR_ARROW_VALUE_27"/>
</p:tagLst>
</file>

<file path=ppt/tags/tag48.xml><?xml version="1.0" encoding="utf-8"?>
<p:tagLst xmlns:p="http://schemas.openxmlformats.org/presentationml/2006/main">
  <p:tag name="POWER_USER_DIAGRAM_CIRCULAR_ARROW_KEY" val="POWER_USER_DIAGRAM_CIRCULAR_ARROW_VALUE_6"/>
</p:tagLst>
</file>

<file path=ppt/tags/tag480.xml><?xml version="1.0" encoding="utf-8"?>
<p:tagLst xmlns:p="http://schemas.openxmlformats.org/presentationml/2006/main">
  <p:tag name="POWER_USER_DIAGRAM_CIRCULAR_ARROW_KEY" val="POWER_USER_DIAGRAM_CIRCULAR_ARROW_VALUE_28"/>
</p:tagLst>
</file>

<file path=ppt/tags/tag481.xml><?xml version="1.0" encoding="utf-8"?>
<p:tagLst xmlns:p="http://schemas.openxmlformats.org/presentationml/2006/main">
  <p:tag name="POWER_USER_DIAGRAM_CIRCULAR_ARROW_KEY" val="POWER_USER_DIAGRAM_CIRCULAR_ARROW_VALUE_29"/>
</p:tagLst>
</file>

<file path=ppt/tags/tag482.xml><?xml version="1.0" encoding="utf-8"?>
<p:tagLst xmlns:p="http://schemas.openxmlformats.org/presentationml/2006/main">
  <p:tag name="POWER_USER_DIAGRAM_CIRCULAR_ARROW_KEY" val="POWER_USER_DIAGRAM_CIRCULAR_ARROW_VALUE_30"/>
</p:tagLst>
</file>

<file path=ppt/tags/tag483.xml><?xml version="1.0" encoding="utf-8"?>
<p:tagLst xmlns:p="http://schemas.openxmlformats.org/presentationml/2006/main">
  <p:tag name="POWER_USER_DIAGRAM_CIRCULAR_ARROW_KEY" val="POWER_USER_DIAGRAM_CIRCULAR_ARROW_VALUE_31"/>
</p:tagLst>
</file>

<file path=ppt/tags/tag484.xml><?xml version="1.0" encoding="utf-8"?>
<p:tagLst xmlns:p="http://schemas.openxmlformats.org/presentationml/2006/main">
  <p:tag name="POWER_USER_DIAGRAM_CIRCULAR_ARROW_KEY" val="POWER_USER_DIAGRAM_CIRCULAR_ARROW_VALUE_32"/>
</p:tagLst>
</file>

<file path=ppt/tags/tag485.xml><?xml version="1.0" encoding="utf-8"?>
<p:tagLst xmlns:p="http://schemas.openxmlformats.org/presentationml/2006/main">
  <p:tag name="POWER_USER_DIAGRAM_CIRCULAR_ARROW_KEY" val="POWER_USER_DIAGRAM_CIRCULAR_ARROW_VALUE_33"/>
</p:tagLst>
</file>

<file path=ppt/tags/tag486.xml><?xml version="1.0" encoding="utf-8"?>
<p:tagLst xmlns:p="http://schemas.openxmlformats.org/presentationml/2006/main">
  <p:tag name="POWER_USER_DIAGRAM_CIRCULAR_ARROW_KEY" val="POWER_USER_DIAGRAM_CIRCULAR_ARROW_VALUE_34"/>
</p:tagLst>
</file>

<file path=ppt/tags/tag487.xml><?xml version="1.0" encoding="utf-8"?>
<p:tagLst xmlns:p="http://schemas.openxmlformats.org/presentationml/2006/main">
  <p:tag name="POWER_USER_DIAGRAM_CIRCULAR_ARROW_KEY" val="POWER_USER_DIAGRAM_CIRCULAR_ARROW_VALUE_35"/>
</p:tagLst>
</file>

<file path=ppt/tags/tag488.xml><?xml version="1.0" encoding="utf-8"?>
<p:tagLst xmlns:p="http://schemas.openxmlformats.org/presentationml/2006/main">
  <p:tag name="POWER_USER_DIAGRAM_CIRCULAR_ARROW_KEY" val="POWER_USER_DIAGRAM_CIRCULAR_ARROW_VALUE_36"/>
</p:tagLst>
</file>

<file path=ppt/tags/tag489.xml><?xml version="1.0" encoding="utf-8"?>
<p:tagLst xmlns:p="http://schemas.openxmlformats.org/presentationml/2006/main">
  <p:tag name="POWER_USER_DIAGRAM_CIRCULAR_ARROW_KEY" val="POWER_USER_DIAGRAM_CIRCULAR_ARROW_VALUE_37"/>
</p:tagLst>
</file>

<file path=ppt/tags/tag49.xml><?xml version="1.0" encoding="utf-8"?>
<p:tagLst xmlns:p="http://schemas.openxmlformats.org/presentationml/2006/main">
  <p:tag name="POWER_USER_DIAGRAM_CIRCULAR_ARROW_KEY" val="POWER_USER_DIAGRAM_CIRCULAR_ARROW_VALUE_7"/>
</p:tagLst>
</file>

<file path=ppt/tags/tag490.xml><?xml version="1.0" encoding="utf-8"?>
<p:tagLst xmlns:p="http://schemas.openxmlformats.org/presentationml/2006/main">
  <p:tag name="POWER_USER_DIAGRAM_CIRCULAR_ARROW_KEY" val="POWER_USER_DIAGRAM_CIRCULAR_ARROW_VALUE_38"/>
</p:tagLst>
</file>

<file path=ppt/tags/tag491.xml><?xml version="1.0" encoding="utf-8"?>
<p:tagLst xmlns:p="http://schemas.openxmlformats.org/presentationml/2006/main">
  <p:tag name="POWER_USER_DIAGRAM_CIRCULAR_ARROW_KEY" val="POWER_USER_DIAGRAM_CIRCULAR_ARROW_VALUE_39"/>
</p:tagLst>
</file>

<file path=ppt/tags/tag492.xml><?xml version="1.0" encoding="utf-8"?>
<p:tagLst xmlns:p="http://schemas.openxmlformats.org/presentationml/2006/main">
  <p:tag name="POWER_USER_DIAGRAM_CIRCULAR_ARROW_KEY" val="POWER_USER_DIAGRAM_CIRCULAR_ARROW_VALUE_40"/>
</p:tagLst>
</file>

<file path=ppt/tags/tag493.xml><?xml version="1.0" encoding="utf-8"?>
<p:tagLst xmlns:p="http://schemas.openxmlformats.org/presentationml/2006/main">
  <p:tag name="POWER_USER_DIAGRAM_CIRCULAR_ARROW_KEY" val="POWER_USER_DIAGRAM_CIRCULAR_ARROW_VALUE_41"/>
</p:tagLst>
</file>

<file path=ppt/tags/tag494.xml><?xml version="1.0" encoding="utf-8"?>
<p:tagLst xmlns:p="http://schemas.openxmlformats.org/presentationml/2006/main">
  <p:tag name="POWER_USER_DIAGRAM_CIRCULAR_ARROW_KEY" val="POWER_USER_DIAGRAM_CIRCULAR_ARROW_VALUE_42"/>
</p:tagLst>
</file>

<file path=ppt/tags/tag495.xml><?xml version="1.0" encoding="utf-8"?>
<p:tagLst xmlns:p="http://schemas.openxmlformats.org/presentationml/2006/main">
  <p:tag name="POWER_USER_DIAGRAM_CIRCULAR_ARROW_KEY" val="POWER_USER_DIAGRAM_CIRCULAR_ARROW_VALUE_43"/>
</p:tagLst>
</file>

<file path=ppt/tags/tag496.xml><?xml version="1.0" encoding="utf-8"?>
<p:tagLst xmlns:p="http://schemas.openxmlformats.org/presentationml/2006/main">
  <p:tag name="POWER_USER_DIAGRAM_CIRCULAR_ARROW_KEY" val="POWER_USER_DIAGRAM_CIRCULAR_ARROW_VALUE_44"/>
</p:tagLst>
</file>

<file path=ppt/tags/tag497.xml><?xml version="1.0" encoding="utf-8"?>
<p:tagLst xmlns:p="http://schemas.openxmlformats.org/presentationml/2006/main">
  <p:tag name="POWER_USER_DIAGRAM_CIRCULAR_ARROW_KEY" val="POWER_USER_DIAGRAM_CIRCULAR_ARROW_VALUE_45"/>
</p:tagLst>
</file>

<file path=ppt/tags/tag498.xml><?xml version="1.0" encoding="utf-8"?>
<p:tagLst xmlns:p="http://schemas.openxmlformats.org/presentationml/2006/main">
  <p:tag name="POWER_USER_DIAGRAM_CIRCULAR_ARROW_KEY" val="POWER_USER_DIAGRAM_CIRCULAR_ARROW_VALUE_46"/>
</p:tagLst>
</file>

<file path=ppt/tags/tag499.xml><?xml version="1.0" encoding="utf-8"?>
<p:tagLst xmlns:p="http://schemas.openxmlformats.org/presentationml/2006/main">
  <p:tag name="POWER_USER_DIAGRAM_CIRCULAR_ARROW_KEY" val="POWER_USER_DIAGRAM_CIRCULAR_ARROW_VALUE_47"/>
</p:tagLst>
</file>

<file path=ppt/tags/tag5.xml><?xml version="1.0" encoding="utf-8"?>
<p:tagLst xmlns:p="http://schemas.openxmlformats.org/presentationml/2006/main">
  <p:tag name="POWER_USER_DIAGRAM_CIRCULAR_ARROW_KEY" val="POWER_USER_DIAGRAM_CIRCULAR_ARROW_VALUE_9"/>
</p:tagLst>
</file>

<file path=ppt/tags/tag50.xml><?xml version="1.0" encoding="utf-8"?>
<p:tagLst xmlns:p="http://schemas.openxmlformats.org/presentationml/2006/main">
  <p:tag name="POWER_USER_DIAGRAM_CIRCULAR_ARROW_KEY" val="POWER_USER_DIAGRAM_CIRCULAR_ARROW_VALUE_8"/>
</p:tagLst>
</file>

<file path=ppt/tags/tag500.xml><?xml version="1.0" encoding="utf-8"?>
<p:tagLst xmlns:p="http://schemas.openxmlformats.org/presentationml/2006/main">
  <p:tag name="POWER_USER_DIAGRAM_CIRCULAR_ARROW_KEY" val="POWER_USER_DIAGRAM_CIRCULAR_ARROW_VALUE_48"/>
</p:tagLst>
</file>

<file path=ppt/tags/tag501.xml><?xml version="1.0" encoding="utf-8"?>
<p:tagLst xmlns:p="http://schemas.openxmlformats.org/presentationml/2006/main">
  <p:tag name="POWER_USER_DIAGRAM_CIRCULAR_ARROW_KEY" val="POWER_USER_DIAGRAM_CIRCULAR_ARROW_VALUE_49"/>
</p:tagLst>
</file>

<file path=ppt/tags/tag502.xml><?xml version="1.0" encoding="utf-8"?>
<p:tagLst xmlns:p="http://schemas.openxmlformats.org/presentationml/2006/main">
  <p:tag name="POWER_USER_DIAGRAM_CIRCULAR_ARROW_KEY" val="POWER_USER_DIAGRAM_CIRCULAR_ARROW_VALUE_50"/>
</p:tagLst>
</file>

<file path=ppt/tags/tag503.xml><?xml version="1.0" encoding="utf-8"?>
<p:tagLst xmlns:p="http://schemas.openxmlformats.org/presentationml/2006/main">
  <p:tag name="POWER_USER_DIAGRAM_CIRCULAR_ARROW_KEY" val="POWER_USER_DIAGRAM_CIRCULAR_ARROW_VALUE_5"/>
</p:tagLst>
</file>

<file path=ppt/tags/tag504.xml><?xml version="1.0" encoding="utf-8"?>
<p:tagLst xmlns:p="http://schemas.openxmlformats.org/presentationml/2006/main">
  <p:tag name="POWER_USER_DIAGRAM_CIRCULAR_ARROW_KEY" val="POWER_USER_DIAGRAM_CIRCULAR_ARROW_VALUE_6"/>
</p:tagLst>
</file>

<file path=ppt/tags/tag505.xml><?xml version="1.0" encoding="utf-8"?>
<p:tagLst xmlns:p="http://schemas.openxmlformats.org/presentationml/2006/main">
  <p:tag name="POWER_USER_DIAGRAM_CIRCULAR_ARROW_KEY" val="POWER_USER_DIAGRAM_CIRCULAR_ARROW_VALUE_7"/>
</p:tagLst>
</file>

<file path=ppt/tags/tag506.xml><?xml version="1.0" encoding="utf-8"?>
<p:tagLst xmlns:p="http://schemas.openxmlformats.org/presentationml/2006/main">
  <p:tag name="POWER_USER_DIAGRAM_CIRCULAR_ARROW_KEY" val="POWER_USER_DIAGRAM_CIRCULAR_ARROW_VALUE_8"/>
</p:tagLst>
</file>

<file path=ppt/tags/tag507.xml><?xml version="1.0" encoding="utf-8"?>
<p:tagLst xmlns:p="http://schemas.openxmlformats.org/presentationml/2006/main">
  <p:tag name="POWER_USER_DIAGRAM_CIRCULAR_ARROW_KEY" val="POWER_USER_DIAGRAM_CIRCULAR_ARROW_VALUE_9"/>
</p:tagLst>
</file>

<file path=ppt/tags/tag508.xml><?xml version="1.0" encoding="utf-8"?>
<p:tagLst xmlns:p="http://schemas.openxmlformats.org/presentationml/2006/main">
  <p:tag name="POWER_USER_DIAGRAM_CIRCULAR_ARROW_KEY" val="POWER_USER_DIAGRAM_CIRCULAR_ARROW_VALUE_10"/>
</p:tagLst>
</file>

<file path=ppt/tags/tag509.xml><?xml version="1.0" encoding="utf-8"?>
<p:tagLst xmlns:p="http://schemas.openxmlformats.org/presentationml/2006/main">
  <p:tag name="POWER_USER_DIAGRAM_CIRCULAR_ARROW_KEY" val="POWER_USER_DIAGRAM_CIRCULAR_ARROW_VALUE_11"/>
</p:tagLst>
</file>

<file path=ppt/tags/tag51.xml><?xml version="1.0" encoding="utf-8"?>
<p:tagLst xmlns:p="http://schemas.openxmlformats.org/presentationml/2006/main">
  <p:tag name="POWER_USER_DIAGRAM_CIRCULAR_ARROW_KEY" val="POWER_USER_DIAGRAM_CIRCULAR_ARROW_VALUE_9"/>
</p:tagLst>
</file>

<file path=ppt/tags/tag510.xml><?xml version="1.0" encoding="utf-8"?>
<p:tagLst xmlns:p="http://schemas.openxmlformats.org/presentationml/2006/main">
  <p:tag name="POWER_USER_DIAGRAM_CIRCULAR_ARROW_KEY" val="POWER_USER_DIAGRAM_CIRCULAR_ARROW_VALUE_12"/>
</p:tagLst>
</file>

<file path=ppt/tags/tag511.xml><?xml version="1.0" encoding="utf-8"?>
<p:tagLst xmlns:p="http://schemas.openxmlformats.org/presentationml/2006/main">
  <p:tag name="POWER_USER_DIAGRAM_CIRCULAR_ARROW_KEY" val="POWER_USER_DIAGRAM_CIRCULAR_ARROW_VALUE_13"/>
</p:tagLst>
</file>

<file path=ppt/tags/tag512.xml><?xml version="1.0" encoding="utf-8"?>
<p:tagLst xmlns:p="http://schemas.openxmlformats.org/presentationml/2006/main">
  <p:tag name="POWER_USER_DIAGRAM_CIRCULAR_ARROW_KEY" val="POWER_USER_DIAGRAM_CIRCULAR_ARROW_VALUE_14"/>
</p:tagLst>
</file>

<file path=ppt/tags/tag513.xml><?xml version="1.0" encoding="utf-8"?>
<p:tagLst xmlns:p="http://schemas.openxmlformats.org/presentationml/2006/main">
  <p:tag name="POWER_USER_DIAGRAM_CIRCULAR_ARROW_KEY" val="POWER_USER_DIAGRAM_CIRCULAR_ARROW_VALUE_15"/>
</p:tagLst>
</file>

<file path=ppt/tags/tag514.xml><?xml version="1.0" encoding="utf-8"?>
<p:tagLst xmlns:p="http://schemas.openxmlformats.org/presentationml/2006/main">
  <p:tag name="POWER_USER_DIAGRAM_CIRCULAR_ARROW_KEY" val="POWER_USER_DIAGRAM_CIRCULAR_ARROW_VALUE_16"/>
</p:tagLst>
</file>

<file path=ppt/tags/tag515.xml><?xml version="1.0" encoding="utf-8"?>
<p:tagLst xmlns:p="http://schemas.openxmlformats.org/presentationml/2006/main">
  <p:tag name="POWER_USER_DIAGRAM_CIRCULAR_ARROW_KEY" val="POWER_USER_DIAGRAM_CIRCULAR_ARROW_VALUE_17"/>
</p:tagLst>
</file>

<file path=ppt/tags/tag516.xml><?xml version="1.0" encoding="utf-8"?>
<p:tagLst xmlns:p="http://schemas.openxmlformats.org/presentationml/2006/main">
  <p:tag name="POWER_USER_DIAGRAM_CIRCULAR_ARROW_KEY" val="POWER_USER_DIAGRAM_CIRCULAR_ARROW_VALUE_18"/>
</p:tagLst>
</file>

<file path=ppt/tags/tag517.xml><?xml version="1.0" encoding="utf-8"?>
<p:tagLst xmlns:p="http://schemas.openxmlformats.org/presentationml/2006/main">
  <p:tag name="POWER_USER_DIAGRAM_CIRCULAR_ARROW_KEY" val="POWER_USER_DIAGRAM_CIRCULAR_ARROW_VALUE_19"/>
</p:tagLst>
</file>

<file path=ppt/tags/tag518.xml><?xml version="1.0" encoding="utf-8"?>
<p:tagLst xmlns:p="http://schemas.openxmlformats.org/presentationml/2006/main">
  <p:tag name="POWER_USER_DIAGRAM_CIRCULAR_ARROW_KEY" val="POWER_USER_DIAGRAM_CIRCULAR_ARROW_VALUE_20"/>
</p:tagLst>
</file>

<file path=ppt/tags/tag519.xml><?xml version="1.0" encoding="utf-8"?>
<p:tagLst xmlns:p="http://schemas.openxmlformats.org/presentationml/2006/main">
  <p:tag name="POWER_USER_DIAGRAM_CIRCULAR_ARROW_KEY" val="POWER_USER_DIAGRAM_CIRCULAR_ARROW_VALUE_21"/>
</p:tagLst>
</file>

<file path=ppt/tags/tag52.xml><?xml version="1.0" encoding="utf-8"?>
<p:tagLst xmlns:p="http://schemas.openxmlformats.org/presentationml/2006/main">
  <p:tag name="POWER_USER_DIAGRAM_CIRCULAR_ARROW_KEY" val="POWER_USER_DIAGRAM_CIRCULAR_ARROW_VALUE_10"/>
</p:tagLst>
</file>

<file path=ppt/tags/tag520.xml><?xml version="1.0" encoding="utf-8"?>
<p:tagLst xmlns:p="http://schemas.openxmlformats.org/presentationml/2006/main">
  <p:tag name="POWER_USER_DIAGRAM_CIRCULAR_ARROW_KEY" val="POWER_USER_DIAGRAM_CIRCULAR_ARROW_VALUE_22"/>
</p:tagLst>
</file>

<file path=ppt/tags/tag521.xml><?xml version="1.0" encoding="utf-8"?>
<p:tagLst xmlns:p="http://schemas.openxmlformats.org/presentationml/2006/main">
  <p:tag name="POWER_USER_DIAGRAM_CIRCULAR_ARROW_KEY" val="POWER_USER_DIAGRAM_CIRCULAR_ARROW_VALUE_23"/>
</p:tagLst>
</file>

<file path=ppt/tags/tag522.xml><?xml version="1.0" encoding="utf-8"?>
<p:tagLst xmlns:p="http://schemas.openxmlformats.org/presentationml/2006/main">
  <p:tag name="POWER_USER_DIAGRAM_CIRCULAR_ARROW_KEY" val="POWER_USER_DIAGRAM_CIRCULAR_ARROW_VALUE_24"/>
</p:tagLst>
</file>

<file path=ppt/tags/tag523.xml><?xml version="1.0" encoding="utf-8"?>
<p:tagLst xmlns:p="http://schemas.openxmlformats.org/presentationml/2006/main">
  <p:tag name="POWER_USER_DIAGRAM_CIRCULAR_ARROW_KEY" val="POWER_USER_DIAGRAM_CIRCULAR_ARROW_VALUE_25"/>
</p:tagLst>
</file>

<file path=ppt/tags/tag524.xml><?xml version="1.0" encoding="utf-8"?>
<p:tagLst xmlns:p="http://schemas.openxmlformats.org/presentationml/2006/main">
  <p:tag name="POWER_USER_DIAGRAM_CIRCULAR_ARROW_KEY" val="POWER_USER_DIAGRAM_CIRCULAR_ARROW_VALUE_26"/>
</p:tagLst>
</file>

<file path=ppt/tags/tag525.xml><?xml version="1.0" encoding="utf-8"?>
<p:tagLst xmlns:p="http://schemas.openxmlformats.org/presentationml/2006/main">
  <p:tag name="POWER_USER_DIAGRAM_CIRCULAR_ARROW_KEY" val="POWER_USER_DIAGRAM_CIRCULAR_ARROW_VALUE_27"/>
</p:tagLst>
</file>

<file path=ppt/tags/tag526.xml><?xml version="1.0" encoding="utf-8"?>
<p:tagLst xmlns:p="http://schemas.openxmlformats.org/presentationml/2006/main">
  <p:tag name="POWER_USER_DIAGRAM_CIRCULAR_ARROW_KEY" val="POWER_USER_DIAGRAM_CIRCULAR_ARROW_VALUE_28"/>
</p:tagLst>
</file>

<file path=ppt/tags/tag527.xml><?xml version="1.0" encoding="utf-8"?>
<p:tagLst xmlns:p="http://schemas.openxmlformats.org/presentationml/2006/main">
  <p:tag name="POWER_USER_DIAGRAM_CIRCULAR_ARROW_KEY" val="POWER_USER_DIAGRAM_CIRCULAR_ARROW_VALUE_29"/>
</p:tagLst>
</file>

<file path=ppt/tags/tag528.xml><?xml version="1.0" encoding="utf-8"?>
<p:tagLst xmlns:p="http://schemas.openxmlformats.org/presentationml/2006/main">
  <p:tag name="POWER_USER_DIAGRAM_CIRCULAR_ARROW_KEY" val="POWER_USER_DIAGRAM_CIRCULAR_ARROW_VALUE_30"/>
</p:tagLst>
</file>

<file path=ppt/tags/tag529.xml><?xml version="1.0" encoding="utf-8"?>
<p:tagLst xmlns:p="http://schemas.openxmlformats.org/presentationml/2006/main">
  <p:tag name="POWER_USER_DIAGRAM_CIRCULAR_ARROW_KEY" val="POWER_USER_DIAGRAM_CIRCULAR_ARROW_VALUE_31"/>
</p:tagLst>
</file>

<file path=ppt/tags/tag53.xml><?xml version="1.0" encoding="utf-8"?>
<p:tagLst xmlns:p="http://schemas.openxmlformats.org/presentationml/2006/main">
  <p:tag name="POWER_USER_DIAGRAM_CIRCULAR_ARROW_KEY" val="POWER_USER_DIAGRAM_CIRCULAR_ARROW_VALUE_11"/>
</p:tagLst>
</file>

<file path=ppt/tags/tag530.xml><?xml version="1.0" encoding="utf-8"?>
<p:tagLst xmlns:p="http://schemas.openxmlformats.org/presentationml/2006/main">
  <p:tag name="POWER_USER_DIAGRAM_CIRCULAR_ARROW_KEY" val="POWER_USER_DIAGRAM_CIRCULAR_ARROW_VALUE_32"/>
</p:tagLst>
</file>

<file path=ppt/tags/tag531.xml><?xml version="1.0" encoding="utf-8"?>
<p:tagLst xmlns:p="http://schemas.openxmlformats.org/presentationml/2006/main">
  <p:tag name="POWER_USER_DIAGRAM_CIRCULAR_ARROW_KEY" val="POWER_USER_DIAGRAM_CIRCULAR_ARROW_VALUE_33"/>
</p:tagLst>
</file>

<file path=ppt/tags/tag532.xml><?xml version="1.0" encoding="utf-8"?>
<p:tagLst xmlns:p="http://schemas.openxmlformats.org/presentationml/2006/main">
  <p:tag name="POWER_USER_DIAGRAM_CIRCULAR_ARROW_KEY" val="POWER_USER_DIAGRAM_CIRCULAR_ARROW_VALUE_34"/>
</p:tagLst>
</file>

<file path=ppt/tags/tag533.xml><?xml version="1.0" encoding="utf-8"?>
<p:tagLst xmlns:p="http://schemas.openxmlformats.org/presentationml/2006/main">
  <p:tag name="POWER_USER_DIAGRAM_CIRCULAR_ARROW_KEY" val="POWER_USER_DIAGRAM_CIRCULAR_ARROW_VALUE_35"/>
</p:tagLst>
</file>

<file path=ppt/tags/tag534.xml><?xml version="1.0" encoding="utf-8"?>
<p:tagLst xmlns:p="http://schemas.openxmlformats.org/presentationml/2006/main">
  <p:tag name="POWER_USER_DIAGRAM_CIRCULAR_ARROW_KEY" val="POWER_USER_DIAGRAM_CIRCULAR_ARROW_VALUE_36"/>
</p:tagLst>
</file>

<file path=ppt/tags/tag535.xml><?xml version="1.0" encoding="utf-8"?>
<p:tagLst xmlns:p="http://schemas.openxmlformats.org/presentationml/2006/main">
  <p:tag name="POWER_USER_DIAGRAM_CIRCULAR_ARROW_KEY" val="POWER_USER_DIAGRAM_CIRCULAR_ARROW_VALUE_37"/>
</p:tagLst>
</file>

<file path=ppt/tags/tag536.xml><?xml version="1.0" encoding="utf-8"?>
<p:tagLst xmlns:p="http://schemas.openxmlformats.org/presentationml/2006/main">
  <p:tag name="POWER_USER_DIAGRAM_CIRCULAR_ARROW_KEY" val="POWER_USER_DIAGRAM_CIRCULAR_ARROW_VALUE_38"/>
</p:tagLst>
</file>

<file path=ppt/tags/tag537.xml><?xml version="1.0" encoding="utf-8"?>
<p:tagLst xmlns:p="http://schemas.openxmlformats.org/presentationml/2006/main">
  <p:tag name="POWER_USER_DIAGRAM_CIRCULAR_ARROW_KEY" val="POWER_USER_DIAGRAM_CIRCULAR_ARROW_VALUE_39"/>
</p:tagLst>
</file>

<file path=ppt/tags/tag538.xml><?xml version="1.0" encoding="utf-8"?>
<p:tagLst xmlns:p="http://schemas.openxmlformats.org/presentationml/2006/main">
  <p:tag name="POWER_USER_DIAGRAM_CIRCULAR_ARROW_KEY" val="POWER_USER_DIAGRAM_CIRCULAR_ARROW_VALUE_40"/>
</p:tagLst>
</file>

<file path=ppt/tags/tag539.xml><?xml version="1.0" encoding="utf-8"?>
<p:tagLst xmlns:p="http://schemas.openxmlformats.org/presentationml/2006/main">
  <p:tag name="POWER_USER_DIAGRAM_CIRCULAR_ARROW_KEY" val="POWER_USER_DIAGRAM_CIRCULAR_ARROW_VALUE_41"/>
</p:tagLst>
</file>

<file path=ppt/tags/tag54.xml><?xml version="1.0" encoding="utf-8"?>
<p:tagLst xmlns:p="http://schemas.openxmlformats.org/presentationml/2006/main">
  <p:tag name="POWER_USER_DIAGRAM_CIRCULAR_ARROW_KEY" val="POWER_USER_DIAGRAM_CIRCULAR_ARROW_VALUE_12"/>
</p:tagLst>
</file>

<file path=ppt/tags/tag540.xml><?xml version="1.0" encoding="utf-8"?>
<p:tagLst xmlns:p="http://schemas.openxmlformats.org/presentationml/2006/main">
  <p:tag name="POWER_USER_DIAGRAM_CIRCULAR_ARROW_KEY" val="POWER_USER_DIAGRAM_CIRCULAR_ARROW_VALUE_42"/>
</p:tagLst>
</file>

<file path=ppt/tags/tag541.xml><?xml version="1.0" encoding="utf-8"?>
<p:tagLst xmlns:p="http://schemas.openxmlformats.org/presentationml/2006/main">
  <p:tag name="POWER_USER_DIAGRAM_CIRCULAR_ARROW_KEY" val="POWER_USER_DIAGRAM_CIRCULAR_ARROW_VALUE_43"/>
</p:tagLst>
</file>

<file path=ppt/tags/tag542.xml><?xml version="1.0" encoding="utf-8"?>
<p:tagLst xmlns:p="http://schemas.openxmlformats.org/presentationml/2006/main">
  <p:tag name="POWER_USER_DIAGRAM_CIRCULAR_ARROW_KEY" val="POWER_USER_DIAGRAM_CIRCULAR_ARROW_VALUE_44"/>
</p:tagLst>
</file>

<file path=ppt/tags/tag543.xml><?xml version="1.0" encoding="utf-8"?>
<p:tagLst xmlns:p="http://schemas.openxmlformats.org/presentationml/2006/main">
  <p:tag name="POWER_USER_DIAGRAM_CIRCULAR_ARROW_KEY" val="POWER_USER_DIAGRAM_CIRCULAR_ARROW_VALUE_45"/>
</p:tagLst>
</file>

<file path=ppt/tags/tag544.xml><?xml version="1.0" encoding="utf-8"?>
<p:tagLst xmlns:p="http://schemas.openxmlformats.org/presentationml/2006/main">
  <p:tag name="POWER_USER_DIAGRAM_CIRCULAR_ARROW_KEY" val="POWER_USER_DIAGRAM_CIRCULAR_ARROW_VALUE_46"/>
</p:tagLst>
</file>

<file path=ppt/tags/tag545.xml><?xml version="1.0" encoding="utf-8"?>
<p:tagLst xmlns:p="http://schemas.openxmlformats.org/presentationml/2006/main">
  <p:tag name="POWER_USER_DIAGRAM_CIRCULAR_ARROW_KEY" val="POWER_USER_DIAGRAM_CIRCULAR_ARROW_VALUE_47"/>
</p:tagLst>
</file>

<file path=ppt/tags/tag546.xml><?xml version="1.0" encoding="utf-8"?>
<p:tagLst xmlns:p="http://schemas.openxmlformats.org/presentationml/2006/main">
  <p:tag name="POWER_USER_DIAGRAM_CIRCULAR_ARROW_KEY" val="POWER_USER_DIAGRAM_CIRCULAR_ARROW_VALUE_48"/>
</p:tagLst>
</file>

<file path=ppt/tags/tag547.xml><?xml version="1.0" encoding="utf-8"?>
<p:tagLst xmlns:p="http://schemas.openxmlformats.org/presentationml/2006/main">
  <p:tag name="POWER_USER_DIAGRAM_CIRCULAR_ARROW_KEY" val="POWER_USER_DIAGRAM_CIRCULAR_ARROW_VALUE_49"/>
</p:tagLst>
</file>

<file path=ppt/tags/tag548.xml><?xml version="1.0" encoding="utf-8"?>
<p:tagLst xmlns:p="http://schemas.openxmlformats.org/presentationml/2006/main">
  <p:tag name="POWER_USER_DIAGRAM_CIRCULAR_ARROW_KEY" val="POWER_USER_DIAGRAM_CIRCULAR_ARROW_VALUE_50"/>
</p:tagLst>
</file>

<file path=ppt/tags/tag549.xml><?xml version="1.0" encoding="utf-8"?>
<p:tagLst xmlns:p="http://schemas.openxmlformats.org/presentationml/2006/main">
  <p:tag name="POWER_USER_DIAGRAM_CIRCULAR_ARROW_KEY" val="POWER_USER_DIAGRAM_CIRCULAR_ARROW_VALUE_5"/>
</p:tagLst>
</file>

<file path=ppt/tags/tag55.xml><?xml version="1.0" encoding="utf-8"?>
<p:tagLst xmlns:p="http://schemas.openxmlformats.org/presentationml/2006/main">
  <p:tag name="POWER_USER_DIAGRAM_CIRCULAR_ARROW_KEY" val="POWER_USER_DIAGRAM_CIRCULAR_ARROW_VALUE_13"/>
</p:tagLst>
</file>

<file path=ppt/tags/tag550.xml><?xml version="1.0" encoding="utf-8"?>
<p:tagLst xmlns:p="http://schemas.openxmlformats.org/presentationml/2006/main">
  <p:tag name="POWER_USER_DIAGRAM_CIRCULAR_ARROW_KEY" val="POWER_USER_DIAGRAM_CIRCULAR_ARROW_VALUE_6"/>
</p:tagLst>
</file>

<file path=ppt/tags/tag551.xml><?xml version="1.0" encoding="utf-8"?>
<p:tagLst xmlns:p="http://schemas.openxmlformats.org/presentationml/2006/main">
  <p:tag name="POWER_USER_DIAGRAM_CIRCULAR_ARROW_KEY" val="POWER_USER_DIAGRAM_CIRCULAR_ARROW_VALUE_7"/>
</p:tagLst>
</file>

<file path=ppt/tags/tag552.xml><?xml version="1.0" encoding="utf-8"?>
<p:tagLst xmlns:p="http://schemas.openxmlformats.org/presentationml/2006/main">
  <p:tag name="POWER_USER_DIAGRAM_CIRCULAR_ARROW_KEY" val="POWER_USER_DIAGRAM_CIRCULAR_ARROW_VALUE_8"/>
</p:tagLst>
</file>

<file path=ppt/tags/tag553.xml><?xml version="1.0" encoding="utf-8"?>
<p:tagLst xmlns:p="http://schemas.openxmlformats.org/presentationml/2006/main">
  <p:tag name="POWER_USER_DIAGRAM_CIRCULAR_ARROW_KEY" val="POWER_USER_DIAGRAM_CIRCULAR_ARROW_VALUE_9"/>
</p:tagLst>
</file>

<file path=ppt/tags/tag554.xml><?xml version="1.0" encoding="utf-8"?>
<p:tagLst xmlns:p="http://schemas.openxmlformats.org/presentationml/2006/main">
  <p:tag name="POWER_USER_DIAGRAM_CIRCULAR_ARROW_KEY" val="POWER_USER_DIAGRAM_CIRCULAR_ARROW_VALUE_10"/>
</p:tagLst>
</file>

<file path=ppt/tags/tag555.xml><?xml version="1.0" encoding="utf-8"?>
<p:tagLst xmlns:p="http://schemas.openxmlformats.org/presentationml/2006/main">
  <p:tag name="POWER_USER_DIAGRAM_CIRCULAR_ARROW_KEY" val="POWER_USER_DIAGRAM_CIRCULAR_ARROW_VALUE_11"/>
</p:tagLst>
</file>

<file path=ppt/tags/tag556.xml><?xml version="1.0" encoding="utf-8"?>
<p:tagLst xmlns:p="http://schemas.openxmlformats.org/presentationml/2006/main">
  <p:tag name="POWER_USER_DIAGRAM_CIRCULAR_ARROW_KEY" val="POWER_USER_DIAGRAM_CIRCULAR_ARROW_VALUE_12"/>
</p:tagLst>
</file>

<file path=ppt/tags/tag557.xml><?xml version="1.0" encoding="utf-8"?>
<p:tagLst xmlns:p="http://schemas.openxmlformats.org/presentationml/2006/main">
  <p:tag name="POWER_USER_DIAGRAM_CIRCULAR_ARROW_KEY" val="POWER_USER_DIAGRAM_CIRCULAR_ARROW_VALUE_13"/>
</p:tagLst>
</file>

<file path=ppt/tags/tag558.xml><?xml version="1.0" encoding="utf-8"?>
<p:tagLst xmlns:p="http://schemas.openxmlformats.org/presentationml/2006/main">
  <p:tag name="POWER_USER_DIAGRAM_CIRCULAR_ARROW_KEY" val="POWER_USER_DIAGRAM_CIRCULAR_ARROW_VALUE_14"/>
</p:tagLst>
</file>

<file path=ppt/tags/tag559.xml><?xml version="1.0" encoding="utf-8"?>
<p:tagLst xmlns:p="http://schemas.openxmlformats.org/presentationml/2006/main">
  <p:tag name="POWER_USER_DIAGRAM_CIRCULAR_ARROW_KEY" val="POWER_USER_DIAGRAM_CIRCULAR_ARROW_VALUE_15"/>
</p:tagLst>
</file>

<file path=ppt/tags/tag56.xml><?xml version="1.0" encoding="utf-8"?>
<p:tagLst xmlns:p="http://schemas.openxmlformats.org/presentationml/2006/main">
  <p:tag name="POWER_USER_DIAGRAM_CIRCULAR_ARROW_KEY" val="POWER_USER_DIAGRAM_CIRCULAR_ARROW_VALUE_14"/>
</p:tagLst>
</file>

<file path=ppt/tags/tag560.xml><?xml version="1.0" encoding="utf-8"?>
<p:tagLst xmlns:p="http://schemas.openxmlformats.org/presentationml/2006/main">
  <p:tag name="POWER_USER_DIAGRAM_CIRCULAR_ARROW_KEY" val="POWER_USER_DIAGRAM_CIRCULAR_ARROW_VALUE_16"/>
</p:tagLst>
</file>

<file path=ppt/tags/tag561.xml><?xml version="1.0" encoding="utf-8"?>
<p:tagLst xmlns:p="http://schemas.openxmlformats.org/presentationml/2006/main">
  <p:tag name="POWER_USER_DIAGRAM_CIRCULAR_ARROW_KEY" val="POWER_USER_DIAGRAM_CIRCULAR_ARROW_VALUE_17"/>
</p:tagLst>
</file>

<file path=ppt/tags/tag562.xml><?xml version="1.0" encoding="utf-8"?>
<p:tagLst xmlns:p="http://schemas.openxmlformats.org/presentationml/2006/main">
  <p:tag name="POWER_USER_DIAGRAM_CIRCULAR_ARROW_KEY" val="POWER_USER_DIAGRAM_CIRCULAR_ARROW_VALUE_18"/>
</p:tagLst>
</file>

<file path=ppt/tags/tag563.xml><?xml version="1.0" encoding="utf-8"?>
<p:tagLst xmlns:p="http://schemas.openxmlformats.org/presentationml/2006/main">
  <p:tag name="POWER_USER_DIAGRAM_CIRCULAR_ARROW_KEY" val="POWER_USER_DIAGRAM_CIRCULAR_ARROW_VALUE_19"/>
</p:tagLst>
</file>

<file path=ppt/tags/tag564.xml><?xml version="1.0" encoding="utf-8"?>
<p:tagLst xmlns:p="http://schemas.openxmlformats.org/presentationml/2006/main">
  <p:tag name="POWER_USER_DIAGRAM_CIRCULAR_ARROW_KEY" val="POWER_USER_DIAGRAM_CIRCULAR_ARROW_VALUE_20"/>
</p:tagLst>
</file>

<file path=ppt/tags/tag565.xml><?xml version="1.0" encoding="utf-8"?>
<p:tagLst xmlns:p="http://schemas.openxmlformats.org/presentationml/2006/main">
  <p:tag name="POWER_USER_DIAGRAM_CIRCULAR_ARROW_KEY" val="POWER_USER_DIAGRAM_CIRCULAR_ARROW_VALUE_21"/>
</p:tagLst>
</file>

<file path=ppt/tags/tag566.xml><?xml version="1.0" encoding="utf-8"?>
<p:tagLst xmlns:p="http://schemas.openxmlformats.org/presentationml/2006/main">
  <p:tag name="POWER_USER_DIAGRAM_CIRCULAR_ARROW_KEY" val="POWER_USER_DIAGRAM_CIRCULAR_ARROW_VALUE_22"/>
</p:tagLst>
</file>

<file path=ppt/tags/tag567.xml><?xml version="1.0" encoding="utf-8"?>
<p:tagLst xmlns:p="http://schemas.openxmlformats.org/presentationml/2006/main">
  <p:tag name="POWER_USER_DIAGRAM_CIRCULAR_ARROW_KEY" val="POWER_USER_DIAGRAM_CIRCULAR_ARROW_VALUE_23"/>
</p:tagLst>
</file>

<file path=ppt/tags/tag568.xml><?xml version="1.0" encoding="utf-8"?>
<p:tagLst xmlns:p="http://schemas.openxmlformats.org/presentationml/2006/main">
  <p:tag name="POWER_USER_DIAGRAM_CIRCULAR_ARROW_KEY" val="POWER_USER_DIAGRAM_CIRCULAR_ARROW_VALUE_24"/>
</p:tagLst>
</file>

<file path=ppt/tags/tag569.xml><?xml version="1.0" encoding="utf-8"?>
<p:tagLst xmlns:p="http://schemas.openxmlformats.org/presentationml/2006/main">
  <p:tag name="POWER_USER_DIAGRAM_CIRCULAR_ARROW_KEY" val="POWER_USER_DIAGRAM_CIRCULAR_ARROW_VALUE_25"/>
</p:tagLst>
</file>

<file path=ppt/tags/tag57.xml><?xml version="1.0" encoding="utf-8"?>
<p:tagLst xmlns:p="http://schemas.openxmlformats.org/presentationml/2006/main">
  <p:tag name="POWER_USER_DIAGRAM_CIRCULAR_ARROW_KEY" val="POWER_USER_DIAGRAM_CIRCULAR_ARROW_VALUE_15"/>
</p:tagLst>
</file>

<file path=ppt/tags/tag570.xml><?xml version="1.0" encoding="utf-8"?>
<p:tagLst xmlns:p="http://schemas.openxmlformats.org/presentationml/2006/main">
  <p:tag name="POWER_USER_DIAGRAM_CIRCULAR_ARROW_KEY" val="POWER_USER_DIAGRAM_CIRCULAR_ARROW_VALUE_26"/>
</p:tagLst>
</file>

<file path=ppt/tags/tag571.xml><?xml version="1.0" encoding="utf-8"?>
<p:tagLst xmlns:p="http://schemas.openxmlformats.org/presentationml/2006/main">
  <p:tag name="POWER_USER_DIAGRAM_CIRCULAR_ARROW_KEY" val="POWER_USER_DIAGRAM_CIRCULAR_ARROW_VALUE_27"/>
</p:tagLst>
</file>

<file path=ppt/tags/tag572.xml><?xml version="1.0" encoding="utf-8"?>
<p:tagLst xmlns:p="http://schemas.openxmlformats.org/presentationml/2006/main">
  <p:tag name="POWER_USER_DIAGRAM_CIRCULAR_ARROW_KEY" val="POWER_USER_DIAGRAM_CIRCULAR_ARROW_VALUE_28"/>
</p:tagLst>
</file>

<file path=ppt/tags/tag573.xml><?xml version="1.0" encoding="utf-8"?>
<p:tagLst xmlns:p="http://schemas.openxmlformats.org/presentationml/2006/main">
  <p:tag name="POWER_USER_DIAGRAM_CIRCULAR_ARROW_KEY" val="POWER_USER_DIAGRAM_CIRCULAR_ARROW_VALUE_29"/>
</p:tagLst>
</file>

<file path=ppt/tags/tag574.xml><?xml version="1.0" encoding="utf-8"?>
<p:tagLst xmlns:p="http://schemas.openxmlformats.org/presentationml/2006/main">
  <p:tag name="POWER_USER_DIAGRAM_CIRCULAR_ARROW_KEY" val="POWER_USER_DIAGRAM_CIRCULAR_ARROW_VALUE_30"/>
</p:tagLst>
</file>

<file path=ppt/tags/tag575.xml><?xml version="1.0" encoding="utf-8"?>
<p:tagLst xmlns:p="http://schemas.openxmlformats.org/presentationml/2006/main">
  <p:tag name="POWER_USER_DIAGRAM_CIRCULAR_ARROW_KEY" val="POWER_USER_DIAGRAM_CIRCULAR_ARROW_VALUE_31"/>
</p:tagLst>
</file>

<file path=ppt/tags/tag576.xml><?xml version="1.0" encoding="utf-8"?>
<p:tagLst xmlns:p="http://schemas.openxmlformats.org/presentationml/2006/main">
  <p:tag name="POWER_USER_DIAGRAM_CIRCULAR_ARROW_KEY" val="POWER_USER_DIAGRAM_CIRCULAR_ARROW_VALUE_32"/>
</p:tagLst>
</file>

<file path=ppt/tags/tag577.xml><?xml version="1.0" encoding="utf-8"?>
<p:tagLst xmlns:p="http://schemas.openxmlformats.org/presentationml/2006/main">
  <p:tag name="POWER_USER_DIAGRAM_CIRCULAR_ARROW_KEY" val="POWER_USER_DIAGRAM_CIRCULAR_ARROW_VALUE_33"/>
</p:tagLst>
</file>

<file path=ppt/tags/tag578.xml><?xml version="1.0" encoding="utf-8"?>
<p:tagLst xmlns:p="http://schemas.openxmlformats.org/presentationml/2006/main">
  <p:tag name="POWER_USER_DIAGRAM_CIRCULAR_ARROW_KEY" val="POWER_USER_DIAGRAM_CIRCULAR_ARROW_VALUE_34"/>
</p:tagLst>
</file>

<file path=ppt/tags/tag579.xml><?xml version="1.0" encoding="utf-8"?>
<p:tagLst xmlns:p="http://schemas.openxmlformats.org/presentationml/2006/main">
  <p:tag name="POWER_USER_DIAGRAM_CIRCULAR_ARROW_KEY" val="POWER_USER_DIAGRAM_CIRCULAR_ARROW_VALUE_35"/>
</p:tagLst>
</file>

<file path=ppt/tags/tag58.xml><?xml version="1.0" encoding="utf-8"?>
<p:tagLst xmlns:p="http://schemas.openxmlformats.org/presentationml/2006/main">
  <p:tag name="POWER_USER_DIAGRAM_CIRCULAR_ARROW_KEY" val="POWER_USER_DIAGRAM_CIRCULAR_ARROW_VALUE_16"/>
</p:tagLst>
</file>

<file path=ppt/tags/tag580.xml><?xml version="1.0" encoding="utf-8"?>
<p:tagLst xmlns:p="http://schemas.openxmlformats.org/presentationml/2006/main">
  <p:tag name="POWER_USER_DIAGRAM_CIRCULAR_ARROW_KEY" val="POWER_USER_DIAGRAM_CIRCULAR_ARROW_VALUE_36"/>
</p:tagLst>
</file>

<file path=ppt/tags/tag581.xml><?xml version="1.0" encoding="utf-8"?>
<p:tagLst xmlns:p="http://schemas.openxmlformats.org/presentationml/2006/main">
  <p:tag name="POWER_USER_DIAGRAM_CIRCULAR_ARROW_KEY" val="POWER_USER_DIAGRAM_CIRCULAR_ARROW_VALUE_37"/>
</p:tagLst>
</file>

<file path=ppt/tags/tag582.xml><?xml version="1.0" encoding="utf-8"?>
<p:tagLst xmlns:p="http://schemas.openxmlformats.org/presentationml/2006/main">
  <p:tag name="POWER_USER_DIAGRAM_CIRCULAR_ARROW_KEY" val="POWER_USER_DIAGRAM_CIRCULAR_ARROW_VALUE_38"/>
</p:tagLst>
</file>

<file path=ppt/tags/tag583.xml><?xml version="1.0" encoding="utf-8"?>
<p:tagLst xmlns:p="http://schemas.openxmlformats.org/presentationml/2006/main">
  <p:tag name="POWER_USER_DIAGRAM_CIRCULAR_ARROW_KEY" val="POWER_USER_DIAGRAM_CIRCULAR_ARROW_VALUE_39"/>
</p:tagLst>
</file>

<file path=ppt/tags/tag584.xml><?xml version="1.0" encoding="utf-8"?>
<p:tagLst xmlns:p="http://schemas.openxmlformats.org/presentationml/2006/main">
  <p:tag name="POWER_USER_DIAGRAM_CIRCULAR_ARROW_KEY" val="POWER_USER_DIAGRAM_CIRCULAR_ARROW_VALUE_40"/>
</p:tagLst>
</file>

<file path=ppt/tags/tag585.xml><?xml version="1.0" encoding="utf-8"?>
<p:tagLst xmlns:p="http://schemas.openxmlformats.org/presentationml/2006/main">
  <p:tag name="POWER_USER_DIAGRAM_CIRCULAR_ARROW_KEY" val="POWER_USER_DIAGRAM_CIRCULAR_ARROW_VALUE_41"/>
</p:tagLst>
</file>

<file path=ppt/tags/tag586.xml><?xml version="1.0" encoding="utf-8"?>
<p:tagLst xmlns:p="http://schemas.openxmlformats.org/presentationml/2006/main">
  <p:tag name="POWER_USER_DIAGRAM_CIRCULAR_ARROW_KEY" val="POWER_USER_DIAGRAM_CIRCULAR_ARROW_VALUE_42"/>
</p:tagLst>
</file>

<file path=ppt/tags/tag587.xml><?xml version="1.0" encoding="utf-8"?>
<p:tagLst xmlns:p="http://schemas.openxmlformats.org/presentationml/2006/main">
  <p:tag name="POWER_USER_DIAGRAM_CIRCULAR_ARROW_KEY" val="POWER_USER_DIAGRAM_CIRCULAR_ARROW_VALUE_43"/>
</p:tagLst>
</file>

<file path=ppt/tags/tag588.xml><?xml version="1.0" encoding="utf-8"?>
<p:tagLst xmlns:p="http://schemas.openxmlformats.org/presentationml/2006/main">
  <p:tag name="POWER_USER_DIAGRAM_CIRCULAR_ARROW_KEY" val="POWER_USER_DIAGRAM_CIRCULAR_ARROW_VALUE_44"/>
</p:tagLst>
</file>

<file path=ppt/tags/tag589.xml><?xml version="1.0" encoding="utf-8"?>
<p:tagLst xmlns:p="http://schemas.openxmlformats.org/presentationml/2006/main">
  <p:tag name="POWER_USER_DIAGRAM_CIRCULAR_ARROW_KEY" val="POWER_USER_DIAGRAM_CIRCULAR_ARROW_VALUE_45"/>
</p:tagLst>
</file>

<file path=ppt/tags/tag59.xml><?xml version="1.0" encoding="utf-8"?>
<p:tagLst xmlns:p="http://schemas.openxmlformats.org/presentationml/2006/main">
  <p:tag name="POWER_USER_DIAGRAM_CIRCULAR_ARROW_KEY" val="POWER_USER_DIAGRAM_CIRCULAR_ARROW_VALUE_17"/>
</p:tagLst>
</file>

<file path=ppt/tags/tag590.xml><?xml version="1.0" encoding="utf-8"?>
<p:tagLst xmlns:p="http://schemas.openxmlformats.org/presentationml/2006/main">
  <p:tag name="POWER_USER_DIAGRAM_CIRCULAR_ARROW_KEY" val="POWER_USER_DIAGRAM_CIRCULAR_ARROW_VALUE_46"/>
</p:tagLst>
</file>

<file path=ppt/tags/tag591.xml><?xml version="1.0" encoding="utf-8"?>
<p:tagLst xmlns:p="http://schemas.openxmlformats.org/presentationml/2006/main">
  <p:tag name="POWER_USER_DIAGRAM_CIRCULAR_ARROW_KEY" val="POWER_USER_DIAGRAM_CIRCULAR_ARROW_VALUE_47"/>
</p:tagLst>
</file>

<file path=ppt/tags/tag592.xml><?xml version="1.0" encoding="utf-8"?>
<p:tagLst xmlns:p="http://schemas.openxmlformats.org/presentationml/2006/main">
  <p:tag name="POWER_USER_DIAGRAM_CIRCULAR_ARROW_KEY" val="POWER_USER_DIAGRAM_CIRCULAR_ARROW_VALUE_48"/>
</p:tagLst>
</file>

<file path=ppt/tags/tag593.xml><?xml version="1.0" encoding="utf-8"?>
<p:tagLst xmlns:p="http://schemas.openxmlformats.org/presentationml/2006/main">
  <p:tag name="POWER_USER_DIAGRAM_CIRCULAR_ARROW_KEY" val="POWER_USER_DIAGRAM_CIRCULAR_ARROW_VALUE_49"/>
</p:tagLst>
</file>

<file path=ppt/tags/tag594.xml><?xml version="1.0" encoding="utf-8"?>
<p:tagLst xmlns:p="http://schemas.openxmlformats.org/presentationml/2006/main">
  <p:tag name="POWER_USER_DIAGRAM_CIRCULAR_ARROW_KEY" val="POWER_USER_DIAGRAM_CIRCULAR_ARROW_VALUE_50"/>
</p:tagLst>
</file>

<file path=ppt/tags/tag595.xml><?xml version="1.0" encoding="utf-8"?>
<p:tagLst xmlns:p="http://schemas.openxmlformats.org/presentationml/2006/main">
  <p:tag name="POWER_USER_DIAGRAM_CIRCULAR_ARROW_KEY" val="POWER_USER_DIAGRAM_CIRCULAR_ARROW_VALUE_5"/>
</p:tagLst>
</file>

<file path=ppt/tags/tag596.xml><?xml version="1.0" encoding="utf-8"?>
<p:tagLst xmlns:p="http://schemas.openxmlformats.org/presentationml/2006/main">
  <p:tag name="POWER_USER_DIAGRAM_CIRCULAR_ARROW_KEY" val="POWER_USER_DIAGRAM_CIRCULAR_ARROW_VALUE_6"/>
</p:tagLst>
</file>

<file path=ppt/tags/tag597.xml><?xml version="1.0" encoding="utf-8"?>
<p:tagLst xmlns:p="http://schemas.openxmlformats.org/presentationml/2006/main">
  <p:tag name="POWER_USER_DIAGRAM_CIRCULAR_ARROW_KEY" val="POWER_USER_DIAGRAM_CIRCULAR_ARROW_VALUE_7"/>
</p:tagLst>
</file>

<file path=ppt/tags/tag598.xml><?xml version="1.0" encoding="utf-8"?>
<p:tagLst xmlns:p="http://schemas.openxmlformats.org/presentationml/2006/main">
  <p:tag name="POWER_USER_DIAGRAM_CIRCULAR_ARROW_KEY" val="POWER_USER_DIAGRAM_CIRCULAR_ARROW_VALUE_8"/>
</p:tagLst>
</file>

<file path=ppt/tags/tag599.xml><?xml version="1.0" encoding="utf-8"?>
<p:tagLst xmlns:p="http://schemas.openxmlformats.org/presentationml/2006/main">
  <p:tag name="POWER_USER_DIAGRAM_CIRCULAR_ARROW_KEY" val="POWER_USER_DIAGRAM_CIRCULAR_ARROW_VALUE_9"/>
</p:tagLst>
</file>

<file path=ppt/tags/tag6.xml><?xml version="1.0" encoding="utf-8"?>
<p:tagLst xmlns:p="http://schemas.openxmlformats.org/presentationml/2006/main">
  <p:tag name="POWER_USER_DIAGRAM_CIRCULAR_ARROW_KEY" val="POWER_USER_DIAGRAM_CIRCULAR_ARROW_VALUE_10"/>
</p:tagLst>
</file>

<file path=ppt/tags/tag60.xml><?xml version="1.0" encoding="utf-8"?>
<p:tagLst xmlns:p="http://schemas.openxmlformats.org/presentationml/2006/main">
  <p:tag name="POWER_USER_DIAGRAM_CIRCULAR_ARROW_KEY" val="POWER_USER_DIAGRAM_CIRCULAR_ARROW_VALUE_18"/>
</p:tagLst>
</file>

<file path=ppt/tags/tag600.xml><?xml version="1.0" encoding="utf-8"?>
<p:tagLst xmlns:p="http://schemas.openxmlformats.org/presentationml/2006/main">
  <p:tag name="POWER_USER_DIAGRAM_CIRCULAR_ARROW_KEY" val="POWER_USER_DIAGRAM_CIRCULAR_ARROW_VALUE_10"/>
</p:tagLst>
</file>

<file path=ppt/tags/tag601.xml><?xml version="1.0" encoding="utf-8"?>
<p:tagLst xmlns:p="http://schemas.openxmlformats.org/presentationml/2006/main">
  <p:tag name="POWER_USER_DIAGRAM_CIRCULAR_ARROW_KEY" val="POWER_USER_DIAGRAM_CIRCULAR_ARROW_VALUE_11"/>
</p:tagLst>
</file>

<file path=ppt/tags/tag602.xml><?xml version="1.0" encoding="utf-8"?>
<p:tagLst xmlns:p="http://schemas.openxmlformats.org/presentationml/2006/main">
  <p:tag name="POWER_USER_DIAGRAM_CIRCULAR_ARROW_KEY" val="POWER_USER_DIAGRAM_CIRCULAR_ARROW_VALUE_12"/>
</p:tagLst>
</file>

<file path=ppt/tags/tag603.xml><?xml version="1.0" encoding="utf-8"?>
<p:tagLst xmlns:p="http://schemas.openxmlformats.org/presentationml/2006/main">
  <p:tag name="POWER_USER_DIAGRAM_CIRCULAR_ARROW_KEY" val="POWER_USER_DIAGRAM_CIRCULAR_ARROW_VALUE_13"/>
</p:tagLst>
</file>

<file path=ppt/tags/tag604.xml><?xml version="1.0" encoding="utf-8"?>
<p:tagLst xmlns:p="http://schemas.openxmlformats.org/presentationml/2006/main">
  <p:tag name="POWER_USER_DIAGRAM_CIRCULAR_ARROW_KEY" val="POWER_USER_DIAGRAM_CIRCULAR_ARROW_VALUE_14"/>
</p:tagLst>
</file>

<file path=ppt/tags/tag605.xml><?xml version="1.0" encoding="utf-8"?>
<p:tagLst xmlns:p="http://schemas.openxmlformats.org/presentationml/2006/main">
  <p:tag name="POWER_USER_DIAGRAM_CIRCULAR_ARROW_KEY" val="POWER_USER_DIAGRAM_CIRCULAR_ARROW_VALUE_15"/>
</p:tagLst>
</file>

<file path=ppt/tags/tag606.xml><?xml version="1.0" encoding="utf-8"?>
<p:tagLst xmlns:p="http://schemas.openxmlformats.org/presentationml/2006/main">
  <p:tag name="POWER_USER_DIAGRAM_CIRCULAR_ARROW_KEY" val="POWER_USER_DIAGRAM_CIRCULAR_ARROW_VALUE_16"/>
</p:tagLst>
</file>

<file path=ppt/tags/tag607.xml><?xml version="1.0" encoding="utf-8"?>
<p:tagLst xmlns:p="http://schemas.openxmlformats.org/presentationml/2006/main">
  <p:tag name="POWER_USER_DIAGRAM_CIRCULAR_ARROW_KEY" val="POWER_USER_DIAGRAM_CIRCULAR_ARROW_VALUE_17"/>
</p:tagLst>
</file>

<file path=ppt/tags/tag608.xml><?xml version="1.0" encoding="utf-8"?>
<p:tagLst xmlns:p="http://schemas.openxmlformats.org/presentationml/2006/main">
  <p:tag name="POWER_USER_DIAGRAM_CIRCULAR_ARROW_KEY" val="POWER_USER_DIAGRAM_CIRCULAR_ARROW_VALUE_18"/>
</p:tagLst>
</file>

<file path=ppt/tags/tag609.xml><?xml version="1.0" encoding="utf-8"?>
<p:tagLst xmlns:p="http://schemas.openxmlformats.org/presentationml/2006/main">
  <p:tag name="POWER_USER_DIAGRAM_CIRCULAR_ARROW_KEY" val="POWER_USER_DIAGRAM_CIRCULAR_ARROW_VALUE_19"/>
</p:tagLst>
</file>

<file path=ppt/tags/tag61.xml><?xml version="1.0" encoding="utf-8"?>
<p:tagLst xmlns:p="http://schemas.openxmlformats.org/presentationml/2006/main">
  <p:tag name="POWER_USER_DIAGRAM_CIRCULAR_ARROW_KEY" val="POWER_USER_DIAGRAM_CIRCULAR_ARROW_VALUE_19"/>
</p:tagLst>
</file>

<file path=ppt/tags/tag610.xml><?xml version="1.0" encoding="utf-8"?>
<p:tagLst xmlns:p="http://schemas.openxmlformats.org/presentationml/2006/main">
  <p:tag name="POWER_USER_DIAGRAM_CIRCULAR_ARROW_KEY" val="POWER_USER_DIAGRAM_CIRCULAR_ARROW_VALUE_20"/>
</p:tagLst>
</file>

<file path=ppt/tags/tag611.xml><?xml version="1.0" encoding="utf-8"?>
<p:tagLst xmlns:p="http://schemas.openxmlformats.org/presentationml/2006/main">
  <p:tag name="POWER_USER_DIAGRAM_CIRCULAR_ARROW_KEY" val="POWER_USER_DIAGRAM_CIRCULAR_ARROW_VALUE_21"/>
</p:tagLst>
</file>

<file path=ppt/tags/tag612.xml><?xml version="1.0" encoding="utf-8"?>
<p:tagLst xmlns:p="http://schemas.openxmlformats.org/presentationml/2006/main">
  <p:tag name="POWER_USER_DIAGRAM_CIRCULAR_ARROW_KEY" val="POWER_USER_DIAGRAM_CIRCULAR_ARROW_VALUE_22"/>
</p:tagLst>
</file>

<file path=ppt/tags/tag613.xml><?xml version="1.0" encoding="utf-8"?>
<p:tagLst xmlns:p="http://schemas.openxmlformats.org/presentationml/2006/main">
  <p:tag name="POWER_USER_DIAGRAM_CIRCULAR_ARROW_KEY" val="POWER_USER_DIAGRAM_CIRCULAR_ARROW_VALUE_23"/>
</p:tagLst>
</file>

<file path=ppt/tags/tag614.xml><?xml version="1.0" encoding="utf-8"?>
<p:tagLst xmlns:p="http://schemas.openxmlformats.org/presentationml/2006/main">
  <p:tag name="POWER_USER_DIAGRAM_CIRCULAR_ARROW_KEY" val="POWER_USER_DIAGRAM_CIRCULAR_ARROW_VALUE_24"/>
</p:tagLst>
</file>

<file path=ppt/tags/tag615.xml><?xml version="1.0" encoding="utf-8"?>
<p:tagLst xmlns:p="http://schemas.openxmlformats.org/presentationml/2006/main">
  <p:tag name="POWER_USER_DIAGRAM_CIRCULAR_ARROW_KEY" val="POWER_USER_DIAGRAM_CIRCULAR_ARROW_VALUE_25"/>
</p:tagLst>
</file>

<file path=ppt/tags/tag616.xml><?xml version="1.0" encoding="utf-8"?>
<p:tagLst xmlns:p="http://schemas.openxmlformats.org/presentationml/2006/main">
  <p:tag name="POWER_USER_DIAGRAM_CIRCULAR_ARROW_KEY" val="POWER_USER_DIAGRAM_CIRCULAR_ARROW_VALUE_26"/>
</p:tagLst>
</file>

<file path=ppt/tags/tag617.xml><?xml version="1.0" encoding="utf-8"?>
<p:tagLst xmlns:p="http://schemas.openxmlformats.org/presentationml/2006/main">
  <p:tag name="POWER_USER_DIAGRAM_CIRCULAR_ARROW_KEY" val="POWER_USER_DIAGRAM_CIRCULAR_ARROW_VALUE_27"/>
</p:tagLst>
</file>

<file path=ppt/tags/tag618.xml><?xml version="1.0" encoding="utf-8"?>
<p:tagLst xmlns:p="http://schemas.openxmlformats.org/presentationml/2006/main">
  <p:tag name="POWER_USER_DIAGRAM_CIRCULAR_ARROW_KEY" val="POWER_USER_DIAGRAM_CIRCULAR_ARROW_VALUE_28"/>
</p:tagLst>
</file>

<file path=ppt/tags/tag619.xml><?xml version="1.0" encoding="utf-8"?>
<p:tagLst xmlns:p="http://schemas.openxmlformats.org/presentationml/2006/main">
  <p:tag name="POWER_USER_DIAGRAM_CIRCULAR_ARROW_KEY" val="POWER_USER_DIAGRAM_CIRCULAR_ARROW_VALUE_29"/>
</p:tagLst>
</file>

<file path=ppt/tags/tag62.xml><?xml version="1.0" encoding="utf-8"?>
<p:tagLst xmlns:p="http://schemas.openxmlformats.org/presentationml/2006/main">
  <p:tag name="POWER_USER_DIAGRAM_CIRCULAR_ARROW_KEY" val="POWER_USER_DIAGRAM_CIRCULAR_ARROW_VALUE_20"/>
</p:tagLst>
</file>

<file path=ppt/tags/tag620.xml><?xml version="1.0" encoding="utf-8"?>
<p:tagLst xmlns:p="http://schemas.openxmlformats.org/presentationml/2006/main">
  <p:tag name="POWER_USER_DIAGRAM_CIRCULAR_ARROW_KEY" val="POWER_USER_DIAGRAM_CIRCULAR_ARROW_VALUE_30"/>
</p:tagLst>
</file>

<file path=ppt/tags/tag621.xml><?xml version="1.0" encoding="utf-8"?>
<p:tagLst xmlns:p="http://schemas.openxmlformats.org/presentationml/2006/main">
  <p:tag name="POWER_USER_DIAGRAM_CIRCULAR_ARROW_KEY" val="POWER_USER_DIAGRAM_CIRCULAR_ARROW_VALUE_31"/>
</p:tagLst>
</file>

<file path=ppt/tags/tag622.xml><?xml version="1.0" encoding="utf-8"?>
<p:tagLst xmlns:p="http://schemas.openxmlformats.org/presentationml/2006/main">
  <p:tag name="POWER_USER_DIAGRAM_CIRCULAR_ARROW_KEY" val="POWER_USER_DIAGRAM_CIRCULAR_ARROW_VALUE_32"/>
</p:tagLst>
</file>

<file path=ppt/tags/tag623.xml><?xml version="1.0" encoding="utf-8"?>
<p:tagLst xmlns:p="http://schemas.openxmlformats.org/presentationml/2006/main">
  <p:tag name="POWER_USER_DIAGRAM_CIRCULAR_ARROW_KEY" val="POWER_USER_DIAGRAM_CIRCULAR_ARROW_VALUE_33"/>
</p:tagLst>
</file>

<file path=ppt/tags/tag624.xml><?xml version="1.0" encoding="utf-8"?>
<p:tagLst xmlns:p="http://schemas.openxmlformats.org/presentationml/2006/main">
  <p:tag name="POWER_USER_DIAGRAM_CIRCULAR_ARROW_KEY" val="POWER_USER_DIAGRAM_CIRCULAR_ARROW_VALUE_34"/>
</p:tagLst>
</file>

<file path=ppt/tags/tag625.xml><?xml version="1.0" encoding="utf-8"?>
<p:tagLst xmlns:p="http://schemas.openxmlformats.org/presentationml/2006/main">
  <p:tag name="POWER_USER_DIAGRAM_CIRCULAR_ARROW_KEY" val="POWER_USER_DIAGRAM_CIRCULAR_ARROW_VALUE_35"/>
</p:tagLst>
</file>

<file path=ppt/tags/tag626.xml><?xml version="1.0" encoding="utf-8"?>
<p:tagLst xmlns:p="http://schemas.openxmlformats.org/presentationml/2006/main">
  <p:tag name="POWER_USER_DIAGRAM_CIRCULAR_ARROW_KEY" val="POWER_USER_DIAGRAM_CIRCULAR_ARROW_VALUE_36"/>
</p:tagLst>
</file>

<file path=ppt/tags/tag627.xml><?xml version="1.0" encoding="utf-8"?>
<p:tagLst xmlns:p="http://schemas.openxmlformats.org/presentationml/2006/main">
  <p:tag name="POWER_USER_DIAGRAM_CIRCULAR_ARROW_KEY" val="POWER_USER_DIAGRAM_CIRCULAR_ARROW_VALUE_37"/>
</p:tagLst>
</file>

<file path=ppt/tags/tag628.xml><?xml version="1.0" encoding="utf-8"?>
<p:tagLst xmlns:p="http://schemas.openxmlformats.org/presentationml/2006/main">
  <p:tag name="POWER_USER_DIAGRAM_CIRCULAR_ARROW_KEY" val="POWER_USER_DIAGRAM_CIRCULAR_ARROW_VALUE_38"/>
</p:tagLst>
</file>

<file path=ppt/tags/tag629.xml><?xml version="1.0" encoding="utf-8"?>
<p:tagLst xmlns:p="http://schemas.openxmlformats.org/presentationml/2006/main">
  <p:tag name="POWER_USER_DIAGRAM_CIRCULAR_ARROW_KEY" val="POWER_USER_DIAGRAM_CIRCULAR_ARROW_VALUE_39"/>
</p:tagLst>
</file>

<file path=ppt/tags/tag63.xml><?xml version="1.0" encoding="utf-8"?>
<p:tagLst xmlns:p="http://schemas.openxmlformats.org/presentationml/2006/main">
  <p:tag name="POWER_USER_DIAGRAM_CIRCULAR_ARROW_KEY" val="POWER_USER_DIAGRAM_CIRCULAR_ARROW_VALUE_21"/>
</p:tagLst>
</file>

<file path=ppt/tags/tag630.xml><?xml version="1.0" encoding="utf-8"?>
<p:tagLst xmlns:p="http://schemas.openxmlformats.org/presentationml/2006/main">
  <p:tag name="POWER_USER_DIAGRAM_CIRCULAR_ARROW_KEY" val="POWER_USER_DIAGRAM_CIRCULAR_ARROW_VALUE_40"/>
</p:tagLst>
</file>

<file path=ppt/tags/tag631.xml><?xml version="1.0" encoding="utf-8"?>
<p:tagLst xmlns:p="http://schemas.openxmlformats.org/presentationml/2006/main">
  <p:tag name="POWER_USER_DIAGRAM_CIRCULAR_ARROW_KEY" val="POWER_USER_DIAGRAM_CIRCULAR_ARROW_VALUE_41"/>
</p:tagLst>
</file>

<file path=ppt/tags/tag632.xml><?xml version="1.0" encoding="utf-8"?>
<p:tagLst xmlns:p="http://schemas.openxmlformats.org/presentationml/2006/main">
  <p:tag name="POWER_USER_DIAGRAM_CIRCULAR_ARROW_KEY" val="POWER_USER_DIAGRAM_CIRCULAR_ARROW_VALUE_42"/>
</p:tagLst>
</file>

<file path=ppt/tags/tag633.xml><?xml version="1.0" encoding="utf-8"?>
<p:tagLst xmlns:p="http://schemas.openxmlformats.org/presentationml/2006/main">
  <p:tag name="POWER_USER_DIAGRAM_CIRCULAR_ARROW_KEY" val="POWER_USER_DIAGRAM_CIRCULAR_ARROW_VALUE_43"/>
</p:tagLst>
</file>

<file path=ppt/tags/tag634.xml><?xml version="1.0" encoding="utf-8"?>
<p:tagLst xmlns:p="http://schemas.openxmlformats.org/presentationml/2006/main">
  <p:tag name="POWER_USER_DIAGRAM_CIRCULAR_ARROW_KEY" val="POWER_USER_DIAGRAM_CIRCULAR_ARROW_VALUE_44"/>
</p:tagLst>
</file>

<file path=ppt/tags/tag635.xml><?xml version="1.0" encoding="utf-8"?>
<p:tagLst xmlns:p="http://schemas.openxmlformats.org/presentationml/2006/main">
  <p:tag name="POWER_USER_DIAGRAM_CIRCULAR_ARROW_KEY" val="POWER_USER_DIAGRAM_CIRCULAR_ARROW_VALUE_45"/>
</p:tagLst>
</file>

<file path=ppt/tags/tag636.xml><?xml version="1.0" encoding="utf-8"?>
<p:tagLst xmlns:p="http://schemas.openxmlformats.org/presentationml/2006/main">
  <p:tag name="POWER_USER_DIAGRAM_CIRCULAR_ARROW_KEY" val="POWER_USER_DIAGRAM_CIRCULAR_ARROW_VALUE_46"/>
</p:tagLst>
</file>

<file path=ppt/tags/tag637.xml><?xml version="1.0" encoding="utf-8"?>
<p:tagLst xmlns:p="http://schemas.openxmlformats.org/presentationml/2006/main">
  <p:tag name="POWER_USER_DIAGRAM_CIRCULAR_ARROW_KEY" val="POWER_USER_DIAGRAM_CIRCULAR_ARROW_VALUE_47"/>
</p:tagLst>
</file>

<file path=ppt/tags/tag638.xml><?xml version="1.0" encoding="utf-8"?>
<p:tagLst xmlns:p="http://schemas.openxmlformats.org/presentationml/2006/main">
  <p:tag name="POWER_USER_DIAGRAM_CIRCULAR_ARROW_KEY" val="POWER_USER_DIAGRAM_CIRCULAR_ARROW_VALUE_48"/>
</p:tagLst>
</file>

<file path=ppt/tags/tag639.xml><?xml version="1.0" encoding="utf-8"?>
<p:tagLst xmlns:p="http://schemas.openxmlformats.org/presentationml/2006/main">
  <p:tag name="POWER_USER_DIAGRAM_CIRCULAR_ARROW_KEY" val="POWER_USER_DIAGRAM_CIRCULAR_ARROW_VALUE_49"/>
</p:tagLst>
</file>

<file path=ppt/tags/tag64.xml><?xml version="1.0" encoding="utf-8"?>
<p:tagLst xmlns:p="http://schemas.openxmlformats.org/presentationml/2006/main">
  <p:tag name="POWER_USER_DIAGRAM_CIRCULAR_ARROW_KEY" val="POWER_USER_DIAGRAM_CIRCULAR_ARROW_VALUE_22"/>
</p:tagLst>
</file>

<file path=ppt/tags/tag640.xml><?xml version="1.0" encoding="utf-8"?>
<p:tagLst xmlns:p="http://schemas.openxmlformats.org/presentationml/2006/main">
  <p:tag name="POWER_USER_DIAGRAM_CIRCULAR_ARROW_KEY" val="POWER_USER_DIAGRAM_CIRCULAR_ARROW_VALUE_50"/>
</p:tagLst>
</file>

<file path=ppt/tags/tag641.xml><?xml version="1.0" encoding="utf-8"?>
<p:tagLst xmlns:p="http://schemas.openxmlformats.org/presentationml/2006/main">
  <p:tag name="POWER_USER_DIAGRAM_CIRCULAR_ARROW_KEY" val="POWER_USER_DIAGRAM_CIRCULAR_ARROW_VALUE_5"/>
</p:tagLst>
</file>

<file path=ppt/tags/tag642.xml><?xml version="1.0" encoding="utf-8"?>
<p:tagLst xmlns:p="http://schemas.openxmlformats.org/presentationml/2006/main">
  <p:tag name="POWER_USER_DIAGRAM_CIRCULAR_ARROW_KEY" val="POWER_USER_DIAGRAM_CIRCULAR_ARROW_VALUE_6"/>
</p:tagLst>
</file>

<file path=ppt/tags/tag643.xml><?xml version="1.0" encoding="utf-8"?>
<p:tagLst xmlns:p="http://schemas.openxmlformats.org/presentationml/2006/main">
  <p:tag name="POWER_USER_DIAGRAM_CIRCULAR_ARROW_KEY" val="POWER_USER_DIAGRAM_CIRCULAR_ARROW_VALUE_7"/>
</p:tagLst>
</file>

<file path=ppt/tags/tag644.xml><?xml version="1.0" encoding="utf-8"?>
<p:tagLst xmlns:p="http://schemas.openxmlformats.org/presentationml/2006/main">
  <p:tag name="POWER_USER_DIAGRAM_CIRCULAR_ARROW_KEY" val="POWER_USER_DIAGRAM_CIRCULAR_ARROW_VALUE_8"/>
</p:tagLst>
</file>

<file path=ppt/tags/tag645.xml><?xml version="1.0" encoding="utf-8"?>
<p:tagLst xmlns:p="http://schemas.openxmlformats.org/presentationml/2006/main">
  <p:tag name="POWER_USER_DIAGRAM_CIRCULAR_ARROW_KEY" val="POWER_USER_DIAGRAM_CIRCULAR_ARROW_VALUE_9"/>
</p:tagLst>
</file>

<file path=ppt/tags/tag646.xml><?xml version="1.0" encoding="utf-8"?>
<p:tagLst xmlns:p="http://schemas.openxmlformats.org/presentationml/2006/main">
  <p:tag name="POWER_USER_DIAGRAM_CIRCULAR_ARROW_KEY" val="POWER_USER_DIAGRAM_CIRCULAR_ARROW_VALUE_10"/>
</p:tagLst>
</file>

<file path=ppt/tags/tag647.xml><?xml version="1.0" encoding="utf-8"?>
<p:tagLst xmlns:p="http://schemas.openxmlformats.org/presentationml/2006/main">
  <p:tag name="POWER_USER_DIAGRAM_CIRCULAR_ARROW_KEY" val="POWER_USER_DIAGRAM_CIRCULAR_ARROW_VALUE_11"/>
</p:tagLst>
</file>

<file path=ppt/tags/tag648.xml><?xml version="1.0" encoding="utf-8"?>
<p:tagLst xmlns:p="http://schemas.openxmlformats.org/presentationml/2006/main">
  <p:tag name="POWER_USER_DIAGRAM_CIRCULAR_ARROW_KEY" val="POWER_USER_DIAGRAM_CIRCULAR_ARROW_VALUE_12"/>
</p:tagLst>
</file>

<file path=ppt/tags/tag649.xml><?xml version="1.0" encoding="utf-8"?>
<p:tagLst xmlns:p="http://schemas.openxmlformats.org/presentationml/2006/main">
  <p:tag name="POWER_USER_DIAGRAM_CIRCULAR_ARROW_KEY" val="POWER_USER_DIAGRAM_CIRCULAR_ARROW_VALUE_13"/>
</p:tagLst>
</file>

<file path=ppt/tags/tag65.xml><?xml version="1.0" encoding="utf-8"?>
<p:tagLst xmlns:p="http://schemas.openxmlformats.org/presentationml/2006/main">
  <p:tag name="POWER_USER_DIAGRAM_CIRCULAR_ARROW_KEY" val="POWER_USER_DIAGRAM_CIRCULAR_ARROW_VALUE_23"/>
</p:tagLst>
</file>

<file path=ppt/tags/tag650.xml><?xml version="1.0" encoding="utf-8"?>
<p:tagLst xmlns:p="http://schemas.openxmlformats.org/presentationml/2006/main">
  <p:tag name="POWER_USER_DIAGRAM_CIRCULAR_ARROW_KEY" val="POWER_USER_DIAGRAM_CIRCULAR_ARROW_VALUE_14"/>
</p:tagLst>
</file>

<file path=ppt/tags/tag651.xml><?xml version="1.0" encoding="utf-8"?>
<p:tagLst xmlns:p="http://schemas.openxmlformats.org/presentationml/2006/main">
  <p:tag name="POWER_USER_DIAGRAM_CIRCULAR_ARROW_KEY" val="POWER_USER_DIAGRAM_CIRCULAR_ARROW_VALUE_15"/>
</p:tagLst>
</file>

<file path=ppt/tags/tag652.xml><?xml version="1.0" encoding="utf-8"?>
<p:tagLst xmlns:p="http://schemas.openxmlformats.org/presentationml/2006/main">
  <p:tag name="POWER_USER_DIAGRAM_CIRCULAR_ARROW_KEY" val="POWER_USER_DIAGRAM_CIRCULAR_ARROW_VALUE_16"/>
</p:tagLst>
</file>

<file path=ppt/tags/tag653.xml><?xml version="1.0" encoding="utf-8"?>
<p:tagLst xmlns:p="http://schemas.openxmlformats.org/presentationml/2006/main">
  <p:tag name="POWER_USER_DIAGRAM_CIRCULAR_ARROW_KEY" val="POWER_USER_DIAGRAM_CIRCULAR_ARROW_VALUE_17"/>
</p:tagLst>
</file>

<file path=ppt/tags/tag654.xml><?xml version="1.0" encoding="utf-8"?>
<p:tagLst xmlns:p="http://schemas.openxmlformats.org/presentationml/2006/main">
  <p:tag name="POWER_USER_DIAGRAM_CIRCULAR_ARROW_KEY" val="POWER_USER_DIAGRAM_CIRCULAR_ARROW_VALUE_18"/>
</p:tagLst>
</file>

<file path=ppt/tags/tag655.xml><?xml version="1.0" encoding="utf-8"?>
<p:tagLst xmlns:p="http://schemas.openxmlformats.org/presentationml/2006/main">
  <p:tag name="POWER_USER_DIAGRAM_CIRCULAR_ARROW_KEY" val="POWER_USER_DIAGRAM_CIRCULAR_ARROW_VALUE_19"/>
</p:tagLst>
</file>

<file path=ppt/tags/tag656.xml><?xml version="1.0" encoding="utf-8"?>
<p:tagLst xmlns:p="http://schemas.openxmlformats.org/presentationml/2006/main">
  <p:tag name="POWER_USER_DIAGRAM_CIRCULAR_ARROW_KEY" val="POWER_USER_DIAGRAM_CIRCULAR_ARROW_VALUE_20"/>
</p:tagLst>
</file>

<file path=ppt/tags/tag657.xml><?xml version="1.0" encoding="utf-8"?>
<p:tagLst xmlns:p="http://schemas.openxmlformats.org/presentationml/2006/main">
  <p:tag name="POWER_USER_DIAGRAM_CIRCULAR_ARROW_KEY" val="POWER_USER_DIAGRAM_CIRCULAR_ARROW_VALUE_21"/>
</p:tagLst>
</file>

<file path=ppt/tags/tag658.xml><?xml version="1.0" encoding="utf-8"?>
<p:tagLst xmlns:p="http://schemas.openxmlformats.org/presentationml/2006/main">
  <p:tag name="POWER_USER_DIAGRAM_CIRCULAR_ARROW_KEY" val="POWER_USER_DIAGRAM_CIRCULAR_ARROW_VALUE_22"/>
</p:tagLst>
</file>

<file path=ppt/tags/tag659.xml><?xml version="1.0" encoding="utf-8"?>
<p:tagLst xmlns:p="http://schemas.openxmlformats.org/presentationml/2006/main">
  <p:tag name="POWER_USER_DIAGRAM_CIRCULAR_ARROW_KEY" val="POWER_USER_DIAGRAM_CIRCULAR_ARROW_VALUE_23"/>
</p:tagLst>
</file>

<file path=ppt/tags/tag66.xml><?xml version="1.0" encoding="utf-8"?>
<p:tagLst xmlns:p="http://schemas.openxmlformats.org/presentationml/2006/main">
  <p:tag name="POWER_USER_DIAGRAM_CIRCULAR_ARROW_KEY" val="POWER_USER_DIAGRAM_CIRCULAR_ARROW_VALUE_24"/>
</p:tagLst>
</file>

<file path=ppt/tags/tag660.xml><?xml version="1.0" encoding="utf-8"?>
<p:tagLst xmlns:p="http://schemas.openxmlformats.org/presentationml/2006/main">
  <p:tag name="POWER_USER_DIAGRAM_CIRCULAR_ARROW_KEY" val="POWER_USER_DIAGRAM_CIRCULAR_ARROW_VALUE_24"/>
</p:tagLst>
</file>

<file path=ppt/tags/tag661.xml><?xml version="1.0" encoding="utf-8"?>
<p:tagLst xmlns:p="http://schemas.openxmlformats.org/presentationml/2006/main">
  <p:tag name="POWER_USER_DIAGRAM_CIRCULAR_ARROW_KEY" val="POWER_USER_DIAGRAM_CIRCULAR_ARROW_VALUE_25"/>
</p:tagLst>
</file>

<file path=ppt/tags/tag662.xml><?xml version="1.0" encoding="utf-8"?>
<p:tagLst xmlns:p="http://schemas.openxmlformats.org/presentationml/2006/main">
  <p:tag name="POWER_USER_DIAGRAM_CIRCULAR_ARROW_KEY" val="POWER_USER_DIAGRAM_CIRCULAR_ARROW_VALUE_26"/>
</p:tagLst>
</file>

<file path=ppt/tags/tag663.xml><?xml version="1.0" encoding="utf-8"?>
<p:tagLst xmlns:p="http://schemas.openxmlformats.org/presentationml/2006/main">
  <p:tag name="POWER_USER_DIAGRAM_CIRCULAR_ARROW_KEY" val="POWER_USER_DIAGRAM_CIRCULAR_ARROW_VALUE_27"/>
</p:tagLst>
</file>

<file path=ppt/tags/tag664.xml><?xml version="1.0" encoding="utf-8"?>
<p:tagLst xmlns:p="http://schemas.openxmlformats.org/presentationml/2006/main">
  <p:tag name="POWER_USER_DIAGRAM_CIRCULAR_ARROW_KEY" val="POWER_USER_DIAGRAM_CIRCULAR_ARROW_VALUE_28"/>
</p:tagLst>
</file>

<file path=ppt/tags/tag665.xml><?xml version="1.0" encoding="utf-8"?>
<p:tagLst xmlns:p="http://schemas.openxmlformats.org/presentationml/2006/main">
  <p:tag name="POWER_USER_DIAGRAM_CIRCULAR_ARROW_KEY" val="POWER_USER_DIAGRAM_CIRCULAR_ARROW_VALUE_29"/>
</p:tagLst>
</file>

<file path=ppt/tags/tag666.xml><?xml version="1.0" encoding="utf-8"?>
<p:tagLst xmlns:p="http://schemas.openxmlformats.org/presentationml/2006/main">
  <p:tag name="POWER_USER_DIAGRAM_CIRCULAR_ARROW_KEY" val="POWER_USER_DIAGRAM_CIRCULAR_ARROW_VALUE_30"/>
</p:tagLst>
</file>

<file path=ppt/tags/tag667.xml><?xml version="1.0" encoding="utf-8"?>
<p:tagLst xmlns:p="http://schemas.openxmlformats.org/presentationml/2006/main">
  <p:tag name="POWER_USER_DIAGRAM_CIRCULAR_ARROW_KEY" val="POWER_USER_DIAGRAM_CIRCULAR_ARROW_VALUE_31"/>
</p:tagLst>
</file>

<file path=ppt/tags/tag668.xml><?xml version="1.0" encoding="utf-8"?>
<p:tagLst xmlns:p="http://schemas.openxmlformats.org/presentationml/2006/main">
  <p:tag name="POWER_USER_DIAGRAM_CIRCULAR_ARROW_KEY" val="POWER_USER_DIAGRAM_CIRCULAR_ARROW_VALUE_32"/>
</p:tagLst>
</file>

<file path=ppt/tags/tag669.xml><?xml version="1.0" encoding="utf-8"?>
<p:tagLst xmlns:p="http://schemas.openxmlformats.org/presentationml/2006/main">
  <p:tag name="POWER_USER_DIAGRAM_CIRCULAR_ARROW_KEY" val="POWER_USER_DIAGRAM_CIRCULAR_ARROW_VALUE_33"/>
</p:tagLst>
</file>

<file path=ppt/tags/tag67.xml><?xml version="1.0" encoding="utf-8"?>
<p:tagLst xmlns:p="http://schemas.openxmlformats.org/presentationml/2006/main">
  <p:tag name="POWER_USER_DIAGRAM_CIRCULAR_ARROW_KEY" val="POWER_USER_DIAGRAM_CIRCULAR_ARROW_VALUE_25"/>
</p:tagLst>
</file>

<file path=ppt/tags/tag670.xml><?xml version="1.0" encoding="utf-8"?>
<p:tagLst xmlns:p="http://schemas.openxmlformats.org/presentationml/2006/main">
  <p:tag name="POWER_USER_DIAGRAM_CIRCULAR_ARROW_KEY" val="POWER_USER_DIAGRAM_CIRCULAR_ARROW_VALUE_34"/>
</p:tagLst>
</file>

<file path=ppt/tags/tag671.xml><?xml version="1.0" encoding="utf-8"?>
<p:tagLst xmlns:p="http://schemas.openxmlformats.org/presentationml/2006/main">
  <p:tag name="POWER_USER_DIAGRAM_CIRCULAR_ARROW_KEY" val="POWER_USER_DIAGRAM_CIRCULAR_ARROW_VALUE_35"/>
</p:tagLst>
</file>

<file path=ppt/tags/tag672.xml><?xml version="1.0" encoding="utf-8"?>
<p:tagLst xmlns:p="http://schemas.openxmlformats.org/presentationml/2006/main">
  <p:tag name="POWER_USER_DIAGRAM_CIRCULAR_ARROW_KEY" val="POWER_USER_DIAGRAM_CIRCULAR_ARROW_VALUE_36"/>
</p:tagLst>
</file>

<file path=ppt/tags/tag673.xml><?xml version="1.0" encoding="utf-8"?>
<p:tagLst xmlns:p="http://schemas.openxmlformats.org/presentationml/2006/main">
  <p:tag name="POWER_USER_DIAGRAM_CIRCULAR_ARROW_KEY" val="POWER_USER_DIAGRAM_CIRCULAR_ARROW_VALUE_37"/>
</p:tagLst>
</file>

<file path=ppt/tags/tag674.xml><?xml version="1.0" encoding="utf-8"?>
<p:tagLst xmlns:p="http://schemas.openxmlformats.org/presentationml/2006/main">
  <p:tag name="POWER_USER_DIAGRAM_CIRCULAR_ARROW_KEY" val="POWER_USER_DIAGRAM_CIRCULAR_ARROW_VALUE_38"/>
</p:tagLst>
</file>

<file path=ppt/tags/tag675.xml><?xml version="1.0" encoding="utf-8"?>
<p:tagLst xmlns:p="http://schemas.openxmlformats.org/presentationml/2006/main">
  <p:tag name="POWER_USER_DIAGRAM_CIRCULAR_ARROW_KEY" val="POWER_USER_DIAGRAM_CIRCULAR_ARROW_VALUE_39"/>
</p:tagLst>
</file>

<file path=ppt/tags/tag676.xml><?xml version="1.0" encoding="utf-8"?>
<p:tagLst xmlns:p="http://schemas.openxmlformats.org/presentationml/2006/main">
  <p:tag name="POWER_USER_DIAGRAM_CIRCULAR_ARROW_KEY" val="POWER_USER_DIAGRAM_CIRCULAR_ARROW_VALUE_40"/>
</p:tagLst>
</file>

<file path=ppt/tags/tag677.xml><?xml version="1.0" encoding="utf-8"?>
<p:tagLst xmlns:p="http://schemas.openxmlformats.org/presentationml/2006/main">
  <p:tag name="POWER_USER_DIAGRAM_CIRCULAR_ARROW_KEY" val="POWER_USER_DIAGRAM_CIRCULAR_ARROW_VALUE_41"/>
</p:tagLst>
</file>

<file path=ppt/tags/tag678.xml><?xml version="1.0" encoding="utf-8"?>
<p:tagLst xmlns:p="http://schemas.openxmlformats.org/presentationml/2006/main">
  <p:tag name="POWER_USER_DIAGRAM_CIRCULAR_ARROW_KEY" val="POWER_USER_DIAGRAM_CIRCULAR_ARROW_VALUE_42"/>
</p:tagLst>
</file>

<file path=ppt/tags/tag679.xml><?xml version="1.0" encoding="utf-8"?>
<p:tagLst xmlns:p="http://schemas.openxmlformats.org/presentationml/2006/main">
  <p:tag name="POWER_USER_DIAGRAM_CIRCULAR_ARROW_KEY" val="POWER_USER_DIAGRAM_CIRCULAR_ARROW_VALUE_43"/>
</p:tagLst>
</file>

<file path=ppt/tags/tag68.xml><?xml version="1.0" encoding="utf-8"?>
<p:tagLst xmlns:p="http://schemas.openxmlformats.org/presentationml/2006/main">
  <p:tag name="POWER_USER_DIAGRAM_CIRCULAR_ARROW_KEY" val="POWER_USER_DIAGRAM_CIRCULAR_ARROW_VALUE_26"/>
</p:tagLst>
</file>

<file path=ppt/tags/tag680.xml><?xml version="1.0" encoding="utf-8"?>
<p:tagLst xmlns:p="http://schemas.openxmlformats.org/presentationml/2006/main">
  <p:tag name="POWER_USER_DIAGRAM_CIRCULAR_ARROW_KEY" val="POWER_USER_DIAGRAM_CIRCULAR_ARROW_VALUE_44"/>
</p:tagLst>
</file>

<file path=ppt/tags/tag681.xml><?xml version="1.0" encoding="utf-8"?>
<p:tagLst xmlns:p="http://schemas.openxmlformats.org/presentationml/2006/main">
  <p:tag name="POWER_USER_DIAGRAM_CIRCULAR_ARROW_KEY" val="POWER_USER_DIAGRAM_CIRCULAR_ARROW_VALUE_45"/>
</p:tagLst>
</file>

<file path=ppt/tags/tag682.xml><?xml version="1.0" encoding="utf-8"?>
<p:tagLst xmlns:p="http://schemas.openxmlformats.org/presentationml/2006/main">
  <p:tag name="POWER_USER_DIAGRAM_CIRCULAR_ARROW_KEY" val="POWER_USER_DIAGRAM_CIRCULAR_ARROW_VALUE_46"/>
</p:tagLst>
</file>

<file path=ppt/tags/tag683.xml><?xml version="1.0" encoding="utf-8"?>
<p:tagLst xmlns:p="http://schemas.openxmlformats.org/presentationml/2006/main">
  <p:tag name="POWER_USER_DIAGRAM_CIRCULAR_ARROW_KEY" val="POWER_USER_DIAGRAM_CIRCULAR_ARROW_VALUE_47"/>
</p:tagLst>
</file>

<file path=ppt/tags/tag684.xml><?xml version="1.0" encoding="utf-8"?>
<p:tagLst xmlns:p="http://schemas.openxmlformats.org/presentationml/2006/main">
  <p:tag name="POWER_USER_DIAGRAM_CIRCULAR_ARROW_KEY" val="POWER_USER_DIAGRAM_CIRCULAR_ARROW_VALUE_48"/>
</p:tagLst>
</file>

<file path=ppt/tags/tag685.xml><?xml version="1.0" encoding="utf-8"?>
<p:tagLst xmlns:p="http://schemas.openxmlformats.org/presentationml/2006/main">
  <p:tag name="POWER_USER_DIAGRAM_CIRCULAR_ARROW_KEY" val="POWER_USER_DIAGRAM_CIRCULAR_ARROW_VALUE_49"/>
</p:tagLst>
</file>

<file path=ppt/tags/tag686.xml><?xml version="1.0" encoding="utf-8"?>
<p:tagLst xmlns:p="http://schemas.openxmlformats.org/presentationml/2006/main">
  <p:tag name="POWER_USER_DIAGRAM_CIRCULAR_ARROW_KEY" val="POWER_USER_DIAGRAM_CIRCULAR_ARROW_VALUE_50"/>
</p:tagLst>
</file>

<file path=ppt/tags/tag687.xml><?xml version="1.0" encoding="utf-8"?>
<p:tagLst xmlns:p="http://schemas.openxmlformats.org/presentationml/2006/main">
  <p:tag name="POWER_USER_DIAGRAM_CIRCULAR_ARROW_KEY" val="POWER_USER_DIAGRAM_CIRCULAR_ARROW_VALUE_5"/>
</p:tagLst>
</file>

<file path=ppt/tags/tag688.xml><?xml version="1.0" encoding="utf-8"?>
<p:tagLst xmlns:p="http://schemas.openxmlformats.org/presentationml/2006/main">
  <p:tag name="POWER_USER_DIAGRAM_CIRCULAR_ARROW_KEY" val="POWER_USER_DIAGRAM_CIRCULAR_ARROW_VALUE_6"/>
</p:tagLst>
</file>

<file path=ppt/tags/tag689.xml><?xml version="1.0" encoding="utf-8"?>
<p:tagLst xmlns:p="http://schemas.openxmlformats.org/presentationml/2006/main">
  <p:tag name="POWER_USER_DIAGRAM_CIRCULAR_ARROW_KEY" val="POWER_USER_DIAGRAM_CIRCULAR_ARROW_VALUE_7"/>
</p:tagLst>
</file>

<file path=ppt/tags/tag69.xml><?xml version="1.0" encoding="utf-8"?>
<p:tagLst xmlns:p="http://schemas.openxmlformats.org/presentationml/2006/main">
  <p:tag name="POWER_USER_DIAGRAM_CIRCULAR_ARROW_KEY" val="POWER_USER_DIAGRAM_CIRCULAR_ARROW_VALUE_27"/>
</p:tagLst>
</file>

<file path=ppt/tags/tag690.xml><?xml version="1.0" encoding="utf-8"?>
<p:tagLst xmlns:p="http://schemas.openxmlformats.org/presentationml/2006/main">
  <p:tag name="POWER_USER_DIAGRAM_CIRCULAR_ARROW_KEY" val="POWER_USER_DIAGRAM_CIRCULAR_ARROW_VALUE_8"/>
</p:tagLst>
</file>

<file path=ppt/tags/tag691.xml><?xml version="1.0" encoding="utf-8"?>
<p:tagLst xmlns:p="http://schemas.openxmlformats.org/presentationml/2006/main">
  <p:tag name="POWER_USER_DIAGRAM_CIRCULAR_ARROW_KEY" val="POWER_USER_DIAGRAM_CIRCULAR_ARROW_VALUE_9"/>
</p:tagLst>
</file>

<file path=ppt/tags/tag692.xml><?xml version="1.0" encoding="utf-8"?>
<p:tagLst xmlns:p="http://schemas.openxmlformats.org/presentationml/2006/main">
  <p:tag name="POWER_USER_DIAGRAM_CIRCULAR_ARROW_KEY" val="POWER_USER_DIAGRAM_CIRCULAR_ARROW_VALUE_10"/>
</p:tagLst>
</file>

<file path=ppt/tags/tag693.xml><?xml version="1.0" encoding="utf-8"?>
<p:tagLst xmlns:p="http://schemas.openxmlformats.org/presentationml/2006/main">
  <p:tag name="POWER_USER_DIAGRAM_CIRCULAR_ARROW_KEY" val="POWER_USER_DIAGRAM_CIRCULAR_ARROW_VALUE_11"/>
</p:tagLst>
</file>

<file path=ppt/tags/tag694.xml><?xml version="1.0" encoding="utf-8"?>
<p:tagLst xmlns:p="http://schemas.openxmlformats.org/presentationml/2006/main">
  <p:tag name="POWER_USER_DIAGRAM_CIRCULAR_ARROW_KEY" val="POWER_USER_DIAGRAM_CIRCULAR_ARROW_VALUE_12"/>
</p:tagLst>
</file>

<file path=ppt/tags/tag695.xml><?xml version="1.0" encoding="utf-8"?>
<p:tagLst xmlns:p="http://schemas.openxmlformats.org/presentationml/2006/main">
  <p:tag name="POWER_USER_DIAGRAM_CIRCULAR_ARROW_KEY" val="POWER_USER_DIAGRAM_CIRCULAR_ARROW_VALUE_13"/>
</p:tagLst>
</file>

<file path=ppt/tags/tag696.xml><?xml version="1.0" encoding="utf-8"?>
<p:tagLst xmlns:p="http://schemas.openxmlformats.org/presentationml/2006/main">
  <p:tag name="POWER_USER_DIAGRAM_CIRCULAR_ARROW_KEY" val="POWER_USER_DIAGRAM_CIRCULAR_ARROW_VALUE_14"/>
</p:tagLst>
</file>

<file path=ppt/tags/tag697.xml><?xml version="1.0" encoding="utf-8"?>
<p:tagLst xmlns:p="http://schemas.openxmlformats.org/presentationml/2006/main">
  <p:tag name="POWER_USER_DIAGRAM_CIRCULAR_ARROW_KEY" val="POWER_USER_DIAGRAM_CIRCULAR_ARROW_VALUE_15"/>
</p:tagLst>
</file>

<file path=ppt/tags/tag698.xml><?xml version="1.0" encoding="utf-8"?>
<p:tagLst xmlns:p="http://schemas.openxmlformats.org/presentationml/2006/main">
  <p:tag name="POWER_USER_DIAGRAM_CIRCULAR_ARROW_KEY" val="POWER_USER_DIAGRAM_CIRCULAR_ARROW_VALUE_16"/>
</p:tagLst>
</file>

<file path=ppt/tags/tag699.xml><?xml version="1.0" encoding="utf-8"?>
<p:tagLst xmlns:p="http://schemas.openxmlformats.org/presentationml/2006/main">
  <p:tag name="POWER_USER_DIAGRAM_CIRCULAR_ARROW_KEY" val="POWER_USER_DIAGRAM_CIRCULAR_ARROW_VALUE_17"/>
</p:tagLst>
</file>

<file path=ppt/tags/tag7.xml><?xml version="1.0" encoding="utf-8"?>
<p:tagLst xmlns:p="http://schemas.openxmlformats.org/presentationml/2006/main">
  <p:tag name="POWER_USER_DIAGRAM_CIRCULAR_ARROW_KEY" val="POWER_USER_DIAGRAM_CIRCULAR_ARROW_VALUE_11"/>
</p:tagLst>
</file>

<file path=ppt/tags/tag70.xml><?xml version="1.0" encoding="utf-8"?>
<p:tagLst xmlns:p="http://schemas.openxmlformats.org/presentationml/2006/main">
  <p:tag name="POWER_USER_DIAGRAM_CIRCULAR_ARROW_KEY" val="POWER_USER_DIAGRAM_CIRCULAR_ARROW_VALUE_28"/>
</p:tagLst>
</file>

<file path=ppt/tags/tag700.xml><?xml version="1.0" encoding="utf-8"?>
<p:tagLst xmlns:p="http://schemas.openxmlformats.org/presentationml/2006/main">
  <p:tag name="POWER_USER_DIAGRAM_CIRCULAR_ARROW_KEY" val="POWER_USER_DIAGRAM_CIRCULAR_ARROW_VALUE_18"/>
</p:tagLst>
</file>

<file path=ppt/tags/tag701.xml><?xml version="1.0" encoding="utf-8"?>
<p:tagLst xmlns:p="http://schemas.openxmlformats.org/presentationml/2006/main">
  <p:tag name="POWER_USER_DIAGRAM_CIRCULAR_ARROW_KEY" val="POWER_USER_DIAGRAM_CIRCULAR_ARROW_VALUE_19"/>
</p:tagLst>
</file>

<file path=ppt/tags/tag702.xml><?xml version="1.0" encoding="utf-8"?>
<p:tagLst xmlns:p="http://schemas.openxmlformats.org/presentationml/2006/main">
  <p:tag name="POWER_USER_DIAGRAM_CIRCULAR_ARROW_KEY" val="POWER_USER_DIAGRAM_CIRCULAR_ARROW_VALUE_20"/>
</p:tagLst>
</file>

<file path=ppt/tags/tag703.xml><?xml version="1.0" encoding="utf-8"?>
<p:tagLst xmlns:p="http://schemas.openxmlformats.org/presentationml/2006/main">
  <p:tag name="POWER_USER_DIAGRAM_CIRCULAR_ARROW_KEY" val="POWER_USER_DIAGRAM_CIRCULAR_ARROW_VALUE_21"/>
</p:tagLst>
</file>

<file path=ppt/tags/tag704.xml><?xml version="1.0" encoding="utf-8"?>
<p:tagLst xmlns:p="http://schemas.openxmlformats.org/presentationml/2006/main">
  <p:tag name="POWER_USER_DIAGRAM_CIRCULAR_ARROW_KEY" val="POWER_USER_DIAGRAM_CIRCULAR_ARROW_VALUE_22"/>
</p:tagLst>
</file>

<file path=ppt/tags/tag705.xml><?xml version="1.0" encoding="utf-8"?>
<p:tagLst xmlns:p="http://schemas.openxmlformats.org/presentationml/2006/main">
  <p:tag name="POWER_USER_DIAGRAM_CIRCULAR_ARROW_KEY" val="POWER_USER_DIAGRAM_CIRCULAR_ARROW_VALUE_23"/>
</p:tagLst>
</file>

<file path=ppt/tags/tag706.xml><?xml version="1.0" encoding="utf-8"?>
<p:tagLst xmlns:p="http://schemas.openxmlformats.org/presentationml/2006/main">
  <p:tag name="POWER_USER_DIAGRAM_CIRCULAR_ARROW_KEY" val="POWER_USER_DIAGRAM_CIRCULAR_ARROW_VALUE_24"/>
</p:tagLst>
</file>

<file path=ppt/tags/tag707.xml><?xml version="1.0" encoding="utf-8"?>
<p:tagLst xmlns:p="http://schemas.openxmlformats.org/presentationml/2006/main">
  <p:tag name="POWER_USER_DIAGRAM_CIRCULAR_ARROW_KEY" val="POWER_USER_DIAGRAM_CIRCULAR_ARROW_VALUE_25"/>
</p:tagLst>
</file>

<file path=ppt/tags/tag708.xml><?xml version="1.0" encoding="utf-8"?>
<p:tagLst xmlns:p="http://schemas.openxmlformats.org/presentationml/2006/main">
  <p:tag name="POWER_USER_DIAGRAM_CIRCULAR_ARROW_KEY" val="POWER_USER_DIAGRAM_CIRCULAR_ARROW_VALUE_26"/>
</p:tagLst>
</file>

<file path=ppt/tags/tag709.xml><?xml version="1.0" encoding="utf-8"?>
<p:tagLst xmlns:p="http://schemas.openxmlformats.org/presentationml/2006/main">
  <p:tag name="POWER_USER_DIAGRAM_CIRCULAR_ARROW_KEY" val="POWER_USER_DIAGRAM_CIRCULAR_ARROW_VALUE_27"/>
</p:tagLst>
</file>

<file path=ppt/tags/tag71.xml><?xml version="1.0" encoding="utf-8"?>
<p:tagLst xmlns:p="http://schemas.openxmlformats.org/presentationml/2006/main">
  <p:tag name="POWER_USER_DIAGRAM_CIRCULAR_ARROW_KEY" val="POWER_USER_DIAGRAM_CIRCULAR_ARROW_VALUE_29"/>
</p:tagLst>
</file>

<file path=ppt/tags/tag710.xml><?xml version="1.0" encoding="utf-8"?>
<p:tagLst xmlns:p="http://schemas.openxmlformats.org/presentationml/2006/main">
  <p:tag name="POWER_USER_DIAGRAM_CIRCULAR_ARROW_KEY" val="POWER_USER_DIAGRAM_CIRCULAR_ARROW_VALUE_28"/>
</p:tagLst>
</file>

<file path=ppt/tags/tag711.xml><?xml version="1.0" encoding="utf-8"?>
<p:tagLst xmlns:p="http://schemas.openxmlformats.org/presentationml/2006/main">
  <p:tag name="POWER_USER_DIAGRAM_CIRCULAR_ARROW_KEY" val="POWER_USER_DIAGRAM_CIRCULAR_ARROW_VALUE_29"/>
</p:tagLst>
</file>

<file path=ppt/tags/tag712.xml><?xml version="1.0" encoding="utf-8"?>
<p:tagLst xmlns:p="http://schemas.openxmlformats.org/presentationml/2006/main">
  <p:tag name="POWER_USER_DIAGRAM_CIRCULAR_ARROW_KEY" val="POWER_USER_DIAGRAM_CIRCULAR_ARROW_VALUE_30"/>
</p:tagLst>
</file>

<file path=ppt/tags/tag713.xml><?xml version="1.0" encoding="utf-8"?>
<p:tagLst xmlns:p="http://schemas.openxmlformats.org/presentationml/2006/main">
  <p:tag name="POWER_USER_DIAGRAM_CIRCULAR_ARROW_KEY" val="POWER_USER_DIAGRAM_CIRCULAR_ARROW_VALUE_31"/>
</p:tagLst>
</file>

<file path=ppt/tags/tag714.xml><?xml version="1.0" encoding="utf-8"?>
<p:tagLst xmlns:p="http://schemas.openxmlformats.org/presentationml/2006/main">
  <p:tag name="POWER_USER_DIAGRAM_CIRCULAR_ARROW_KEY" val="POWER_USER_DIAGRAM_CIRCULAR_ARROW_VALUE_32"/>
</p:tagLst>
</file>

<file path=ppt/tags/tag715.xml><?xml version="1.0" encoding="utf-8"?>
<p:tagLst xmlns:p="http://schemas.openxmlformats.org/presentationml/2006/main">
  <p:tag name="POWER_USER_DIAGRAM_CIRCULAR_ARROW_KEY" val="POWER_USER_DIAGRAM_CIRCULAR_ARROW_VALUE_33"/>
</p:tagLst>
</file>

<file path=ppt/tags/tag716.xml><?xml version="1.0" encoding="utf-8"?>
<p:tagLst xmlns:p="http://schemas.openxmlformats.org/presentationml/2006/main">
  <p:tag name="POWER_USER_DIAGRAM_CIRCULAR_ARROW_KEY" val="POWER_USER_DIAGRAM_CIRCULAR_ARROW_VALUE_34"/>
</p:tagLst>
</file>

<file path=ppt/tags/tag717.xml><?xml version="1.0" encoding="utf-8"?>
<p:tagLst xmlns:p="http://schemas.openxmlformats.org/presentationml/2006/main">
  <p:tag name="POWER_USER_DIAGRAM_CIRCULAR_ARROW_KEY" val="POWER_USER_DIAGRAM_CIRCULAR_ARROW_VALUE_35"/>
</p:tagLst>
</file>

<file path=ppt/tags/tag718.xml><?xml version="1.0" encoding="utf-8"?>
<p:tagLst xmlns:p="http://schemas.openxmlformats.org/presentationml/2006/main">
  <p:tag name="POWER_USER_DIAGRAM_CIRCULAR_ARROW_KEY" val="POWER_USER_DIAGRAM_CIRCULAR_ARROW_VALUE_36"/>
</p:tagLst>
</file>

<file path=ppt/tags/tag719.xml><?xml version="1.0" encoding="utf-8"?>
<p:tagLst xmlns:p="http://schemas.openxmlformats.org/presentationml/2006/main">
  <p:tag name="POWER_USER_DIAGRAM_CIRCULAR_ARROW_KEY" val="POWER_USER_DIAGRAM_CIRCULAR_ARROW_VALUE_37"/>
</p:tagLst>
</file>

<file path=ppt/tags/tag72.xml><?xml version="1.0" encoding="utf-8"?>
<p:tagLst xmlns:p="http://schemas.openxmlformats.org/presentationml/2006/main">
  <p:tag name="POWER_USER_DIAGRAM_CIRCULAR_ARROW_KEY" val="POWER_USER_DIAGRAM_CIRCULAR_ARROW_VALUE_30"/>
</p:tagLst>
</file>

<file path=ppt/tags/tag720.xml><?xml version="1.0" encoding="utf-8"?>
<p:tagLst xmlns:p="http://schemas.openxmlformats.org/presentationml/2006/main">
  <p:tag name="POWER_USER_DIAGRAM_CIRCULAR_ARROW_KEY" val="POWER_USER_DIAGRAM_CIRCULAR_ARROW_VALUE_38"/>
</p:tagLst>
</file>

<file path=ppt/tags/tag721.xml><?xml version="1.0" encoding="utf-8"?>
<p:tagLst xmlns:p="http://schemas.openxmlformats.org/presentationml/2006/main">
  <p:tag name="POWER_USER_DIAGRAM_CIRCULAR_ARROW_KEY" val="POWER_USER_DIAGRAM_CIRCULAR_ARROW_VALUE_39"/>
</p:tagLst>
</file>

<file path=ppt/tags/tag722.xml><?xml version="1.0" encoding="utf-8"?>
<p:tagLst xmlns:p="http://schemas.openxmlformats.org/presentationml/2006/main">
  <p:tag name="POWER_USER_DIAGRAM_CIRCULAR_ARROW_KEY" val="POWER_USER_DIAGRAM_CIRCULAR_ARROW_VALUE_40"/>
</p:tagLst>
</file>

<file path=ppt/tags/tag723.xml><?xml version="1.0" encoding="utf-8"?>
<p:tagLst xmlns:p="http://schemas.openxmlformats.org/presentationml/2006/main">
  <p:tag name="POWER_USER_DIAGRAM_CIRCULAR_ARROW_KEY" val="POWER_USER_DIAGRAM_CIRCULAR_ARROW_VALUE_41"/>
</p:tagLst>
</file>

<file path=ppt/tags/tag724.xml><?xml version="1.0" encoding="utf-8"?>
<p:tagLst xmlns:p="http://schemas.openxmlformats.org/presentationml/2006/main">
  <p:tag name="POWER_USER_DIAGRAM_CIRCULAR_ARROW_KEY" val="POWER_USER_DIAGRAM_CIRCULAR_ARROW_VALUE_42"/>
</p:tagLst>
</file>

<file path=ppt/tags/tag725.xml><?xml version="1.0" encoding="utf-8"?>
<p:tagLst xmlns:p="http://schemas.openxmlformats.org/presentationml/2006/main">
  <p:tag name="POWER_USER_DIAGRAM_CIRCULAR_ARROW_KEY" val="POWER_USER_DIAGRAM_CIRCULAR_ARROW_VALUE_43"/>
</p:tagLst>
</file>

<file path=ppt/tags/tag726.xml><?xml version="1.0" encoding="utf-8"?>
<p:tagLst xmlns:p="http://schemas.openxmlformats.org/presentationml/2006/main">
  <p:tag name="POWER_USER_DIAGRAM_CIRCULAR_ARROW_KEY" val="POWER_USER_DIAGRAM_CIRCULAR_ARROW_VALUE_44"/>
</p:tagLst>
</file>

<file path=ppt/tags/tag727.xml><?xml version="1.0" encoding="utf-8"?>
<p:tagLst xmlns:p="http://schemas.openxmlformats.org/presentationml/2006/main">
  <p:tag name="POWER_USER_DIAGRAM_CIRCULAR_ARROW_KEY" val="POWER_USER_DIAGRAM_CIRCULAR_ARROW_VALUE_45"/>
</p:tagLst>
</file>

<file path=ppt/tags/tag728.xml><?xml version="1.0" encoding="utf-8"?>
<p:tagLst xmlns:p="http://schemas.openxmlformats.org/presentationml/2006/main">
  <p:tag name="POWER_USER_DIAGRAM_CIRCULAR_ARROW_KEY" val="POWER_USER_DIAGRAM_CIRCULAR_ARROW_VALUE_46"/>
</p:tagLst>
</file>

<file path=ppt/tags/tag729.xml><?xml version="1.0" encoding="utf-8"?>
<p:tagLst xmlns:p="http://schemas.openxmlformats.org/presentationml/2006/main">
  <p:tag name="POWER_USER_DIAGRAM_CIRCULAR_ARROW_KEY" val="POWER_USER_DIAGRAM_CIRCULAR_ARROW_VALUE_47"/>
</p:tagLst>
</file>

<file path=ppt/tags/tag73.xml><?xml version="1.0" encoding="utf-8"?>
<p:tagLst xmlns:p="http://schemas.openxmlformats.org/presentationml/2006/main">
  <p:tag name="POWER_USER_DIAGRAM_CIRCULAR_ARROW_KEY" val="POWER_USER_DIAGRAM_CIRCULAR_ARROW_VALUE_31"/>
</p:tagLst>
</file>

<file path=ppt/tags/tag730.xml><?xml version="1.0" encoding="utf-8"?>
<p:tagLst xmlns:p="http://schemas.openxmlformats.org/presentationml/2006/main">
  <p:tag name="POWER_USER_DIAGRAM_CIRCULAR_ARROW_KEY" val="POWER_USER_DIAGRAM_CIRCULAR_ARROW_VALUE_48"/>
</p:tagLst>
</file>

<file path=ppt/tags/tag731.xml><?xml version="1.0" encoding="utf-8"?>
<p:tagLst xmlns:p="http://schemas.openxmlformats.org/presentationml/2006/main">
  <p:tag name="POWER_USER_DIAGRAM_CIRCULAR_ARROW_KEY" val="POWER_USER_DIAGRAM_CIRCULAR_ARROW_VALUE_49"/>
</p:tagLst>
</file>

<file path=ppt/tags/tag732.xml><?xml version="1.0" encoding="utf-8"?>
<p:tagLst xmlns:p="http://schemas.openxmlformats.org/presentationml/2006/main">
  <p:tag name="POWER_USER_DIAGRAM_CIRCULAR_ARROW_KEY" val="POWER_USER_DIAGRAM_CIRCULAR_ARROW_VALUE_50"/>
</p:tagLst>
</file>

<file path=ppt/tags/tag733.xml><?xml version="1.0" encoding="utf-8"?>
<p:tagLst xmlns:p="http://schemas.openxmlformats.org/presentationml/2006/main">
  <p:tag name="POWER_USER_TAGS_ICONS" val="database*wireframes*mockup"/>
</p:tagLst>
</file>

<file path=ppt/tags/tag734.xml><?xml version="1.0" encoding="utf-8"?>
<p:tagLst xmlns:p="http://schemas.openxmlformats.org/presentationml/2006/main">
  <p:tag name="POWER_USER_TAGS_ICONS" val="database*wireframes*mockup"/>
</p:tagLst>
</file>

<file path=ppt/tags/tag735.xml><?xml version="1.0" encoding="utf-8"?>
<p:tagLst xmlns:p="http://schemas.openxmlformats.org/presentationml/2006/main">
  <p:tag name="POWER_USER_TAGS_ICONS" val="database*wireframes*mockup"/>
</p:tagLst>
</file>

<file path=ppt/tags/tag736.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37.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38.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39.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xml><?xml version="1.0" encoding="utf-8"?>
<p:tagLst xmlns:p="http://schemas.openxmlformats.org/presentationml/2006/main">
  <p:tag name="POWER_USER_DIAGRAM_CIRCULAR_ARROW_KEY" val="POWER_USER_DIAGRAM_CIRCULAR_ARROW_VALUE_32"/>
</p:tagLst>
</file>

<file path=ppt/tags/tag740.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1.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2.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3.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4.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5.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6.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7.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8.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49.xml><?xml version="1.0" encoding="utf-8"?>
<p:tagLst xmlns:p="http://schemas.openxmlformats.org/presentationml/2006/main">
  <p:tag name="POWER_USER_TAGS_ICONS" val="community-gathering_POWER_USER_SEPARATOR_ICONS_community-engagement_POWER_USER_SEPARATOR_ICONS_public-party_POWER_USER_SEPARATOR_ICONS_town-festival_POWER_USER_SEPARATOR_ICONS_society-together_POWER_USER_SEPARATOR_ICONS_public-convention_POWER_USER_SEPARATOR_ICONS_public-space_POWER_USER_SEPARATOR_ICONS_empowerment_POWER_USER_SEPARATOR_ICONS_community_POWER_USER_SEPARATOR_ICONS_assembly_POWER_USER_SEPARATOR_ICONS_citizen-engagement"/>
</p:tagLst>
</file>

<file path=ppt/tags/tag75.xml><?xml version="1.0" encoding="utf-8"?>
<p:tagLst xmlns:p="http://schemas.openxmlformats.org/presentationml/2006/main">
  <p:tag name="POWER_USER_DIAGRAM_CIRCULAR_ARROW_KEY" val="POWER_USER_DIAGRAM_CIRCULAR_ARROW_VALUE_33"/>
</p:tagLst>
</file>

<file path=ppt/tags/tag750.xml><?xml version="1.0" encoding="utf-8"?>
<p:tagLst xmlns:p="http://schemas.openxmlformats.org/presentationml/2006/main">
  <p:tag name="POWER_USER_TAGS_ICONS" val="server*computer*technology*digital*numerical*hardrive"/>
</p:tagLst>
</file>

<file path=ppt/tags/tag751.xml><?xml version="1.0" encoding="utf-8"?>
<p:tagLst xmlns:p="http://schemas.openxmlformats.org/presentationml/2006/main">
  <p:tag name="POWER_USER_TAGS_ICONS" val="database*wireframes*mockup"/>
</p:tagLst>
</file>

<file path=ppt/tags/tag752.xml><?xml version="1.0" encoding="utf-8"?>
<p:tagLst xmlns:p="http://schemas.openxmlformats.org/presentationml/2006/main">
  <p:tag name="POWER_USER_TAGS_ICONS" val="server*computer*technology*digital*numerical*hardrive"/>
</p:tagLst>
</file>

<file path=ppt/tags/tag753.xml><?xml version="1.0" encoding="utf-8"?>
<p:tagLst xmlns:p="http://schemas.openxmlformats.org/presentationml/2006/main">
  <p:tag name="POWER_USER_TAGS_ICONS" val="database*wireframes*mockup"/>
</p:tagLst>
</file>

<file path=ppt/tags/tag754.xml><?xml version="1.0" encoding="utf-8"?>
<p:tagLst xmlns:p="http://schemas.openxmlformats.org/presentationml/2006/main">
  <p:tag name="POWER_USER_TAGS_ICONS" val="server*computer*technology*digital*numerical*hardrive"/>
</p:tagLst>
</file>

<file path=ppt/tags/tag755.xml><?xml version="1.0" encoding="utf-8"?>
<p:tagLst xmlns:p="http://schemas.openxmlformats.org/presentationml/2006/main">
  <p:tag name="POWER_USER_TAGS_ICONS" val="database*wireframes*mockup"/>
</p:tagLst>
</file>

<file path=ppt/tags/tag756.xml><?xml version="1.0" encoding="utf-8"?>
<p:tagLst xmlns:p="http://schemas.openxmlformats.org/presentationml/2006/main">
  <p:tag name="POWER_USER_TAGS_ICONS" val="browser_POWER_USER_SEPARATOR_ICONS_internet_POWER_USER_SEPARATOR_ICONS_wireframe"/>
</p:tagLst>
</file>

<file path=ppt/tags/tag757.xml><?xml version="1.0" encoding="utf-8"?>
<p:tagLst xmlns:p="http://schemas.openxmlformats.org/presentationml/2006/main">
  <p:tag name="POWER_USER_TAGS_ICONS" val="server*computer*technology*digital*numerical*hardrive"/>
</p:tagLst>
</file>

<file path=ppt/tags/tag758.xml><?xml version="1.0" encoding="utf-8"?>
<p:tagLst xmlns:p="http://schemas.openxmlformats.org/presentationml/2006/main">
  <p:tag name="POWER_USER_TAGS_ICONS" val="database*wireframes*mockup"/>
</p:tagLst>
</file>

<file path=ppt/tags/tag759.xml><?xml version="1.0" encoding="utf-8"?>
<p:tagLst xmlns:p="http://schemas.openxmlformats.org/presentationml/2006/main">
  <p:tag name="POWER_USER_TAGS_ICONS" val="server*computer*technology*digital*numerical*hardrive"/>
</p:tagLst>
</file>

<file path=ppt/tags/tag76.xml><?xml version="1.0" encoding="utf-8"?>
<p:tagLst xmlns:p="http://schemas.openxmlformats.org/presentationml/2006/main">
  <p:tag name="POWER_USER_DIAGRAM_CIRCULAR_ARROW_KEY" val="POWER_USER_DIAGRAM_CIRCULAR_ARROW_VALUE_34"/>
</p:tagLst>
</file>

<file path=ppt/tags/tag760.xml><?xml version="1.0" encoding="utf-8"?>
<p:tagLst xmlns:p="http://schemas.openxmlformats.org/presentationml/2006/main">
  <p:tag name="POWER_USER_TAGS_ICONS" val="database*wireframes*mockup"/>
</p:tagLst>
</file>

<file path=ppt/tags/tag761.xml><?xml version="1.0" encoding="utf-8"?>
<p:tagLst xmlns:p="http://schemas.openxmlformats.org/presentationml/2006/main">
  <p:tag name="POWER_USER_TAGS_ICONS" val="browser_POWER_USER_SEPARATOR_ICONS_internet_POWER_USER_SEPARATOR_ICONS_wireframe"/>
</p:tagLst>
</file>

<file path=ppt/tags/tag762.xml><?xml version="1.0" encoding="utf-8"?>
<p:tagLst xmlns:p="http://schemas.openxmlformats.org/presentationml/2006/main">
  <p:tag name="POWER_USER_TAGS_ICONS" val="server*computer*technology*digital*numerical*hardrive"/>
</p:tagLst>
</file>

<file path=ppt/tags/tag763.xml><?xml version="1.0" encoding="utf-8"?>
<p:tagLst xmlns:p="http://schemas.openxmlformats.org/presentationml/2006/main">
  <p:tag name="POWER_USER_TAGS_ICONS" val="database*wireframes*mockup"/>
</p:tagLst>
</file>

<file path=ppt/tags/tag764.xml><?xml version="1.0" encoding="utf-8"?>
<p:tagLst xmlns:p="http://schemas.openxmlformats.org/presentationml/2006/main">
  <p:tag name="POWER_USER_TAGS_ICONS" val="server*computer*technology*digital*numerical*hardrive"/>
</p:tagLst>
</file>

<file path=ppt/tags/tag765.xml><?xml version="1.0" encoding="utf-8"?>
<p:tagLst xmlns:p="http://schemas.openxmlformats.org/presentationml/2006/main">
  <p:tag name="POWER_USER_TAGS_ICONS" val="database*wireframes*mockup"/>
</p:tagLst>
</file>

<file path=ppt/tags/tag766.xml><?xml version="1.0" encoding="utf-8"?>
<p:tagLst xmlns:p="http://schemas.openxmlformats.org/presentationml/2006/main">
  <p:tag name="POWER_USER_TAGS_ICONS" val="server*computer*technology*digital*numerical*hardrive"/>
</p:tagLst>
</file>

<file path=ppt/tags/tag767.xml><?xml version="1.0" encoding="utf-8"?>
<p:tagLst xmlns:p="http://schemas.openxmlformats.org/presentationml/2006/main">
  <p:tag name="POWER_USER_TAGS_ICONS" val="database*wireframes*mockup"/>
</p:tagLst>
</file>

<file path=ppt/tags/tag768.xml><?xml version="1.0" encoding="utf-8"?>
<p:tagLst xmlns:p="http://schemas.openxmlformats.org/presentationml/2006/main">
  <p:tag name="POWER_USER_TAGS_ICONS" val="browser_POWER_USER_SEPARATOR_ICONS_internet_POWER_USER_SEPARATOR_ICONS_wireframe"/>
</p:tagLst>
</file>

<file path=ppt/tags/tag769.xml><?xml version="1.0" encoding="utf-8"?>
<p:tagLst xmlns:p="http://schemas.openxmlformats.org/presentationml/2006/main">
  <p:tag name="POWER_USER_TAGS_ICONS" val="server*computer*technology*digital*numerical*hardrive"/>
</p:tagLst>
</file>

<file path=ppt/tags/tag77.xml><?xml version="1.0" encoding="utf-8"?>
<p:tagLst xmlns:p="http://schemas.openxmlformats.org/presentationml/2006/main">
  <p:tag name="POWER_USER_DIAGRAM_CIRCULAR_ARROW_KEY" val="POWER_USER_DIAGRAM_CIRCULAR_ARROW_VALUE_35"/>
</p:tagLst>
</file>

<file path=ppt/tags/tag770.xml><?xml version="1.0" encoding="utf-8"?>
<p:tagLst xmlns:p="http://schemas.openxmlformats.org/presentationml/2006/main">
  <p:tag name="POWER_USER_TAGS_ICONS" val="server*computer*technology*digital*numerical*hardrive"/>
</p:tagLst>
</file>

<file path=ppt/tags/tag771.xml><?xml version="1.0" encoding="utf-8"?>
<p:tagLst xmlns:p="http://schemas.openxmlformats.org/presentationml/2006/main">
  <p:tag name="POWER_USER_TAGS_ICONS" val="browser_POWER_USER_SEPARATOR_ICONS_internet_POWER_USER_SEPARATOR_ICONS_wireframe"/>
</p:tagLst>
</file>

<file path=ppt/tags/tag772.xml><?xml version="1.0" encoding="utf-8"?>
<p:tagLst xmlns:p="http://schemas.openxmlformats.org/presentationml/2006/main">
  <p:tag name="POWER_USER_TAGS_ICONS" val="server*computer*technology*digital*numerical*hardrive"/>
</p:tagLst>
</file>

<file path=ppt/tags/tag773.xml><?xml version="1.0" encoding="utf-8"?>
<p:tagLst xmlns:p="http://schemas.openxmlformats.org/presentationml/2006/main">
  <p:tag name="POWER_USER_TAGS_ICONS" val="database*wireframes*mockup"/>
</p:tagLst>
</file>

<file path=ppt/tags/tag774.xml><?xml version="1.0" encoding="utf-8"?>
<p:tagLst xmlns:p="http://schemas.openxmlformats.org/presentationml/2006/main">
  <p:tag name="POWER_USER_TAGS_ICONS" val="database*wireframes*mockup"/>
</p:tagLst>
</file>

<file path=ppt/tags/tag775.xml><?xml version="1.0" encoding="utf-8"?>
<p:tagLst xmlns:p="http://schemas.openxmlformats.org/presentationml/2006/main">
  <p:tag name="POWER_USER_TAGS_ICONS" val="database*wireframes*mockup"/>
</p:tagLst>
</file>

<file path=ppt/tags/tag776.xml><?xml version="1.0" encoding="utf-8"?>
<p:tagLst xmlns:p="http://schemas.openxmlformats.org/presentationml/2006/main">
  <p:tag name="POWER_USER_TAGS_ICONS" val="server*computer*technology*digital*numerical*hardrive"/>
</p:tagLst>
</file>

<file path=ppt/tags/tag777.xml><?xml version="1.0" encoding="utf-8"?>
<p:tagLst xmlns:p="http://schemas.openxmlformats.org/presentationml/2006/main">
  <p:tag name="POWER_USER_TAGS_ICONS" val="database*wireframes*mockup"/>
</p:tagLst>
</file>

<file path=ppt/tags/tag778.xml><?xml version="1.0" encoding="utf-8"?>
<p:tagLst xmlns:p="http://schemas.openxmlformats.org/presentationml/2006/main">
  <p:tag name="POWER_USER_TAGS_ICONS" val="server*computer*technology*digital*numerical*hardrive"/>
</p:tagLst>
</file>

<file path=ppt/tags/tag779.xml><?xml version="1.0" encoding="utf-8"?>
<p:tagLst xmlns:p="http://schemas.openxmlformats.org/presentationml/2006/main">
  <p:tag name="POWER_USER_TAGS_ICONS" val="database*wireframes*mockup"/>
</p:tagLst>
</file>

<file path=ppt/tags/tag78.xml><?xml version="1.0" encoding="utf-8"?>
<p:tagLst xmlns:p="http://schemas.openxmlformats.org/presentationml/2006/main">
  <p:tag name="POWER_USER_DIAGRAM_CIRCULAR_ARROW_KEY" val="POWER_USER_DIAGRAM_CIRCULAR_ARROW_VALUE_36"/>
</p:tagLst>
</file>

<file path=ppt/tags/tag780.xml><?xml version="1.0" encoding="utf-8"?>
<p:tagLst xmlns:p="http://schemas.openxmlformats.org/presentationml/2006/main">
  <p:tag name="POWER_USER_TAGS_ICONS" val="server*computer*technology*digital*numerical*hardrive"/>
</p:tagLst>
</file>

<file path=ppt/tags/tag781.xml><?xml version="1.0" encoding="utf-8"?>
<p:tagLst xmlns:p="http://schemas.openxmlformats.org/presentationml/2006/main">
  <p:tag name="POWER_USER_TAGS_ICONS" val="database*wireframes*mockup"/>
</p:tagLst>
</file>

<file path=ppt/tags/tag782.xml><?xml version="1.0" encoding="utf-8"?>
<p:tagLst xmlns:p="http://schemas.openxmlformats.org/presentationml/2006/main">
  <p:tag name="POWER_USER_TAGS_ICONS" val="server*computer*technology*digital*numerical*hardrive"/>
</p:tagLst>
</file>

<file path=ppt/tags/tag783.xml><?xml version="1.0" encoding="utf-8"?>
<p:tagLst xmlns:p="http://schemas.openxmlformats.org/presentationml/2006/main">
  <p:tag name="POWER_USER_TAGS_ICONS" val="database*wireframes*mockup"/>
</p:tagLst>
</file>

<file path=ppt/tags/tag784.xml><?xml version="1.0" encoding="utf-8"?>
<p:tagLst xmlns:p="http://schemas.openxmlformats.org/presentationml/2006/main">
  <p:tag name="POWER_USER_TAGS_ICONS" val="server*computer*technology*digital*numerical*hardrive"/>
</p:tagLst>
</file>

<file path=ppt/tags/tag785.xml><?xml version="1.0" encoding="utf-8"?>
<p:tagLst xmlns:p="http://schemas.openxmlformats.org/presentationml/2006/main">
  <p:tag name="POWER_USER_TAGS_ICONS" val="database*wireframes*mockup"/>
</p:tagLst>
</file>

<file path=ppt/tags/tag786.xml><?xml version="1.0" encoding="utf-8"?>
<p:tagLst xmlns:p="http://schemas.openxmlformats.org/presentationml/2006/main">
  <p:tag name="POWER_USER_TAGS_ICONS" val="server*computer*technology*digital*numerical*hardrive"/>
</p:tagLst>
</file>

<file path=ppt/tags/tag787.xml><?xml version="1.0" encoding="utf-8"?>
<p:tagLst xmlns:p="http://schemas.openxmlformats.org/presentationml/2006/main">
  <p:tag name="POWER_USER_TAGS_ICONS" val="database*wireframes*mockup"/>
</p:tagLst>
</file>

<file path=ppt/tags/tag788.xml><?xml version="1.0" encoding="utf-8"?>
<p:tagLst xmlns:p="http://schemas.openxmlformats.org/presentationml/2006/main">
  <p:tag name="POWER_USER_TAGS_ICONS" val="server*computer*technology*digital*numerical*hardrive"/>
</p:tagLst>
</file>

<file path=ppt/tags/tag789.xml><?xml version="1.0" encoding="utf-8"?>
<p:tagLst xmlns:p="http://schemas.openxmlformats.org/presentationml/2006/main">
  <p:tag name="POWER_USER_TAGS_ICONS" val="database*wireframes*mockup"/>
</p:tagLst>
</file>

<file path=ppt/tags/tag79.xml><?xml version="1.0" encoding="utf-8"?>
<p:tagLst xmlns:p="http://schemas.openxmlformats.org/presentationml/2006/main">
  <p:tag name="POWER_USER_DIAGRAM_CIRCULAR_ARROW_KEY" val="POWER_USER_DIAGRAM_CIRCULAR_ARROW_VALUE_37"/>
</p:tagLst>
</file>

<file path=ppt/tags/tag790.xml><?xml version="1.0" encoding="utf-8"?>
<p:tagLst xmlns:p="http://schemas.openxmlformats.org/presentationml/2006/main">
  <p:tag name="POWER_USER_TAGS_ICONS" val="server*computer*technology*digital*numerical*hardrive"/>
</p:tagLst>
</file>

<file path=ppt/tags/tag791.xml><?xml version="1.0" encoding="utf-8"?>
<p:tagLst xmlns:p="http://schemas.openxmlformats.org/presentationml/2006/main">
  <p:tag name="POWER_USER_TAGS_ICONS" val="database*wireframes*mockup"/>
</p:tagLst>
</file>

<file path=ppt/tags/tag792.xml><?xml version="1.0" encoding="utf-8"?>
<p:tagLst xmlns:p="http://schemas.openxmlformats.org/presentationml/2006/main">
  <p:tag name="POWER_USER_TAGS_ICONS" val="server*computer*technology*digital*numerical*hardrive"/>
</p:tagLst>
</file>

<file path=ppt/tags/tag793.xml><?xml version="1.0" encoding="utf-8"?>
<p:tagLst xmlns:p="http://schemas.openxmlformats.org/presentationml/2006/main">
  <p:tag name="POWER_USER_TAGS_ICONS" val="database*wireframes*mockup"/>
</p:tagLst>
</file>

<file path=ppt/tags/tag794.xml><?xml version="1.0" encoding="utf-8"?>
<p:tagLst xmlns:p="http://schemas.openxmlformats.org/presentationml/2006/main">
  <p:tag name="POWER_USER_TAGS_ICONS" val="server*computer*technology*digital*numerical*hardrive"/>
</p:tagLst>
</file>

<file path=ppt/tags/tag795.xml><?xml version="1.0" encoding="utf-8"?>
<p:tagLst xmlns:p="http://schemas.openxmlformats.org/presentationml/2006/main">
  <p:tag name="POWER_USER_TAGS_ICONS" val="database*wireframes*mockup"/>
</p:tagLst>
</file>

<file path=ppt/tags/tag796.xml><?xml version="1.0" encoding="utf-8"?>
<p:tagLst xmlns:p="http://schemas.openxmlformats.org/presentationml/2006/main">
  <p:tag name="POWER_USER_TAGS_ICONS" val="server*computer*technology*digital*numerical*hardrive"/>
</p:tagLst>
</file>

<file path=ppt/tags/tag797.xml><?xml version="1.0" encoding="utf-8"?>
<p:tagLst xmlns:p="http://schemas.openxmlformats.org/presentationml/2006/main">
  <p:tag name="POWER_USER_TAGS_ICONS" val="database*wireframes*mockup"/>
</p:tagLst>
</file>

<file path=ppt/tags/tag798.xml><?xml version="1.0" encoding="utf-8"?>
<p:tagLst xmlns:p="http://schemas.openxmlformats.org/presentationml/2006/main">
  <p:tag name="POWER_USER_TAGS_ICONS" val="server*computer*technology*digital*numerical*hardrive"/>
</p:tagLst>
</file>

<file path=ppt/tags/tag799.xml><?xml version="1.0" encoding="utf-8"?>
<p:tagLst xmlns:p="http://schemas.openxmlformats.org/presentationml/2006/main">
  <p:tag name="POWER_USER_TAGS_ICONS" val="database*wireframes*mockup"/>
</p:tagLst>
</file>

<file path=ppt/tags/tag8.xml><?xml version="1.0" encoding="utf-8"?>
<p:tagLst xmlns:p="http://schemas.openxmlformats.org/presentationml/2006/main">
  <p:tag name="POWER_USER_DIAGRAM_CIRCULAR_ARROW_KEY" val="POWER_USER_DIAGRAM_CIRCULAR_ARROW_VALUE_12"/>
</p:tagLst>
</file>

<file path=ppt/tags/tag80.xml><?xml version="1.0" encoding="utf-8"?>
<p:tagLst xmlns:p="http://schemas.openxmlformats.org/presentationml/2006/main">
  <p:tag name="POWER_USER_DIAGRAM_CIRCULAR_ARROW_KEY" val="POWER_USER_DIAGRAM_CIRCULAR_ARROW_VALUE_38"/>
</p:tagLst>
</file>

<file path=ppt/tags/tag800.xml><?xml version="1.0" encoding="utf-8"?>
<p:tagLst xmlns:p="http://schemas.openxmlformats.org/presentationml/2006/main">
  <p:tag name="POWER_USER_TAGS_ICONS" val="server*computer*technology*digital*numerical*hardrive"/>
</p:tagLst>
</file>

<file path=ppt/tags/tag801.xml><?xml version="1.0" encoding="utf-8"?>
<p:tagLst xmlns:p="http://schemas.openxmlformats.org/presentationml/2006/main">
  <p:tag name="POWER_USER_TAGS_ICONS" val="server*computer*technology*digital*numerical*hardrive"/>
</p:tagLst>
</file>

<file path=ppt/tags/tag802.xml><?xml version="1.0" encoding="utf-8"?>
<p:tagLst xmlns:p="http://schemas.openxmlformats.org/presentationml/2006/main">
  <p:tag name="POWER_USER_DIAGRAM_CIRCULAR_ARROW_KEY" val="POWER_USER_DIAGRAM_CIRCULAR_ARROW_VALUE_5"/>
</p:tagLst>
</file>

<file path=ppt/tags/tag803.xml><?xml version="1.0" encoding="utf-8"?>
<p:tagLst xmlns:p="http://schemas.openxmlformats.org/presentationml/2006/main">
  <p:tag name="POWER_USER_DIAGRAM_CIRCULAR_ARROW_KEY" val="POWER_USER_DIAGRAM_CIRCULAR_ARROW_VALUE_6"/>
</p:tagLst>
</file>

<file path=ppt/tags/tag804.xml><?xml version="1.0" encoding="utf-8"?>
<p:tagLst xmlns:p="http://schemas.openxmlformats.org/presentationml/2006/main">
  <p:tag name="POWER_USER_DIAGRAM_CIRCULAR_ARROW_KEY" val="POWER_USER_DIAGRAM_CIRCULAR_ARROW_VALUE_7"/>
</p:tagLst>
</file>

<file path=ppt/tags/tag805.xml><?xml version="1.0" encoding="utf-8"?>
<p:tagLst xmlns:p="http://schemas.openxmlformats.org/presentationml/2006/main">
  <p:tag name="POWER_USER_DIAGRAM_CIRCULAR_ARROW_KEY" val="POWER_USER_DIAGRAM_CIRCULAR_ARROW_VALUE_8"/>
</p:tagLst>
</file>

<file path=ppt/tags/tag806.xml><?xml version="1.0" encoding="utf-8"?>
<p:tagLst xmlns:p="http://schemas.openxmlformats.org/presentationml/2006/main">
  <p:tag name="POWER_USER_DIAGRAM_CIRCULAR_ARROW_KEY" val="POWER_USER_DIAGRAM_CIRCULAR_ARROW_VALUE_9"/>
</p:tagLst>
</file>

<file path=ppt/tags/tag807.xml><?xml version="1.0" encoding="utf-8"?>
<p:tagLst xmlns:p="http://schemas.openxmlformats.org/presentationml/2006/main">
  <p:tag name="POWER_USER_DIAGRAM_CIRCULAR_ARROW_KEY" val="POWER_USER_DIAGRAM_CIRCULAR_ARROW_VALUE_10"/>
</p:tagLst>
</file>

<file path=ppt/tags/tag808.xml><?xml version="1.0" encoding="utf-8"?>
<p:tagLst xmlns:p="http://schemas.openxmlformats.org/presentationml/2006/main">
  <p:tag name="POWER_USER_DIAGRAM_CIRCULAR_ARROW_KEY" val="POWER_USER_DIAGRAM_CIRCULAR_ARROW_VALUE_11"/>
</p:tagLst>
</file>

<file path=ppt/tags/tag809.xml><?xml version="1.0" encoding="utf-8"?>
<p:tagLst xmlns:p="http://schemas.openxmlformats.org/presentationml/2006/main">
  <p:tag name="POWER_USER_DIAGRAM_CIRCULAR_ARROW_KEY" val="POWER_USER_DIAGRAM_CIRCULAR_ARROW_VALUE_12"/>
</p:tagLst>
</file>

<file path=ppt/tags/tag81.xml><?xml version="1.0" encoding="utf-8"?>
<p:tagLst xmlns:p="http://schemas.openxmlformats.org/presentationml/2006/main">
  <p:tag name="POWER_USER_DIAGRAM_CIRCULAR_ARROW_KEY" val="POWER_USER_DIAGRAM_CIRCULAR_ARROW_VALUE_39"/>
</p:tagLst>
</file>

<file path=ppt/tags/tag810.xml><?xml version="1.0" encoding="utf-8"?>
<p:tagLst xmlns:p="http://schemas.openxmlformats.org/presentationml/2006/main">
  <p:tag name="POWER_USER_DIAGRAM_CIRCULAR_ARROW_KEY" val="POWER_USER_DIAGRAM_CIRCULAR_ARROW_VALUE_13"/>
</p:tagLst>
</file>

<file path=ppt/tags/tag811.xml><?xml version="1.0" encoding="utf-8"?>
<p:tagLst xmlns:p="http://schemas.openxmlformats.org/presentationml/2006/main">
  <p:tag name="POWER_USER_DIAGRAM_CIRCULAR_ARROW_KEY" val="POWER_USER_DIAGRAM_CIRCULAR_ARROW_VALUE_14"/>
</p:tagLst>
</file>

<file path=ppt/tags/tag812.xml><?xml version="1.0" encoding="utf-8"?>
<p:tagLst xmlns:p="http://schemas.openxmlformats.org/presentationml/2006/main">
  <p:tag name="POWER_USER_DIAGRAM_CIRCULAR_ARROW_KEY" val="POWER_USER_DIAGRAM_CIRCULAR_ARROW_VALUE_15"/>
</p:tagLst>
</file>

<file path=ppt/tags/tag813.xml><?xml version="1.0" encoding="utf-8"?>
<p:tagLst xmlns:p="http://schemas.openxmlformats.org/presentationml/2006/main">
  <p:tag name="POWER_USER_DIAGRAM_CIRCULAR_ARROW_KEY" val="POWER_USER_DIAGRAM_CIRCULAR_ARROW_VALUE_16"/>
</p:tagLst>
</file>

<file path=ppt/tags/tag814.xml><?xml version="1.0" encoding="utf-8"?>
<p:tagLst xmlns:p="http://schemas.openxmlformats.org/presentationml/2006/main">
  <p:tag name="POWER_USER_DIAGRAM_CIRCULAR_ARROW_KEY" val="POWER_USER_DIAGRAM_CIRCULAR_ARROW_VALUE_17"/>
</p:tagLst>
</file>

<file path=ppt/tags/tag815.xml><?xml version="1.0" encoding="utf-8"?>
<p:tagLst xmlns:p="http://schemas.openxmlformats.org/presentationml/2006/main">
  <p:tag name="POWER_USER_DIAGRAM_CIRCULAR_ARROW_KEY" val="POWER_USER_DIAGRAM_CIRCULAR_ARROW_VALUE_18"/>
</p:tagLst>
</file>

<file path=ppt/tags/tag816.xml><?xml version="1.0" encoding="utf-8"?>
<p:tagLst xmlns:p="http://schemas.openxmlformats.org/presentationml/2006/main">
  <p:tag name="POWER_USER_DIAGRAM_CIRCULAR_ARROW_KEY" val="POWER_USER_DIAGRAM_CIRCULAR_ARROW_VALUE_19"/>
</p:tagLst>
</file>

<file path=ppt/tags/tag817.xml><?xml version="1.0" encoding="utf-8"?>
<p:tagLst xmlns:p="http://schemas.openxmlformats.org/presentationml/2006/main">
  <p:tag name="POWER_USER_DIAGRAM_CIRCULAR_ARROW_KEY" val="POWER_USER_DIAGRAM_CIRCULAR_ARROW_VALUE_20"/>
</p:tagLst>
</file>

<file path=ppt/tags/tag818.xml><?xml version="1.0" encoding="utf-8"?>
<p:tagLst xmlns:p="http://schemas.openxmlformats.org/presentationml/2006/main">
  <p:tag name="POWER_USER_DIAGRAM_CIRCULAR_ARROW_KEY" val="POWER_USER_DIAGRAM_CIRCULAR_ARROW_VALUE_21"/>
</p:tagLst>
</file>

<file path=ppt/tags/tag819.xml><?xml version="1.0" encoding="utf-8"?>
<p:tagLst xmlns:p="http://schemas.openxmlformats.org/presentationml/2006/main">
  <p:tag name="POWER_USER_DIAGRAM_CIRCULAR_ARROW_KEY" val="POWER_USER_DIAGRAM_CIRCULAR_ARROW_VALUE_22"/>
</p:tagLst>
</file>

<file path=ppt/tags/tag82.xml><?xml version="1.0" encoding="utf-8"?>
<p:tagLst xmlns:p="http://schemas.openxmlformats.org/presentationml/2006/main">
  <p:tag name="POWER_USER_DIAGRAM_CIRCULAR_ARROW_KEY" val="POWER_USER_DIAGRAM_CIRCULAR_ARROW_VALUE_40"/>
</p:tagLst>
</file>

<file path=ppt/tags/tag820.xml><?xml version="1.0" encoding="utf-8"?>
<p:tagLst xmlns:p="http://schemas.openxmlformats.org/presentationml/2006/main">
  <p:tag name="POWER_USER_DIAGRAM_CIRCULAR_ARROW_KEY" val="POWER_USER_DIAGRAM_CIRCULAR_ARROW_VALUE_23"/>
</p:tagLst>
</file>

<file path=ppt/tags/tag821.xml><?xml version="1.0" encoding="utf-8"?>
<p:tagLst xmlns:p="http://schemas.openxmlformats.org/presentationml/2006/main">
  <p:tag name="POWER_USER_DIAGRAM_CIRCULAR_ARROW_KEY" val="POWER_USER_DIAGRAM_CIRCULAR_ARROW_VALUE_24"/>
</p:tagLst>
</file>

<file path=ppt/tags/tag822.xml><?xml version="1.0" encoding="utf-8"?>
<p:tagLst xmlns:p="http://schemas.openxmlformats.org/presentationml/2006/main">
  <p:tag name="POWER_USER_DIAGRAM_CIRCULAR_ARROW_KEY" val="POWER_USER_DIAGRAM_CIRCULAR_ARROW_VALUE_25"/>
</p:tagLst>
</file>

<file path=ppt/tags/tag823.xml><?xml version="1.0" encoding="utf-8"?>
<p:tagLst xmlns:p="http://schemas.openxmlformats.org/presentationml/2006/main">
  <p:tag name="POWER_USER_DIAGRAM_CIRCULAR_ARROW_KEY" val="POWER_USER_DIAGRAM_CIRCULAR_ARROW_VALUE_26"/>
</p:tagLst>
</file>

<file path=ppt/tags/tag824.xml><?xml version="1.0" encoding="utf-8"?>
<p:tagLst xmlns:p="http://schemas.openxmlformats.org/presentationml/2006/main">
  <p:tag name="POWER_USER_DIAGRAM_CIRCULAR_ARROW_KEY" val="POWER_USER_DIAGRAM_CIRCULAR_ARROW_VALUE_27"/>
</p:tagLst>
</file>

<file path=ppt/tags/tag825.xml><?xml version="1.0" encoding="utf-8"?>
<p:tagLst xmlns:p="http://schemas.openxmlformats.org/presentationml/2006/main">
  <p:tag name="POWER_USER_DIAGRAM_CIRCULAR_ARROW_KEY" val="POWER_USER_DIAGRAM_CIRCULAR_ARROW_VALUE_28"/>
</p:tagLst>
</file>

<file path=ppt/tags/tag826.xml><?xml version="1.0" encoding="utf-8"?>
<p:tagLst xmlns:p="http://schemas.openxmlformats.org/presentationml/2006/main">
  <p:tag name="POWER_USER_DIAGRAM_CIRCULAR_ARROW_KEY" val="POWER_USER_DIAGRAM_CIRCULAR_ARROW_VALUE_29"/>
</p:tagLst>
</file>

<file path=ppt/tags/tag827.xml><?xml version="1.0" encoding="utf-8"?>
<p:tagLst xmlns:p="http://schemas.openxmlformats.org/presentationml/2006/main">
  <p:tag name="POWER_USER_DIAGRAM_CIRCULAR_ARROW_KEY" val="POWER_USER_DIAGRAM_CIRCULAR_ARROW_VALUE_30"/>
</p:tagLst>
</file>

<file path=ppt/tags/tag828.xml><?xml version="1.0" encoding="utf-8"?>
<p:tagLst xmlns:p="http://schemas.openxmlformats.org/presentationml/2006/main">
  <p:tag name="POWER_USER_DIAGRAM_CIRCULAR_ARROW_KEY" val="POWER_USER_DIAGRAM_CIRCULAR_ARROW_VALUE_31"/>
</p:tagLst>
</file>

<file path=ppt/tags/tag829.xml><?xml version="1.0" encoding="utf-8"?>
<p:tagLst xmlns:p="http://schemas.openxmlformats.org/presentationml/2006/main">
  <p:tag name="POWER_USER_DIAGRAM_CIRCULAR_ARROW_KEY" val="POWER_USER_DIAGRAM_CIRCULAR_ARROW_VALUE_32"/>
</p:tagLst>
</file>

<file path=ppt/tags/tag83.xml><?xml version="1.0" encoding="utf-8"?>
<p:tagLst xmlns:p="http://schemas.openxmlformats.org/presentationml/2006/main">
  <p:tag name="POWER_USER_DIAGRAM_CIRCULAR_ARROW_KEY" val="POWER_USER_DIAGRAM_CIRCULAR_ARROW_VALUE_41"/>
</p:tagLst>
</file>

<file path=ppt/tags/tag830.xml><?xml version="1.0" encoding="utf-8"?>
<p:tagLst xmlns:p="http://schemas.openxmlformats.org/presentationml/2006/main">
  <p:tag name="POWER_USER_DIAGRAM_CIRCULAR_ARROW_KEY" val="POWER_USER_DIAGRAM_CIRCULAR_ARROW_VALUE_33"/>
</p:tagLst>
</file>

<file path=ppt/tags/tag831.xml><?xml version="1.0" encoding="utf-8"?>
<p:tagLst xmlns:p="http://schemas.openxmlformats.org/presentationml/2006/main">
  <p:tag name="POWER_USER_DIAGRAM_CIRCULAR_ARROW_KEY" val="POWER_USER_DIAGRAM_CIRCULAR_ARROW_VALUE_34"/>
</p:tagLst>
</file>

<file path=ppt/tags/tag832.xml><?xml version="1.0" encoding="utf-8"?>
<p:tagLst xmlns:p="http://schemas.openxmlformats.org/presentationml/2006/main">
  <p:tag name="POWER_USER_DIAGRAM_CIRCULAR_ARROW_KEY" val="POWER_USER_DIAGRAM_CIRCULAR_ARROW_VALUE_35"/>
</p:tagLst>
</file>

<file path=ppt/tags/tag833.xml><?xml version="1.0" encoding="utf-8"?>
<p:tagLst xmlns:p="http://schemas.openxmlformats.org/presentationml/2006/main">
  <p:tag name="POWER_USER_DIAGRAM_CIRCULAR_ARROW_KEY" val="POWER_USER_DIAGRAM_CIRCULAR_ARROW_VALUE_36"/>
</p:tagLst>
</file>

<file path=ppt/tags/tag834.xml><?xml version="1.0" encoding="utf-8"?>
<p:tagLst xmlns:p="http://schemas.openxmlformats.org/presentationml/2006/main">
  <p:tag name="POWER_USER_DIAGRAM_CIRCULAR_ARROW_KEY" val="POWER_USER_DIAGRAM_CIRCULAR_ARROW_VALUE_37"/>
</p:tagLst>
</file>

<file path=ppt/tags/tag835.xml><?xml version="1.0" encoding="utf-8"?>
<p:tagLst xmlns:p="http://schemas.openxmlformats.org/presentationml/2006/main">
  <p:tag name="POWER_USER_DIAGRAM_CIRCULAR_ARROW_KEY" val="POWER_USER_DIAGRAM_CIRCULAR_ARROW_VALUE_38"/>
</p:tagLst>
</file>

<file path=ppt/tags/tag836.xml><?xml version="1.0" encoding="utf-8"?>
<p:tagLst xmlns:p="http://schemas.openxmlformats.org/presentationml/2006/main">
  <p:tag name="POWER_USER_DIAGRAM_CIRCULAR_ARROW_KEY" val="POWER_USER_DIAGRAM_CIRCULAR_ARROW_VALUE_39"/>
</p:tagLst>
</file>

<file path=ppt/tags/tag837.xml><?xml version="1.0" encoding="utf-8"?>
<p:tagLst xmlns:p="http://schemas.openxmlformats.org/presentationml/2006/main">
  <p:tag name="POWER_USER_DIAGRAM_CIRCULAR_ARROW_KEY" val="POWER_USER_DIAGRAM_CIRCULAR_ARROW_VALUE_40"/>
</p:tagLst>
</file>

<file path=ppt/tags/tag838.xml><?xml version="1.0" encoding="utf-8"?>
<p:tagLst xmlns:p="http://schemas.openxmlformats.org/presentationml/2006/main">
  <p:tag name="POWER_USER_DIAGRAM_CIRCULAR_ARROW_KEY" val="POWER_USER_DIAGRAM_CIRCULAR_ARROW_VALUE_41"/>
</p:tagLst>
</file>

<file path=ppt/tags/tag839.xml><?xml version="1.0" encoding="utf-8"?>
<p:tagLst xmlns:p="http://schemas.openxmlformats.org/presentationml/2006/main">
  <p:tag name="POWER_USER_DIAGRAM_CIRCULAR_ARROW_KEY" val="POWER_USER_DIAGRAM_CIRCULAR_ARROW_VALUE_42"/>
</p:tagLst>
</file>

<file path=ppt/tags/tag84.xml><?xml version="1.0" encoding="utf-8"?>
<p:tagLst xmlns:p="http://schemas.openxmlformats.org/presentationml/2006/main">
  <p:tag name="POWER_USER_DIAGRAM_CIRCULAR_ARROW_KEY" val="POWER_USER_DIAGRAM_CIRCULAR_ARROW_VALUE_42"/>
</p:tagLst>
</file>

<file path=ppt/tags/tag840.xml><?xml version="1.0" encoding="utf-8"?>
<p:tagLst xmlns:p="http://schemas.openxmlformats.org/presentationml/2006/main">
  <p:tag name="POWER_USER_DIAGRAM_CIRCULAR_ARROW_KEY" val="POWER_USER_DIAGRAM_CIRCULAR_ARROW_VALUE_43"/>
</p:tagLst>
</file>

<file path=ppt/tags/tag841.xml><?xml version="1.0" encoding="utf-8"?>
<p:tagLst xmlns:p="http://schemas.openxmlformats.org/presentationml/2006/main">
  <p:tag name="POWER_USER_DIAGRAM_CIRCULAR_ARROW_KEY" val="POWER_USER_DIAGRAM_CIRCULAR_ARROW_VALUE_44"/>
</p:tagLst>
</file>

<file path=ppt/tags/tag842.xml><?xml version="1.0" encoding="utf-8"?>
<p:tagLst xmlns:p="http://schemas.openxmlformats.org/presentationml/2006/main">
  <p:tag name="POWER_USER_DIAGRAM_CIRCULAR_ARROW_KEY" val="POWER_USER_DIAGRAM_CIRCULAR_ARROW_VALUE_45"/>
</p:tagLst>
</file>

<file path=ppt/tags/tag843.xml><?xml version="1.0" encoding="utf-8"?>
<p:tagLst xmlns:p="http://schemas.openxmlformats.org/presentationml/2006/main">
  <p:tag name="POWER_USER_DIAGRAM_CIRCULAR_ARROW_KEY" val="POWER_USER_DIAGRAM_CIRCULAR_ARROW_VALUE_46"/>
</p:tagLst>
</file>

<file path=ppt/tags/tag844.xml><?xml version="1.0" encoding="utf-8"?>
<p:tagLst xmlns:p="http://schemas.openxmlformats.org/presentationml/2006/main">
  <p:tag name="POWER_USER_DIAGRAM_CIRCULAR_ARROW_KEY" val="POWER_USER_DIAGRAM_CIRCULAR_ARROW_VALUE_47"/>
</p:tagLst>
</file>

<file path=ppt/tags/tag845.xml><?xml version="1.0" encoding="utf-8"?>
<p:tagLst xmlns:p="http://schemas.openxmlformats.org/presentationml/2006/main">
  <p:tag name="POWER_USER_DIAGRAM_CIRCULAR_ARROW_KEY" val="POWER_USER_DIAGRAM_CIRCULAR_ARROW_VALUE_48"/>
</p:tagLst>
</file>

<file path=ppt/tags/tag846.xml><?xml version="1.0" encoding="utf-8"?>
<p:tagLst xmlns:p="http://schemas.openxmlformats.org/presentationml/2006/main">
  <p:tag name="POWER_USER_DIAGRAM_CIRCULAR_ARROW_KEY" val="POWER_USER_DIAGRAM_CIRCULAR_ARROW_VALUE_49"/>
</p:tagLst>
</file>

<file path=ppt/tags/tag847.xml><?xml version="1.0" encoding="utf-8"?>
<p:tagLst xmlns:p="http://schemas.openxmlformats.org/presentationml/2006/main">
  <p:tag name="POWER_USER_DIAGRAM_CIRCULAR_ARROW_KEY" val="POWER_USER_DIAGRAM_CIRCULAR_ARROW_VALUE_50"/>
</p:tagLst>
</file>

<file path=ppt/tags/tag85.xml><?xml version="1.0" encoding="utf-8"?>
<p:tagLst xmlns:p="http://schemas.openxmlformats.org/presentationml/2006/main">
  <p:tag name="POWER_USER_DIAGRAM_CIRCULAR_ARROW_KEY" val="POWER_USER_DIAGRAM_CIRCULAR_ARROW_VALUE_43"/>
</p:tagLst>
</file>

<file path=ppt/tags/tag86.xml><?xml version="1.0" encoding="utf-8"?>
<p:tagLst xmlns:p="http://schemas.openxmlformats.org/presentationml/2006/main">
  <p:tag name="POWER_USER_DIAGRAM_CIRCULAR_ARROW_KEY" val="POWER_USER_DIAGRAM_CIRCULAR_ARROW_VALUE_44"/>
</p:tagLst>
</file>

<file path=ppt/tags/tag87.xml><?xml version="1.0" encoding="utf-8"?>
<p:tagLst xmlns:p="http://schemas.openxmlformats.org/presentationml/2006/main">
  <p:tag name="POWER_USER_DIAGRAM_CIRCULAR_ARROW_KEY" val="POWER_USER_DIAGRAM_CIRCULAR_ARROW_VALUE_45"/>
</p:tagLst>
</file>

<file path=ppt/tags/tag88.xml><?xml version="1.0" encoding="utf-8"?>
<p:tagLst xmlns:p="http://schemas.openxmlformats.org/presentationml/2006/main">
  <p:tag name="POWER_USER_DIAGRAM_CIRCULAR_ARROW_KEY" val="POWER_USER_DIAGRAM_CIRCULAR_ARROW_VALUE_46"/>
</p:tagLst>
</file>

<file path=ppt/tags/tag89.xml><?xml version="1.0" encoding="utf-8"?>
<p:tagLst xmlns:p="http://schemas.openxmlformats.org/presentationml/2006/main">
  <p:tag name="POWER_USER_DIAGRAM_CIRCULAR_ARROW_KEY" val="POWER_USER_DIAGRAM_CIRCULAR_ARROW_VALUE_47"/>
</p:tagLst>
</file>

<file path=ppt/tags/tag9.xml><?xml version="1.0" encoding="utf-8"?>
<p:tagLst xmlns:p="http://schemas.openxmlformats.org/presentationml/2006/main">
  <p:tag name="POWER_USER_DIAGRAM_CIRCULAR_ARROW_KEY" val="POWER_USER_DIAGRAM_CIRCULAR_ARROW_VALUE_13"/>
</p:tagLst>
</file>

<file path=ppt/tags/tag90.xml><?xml version="1.0" encoding="utf-8"?>
<p:tagLst xmlns:p="http://schemas.openxmlformats.org/presentationml/2006/main">
  <p:tag name="POWER_USER_DIAGRAM_CIRCULAR_ARROW_KEY" val="POWER_USER_DIAGRAM_CIRCULAR_ARROW_VALUE_48"/>
</p:tagLst>
</file>

<file path=ppt/tags/tag91.xml><?xml version="1.0" encoding="utf-8"?>
<p:tagLst xmlns:p="http://schemas.openxmlformats.org/presentationml/2006/main">
  <p:tag name="POWER_USER_DIAGRAM_CIRCULAR_ARROW_KEY" val="POWER_USER_DIAGRAM_CIRCULAR_ARROW_VALUE_49"/>
</p:tagLst>
</file>

<file path=ppt/tags/tag92.xml><?xml version="1.0" encoding="utf-8"?>
<p:tagLst xmlns:p="http://schemas.openxmlformats.org/presentationml/2006/main">
  <p:tag name="POWER_USER_DIAGRAM_CIRCULAR_ARROW_KEY" val="POWER_USER_DIAGRAM_CIRCULAR_ARROW_VALUE_50"/>
</p:tagLst>
</file>

<file path=ppt/tags/tag93.xml><?xml version="1.0" encoding="utf-8"?>
<p:tagLst xmlns:p="http://schemas.openxmlformats.org/presentationml/2006/main">
  <p:tag name="POWER_USER_TAGS_ICONS" val="server*computer*technology*digital*numerical*hardrive"/>
</p:tagLst>
</file>

<file path=ppt/tags/tag94.xml><?xml version="1.0" encoding="utf-8"?>
<p:tagLst xmlns:p="http://schemas.openxmlformats.org/presentationml/2006/main">
  <p:tag name="POWER_USER_TAGS_ICONS" val=""/>
</p:tagLst>
</file>

<file path=ppt/tags/tag95.xml><?xml version="1.0" encoding="utf-8"?>
<p:tagLst xmlns:p="http://schemas.openxmlformats.org/presentationml/2006/main">
  <p:tag name="POWER_USER_TAGS_ICONS" val=""/>
</p:tagLst>
</file>

<file path=ppt/tags/tag96.xml><?xml version="1.0" encoding="utf-8"?>
<p:tagLst xmlns:p="http://schemas.openxmlformats.org/presentationml/2006/main">
  <p:tag name="POWER_USER_TAGS_ICONS" val=""/>
</p:tagLst>
</file>

<file path=ppt/tags/tag97.xml><?xml version="1.0" encoding="utf-8"?>
<p:tagLst xmlns:p="http://schemas.openxmlformats.org/presentationml/2006/main">
  <p:tag name="POWER_USER_TAGS_ICONS" val=""/>
</p:tagLst>
</file>

<file path=ppt/tags/tag98.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ags/tag99.xml><?xml version="1.0" encoding="utf-8"?>
<p:tagLst xmlns:p="http://schemas.openxmlformats.org/presentationml/2006/main">
  <p:tag name="POWER_USER_TAGS_ICONS" val="advocacy_POWER_USER_SEPARATOR_ICONS_activity_POWER_USER_SEPARATOR_ICONS_humanitarian_POWER_USER_SEPARATOR_ICONS_leadership_POWER_USER_SEPARATOR_ICONS_voice"/>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rrhq4u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427</Words>
  <Application>WPS 演示</Application>
  <PresentationFormat>宽屏</PresentationFormat>
  <Paragraphs>3010</Paragraphs>
  <Slides>46</Slides>
  <Notes>55</Notes>
  <HiddenSlides>5</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46</vt:i4>
      </vt:variant>
    </vt:vector>
  </HeadingPairs>
  <TitlesOfParts>
    <vt:vector size="63" baseType="lpstr">
      <vt:lpstr>Arial</vt:lpstr>
      <vt:lpstr>宋体</vt:lpstr>
      <vt:lpstr>Wingdings</vt:lpstr>
      <vt:lpstr>Huawei Sans</vt:lpstr>
      <vt:lpstr>Oswald</vt:lpstr>
      <vt:lpstr>方正兰亭黑简体</vt:lpstr>
      <vt:lpstr>微软雅黑</vt:lpstr>
      <vt:lpstr>FrutigerNext LT Regular</vt:lpstr>
      <vt:lpstr>Calibri</vt:lpstr>
      <vt:lpstr>Calibri</vt:lpstr>
      <vt:lpstr>Arial Unicode MS</vt:lpstr>
      <vt:lpstr>FrutigerNext LT Light</vt:lpstr>
      <vt:lpstr>Dark Courier</vt:lpstr>
      <vt:lpstr>FrutigerNext LT Medium</vt:lpstr>
      <vt:lpstr>Microsoft Sans Serif</vt:lpstr>
      <vt:lpstr>方正兰亭黑简体</vt:lpstr>
      <vt:lpstr>自定义设计方案</vt:lpstr>
      <vt:lpstr>PowerPoint 演示文稿</vt:lpstr>
      <vt:lpstr>PowerPoint 演示文稿</vt:lpstr>
      <vt:lpstr>PowerPoint 演示文稿</vt:lpstr>
      <vt:lpstr>PowerPoint 演示文稿</vt:lpstr>
      <vt:lpstr>数据库技术</vt:lpstr>
      <vt:lpstr>数据 (Data)</vt:lpstr>
      <vt:lpstr>记录</vt:lpstr>
      <vt:lpstr>数据库 (Database, DB)</vt:lpstr>
      <vt:lpstr>数据库管理系统 (DBMS)</vt:lpstr>
      <vt:lpstr>数据库系统 (Database System, DBS)</vt:lpstr>
      <vt:lpstr>PowerPoint 演示文稿</vt:lpstr>
      <vt:lpstr>数据库技术产生与发展</vt:lpstr>
      <vt:lpstr>数据管理三个阶段比较</vt:lpstr>
      <vt:lpstr>数据库系统优势</vt:lpstr>
      <vt:lpstr>数据库系统发展特点</vt:lpstr>
      <vt:lpstr>层次，网状，关系模型</vt:lpstr>
      <vt:lpstr>层次，网状，关系模型对比</vt:lpstr>
      <vt:lpstr>关系型数据库产品历史回顾</vt:lpstr>
      <vt:lpstr>结构化查询语言 - Structured Query Language</vt:lpstr>
      <vt:lpstr>其他数据模型</vt:lpstr>
      <vt:lpstr>数据管理技术的新挑战</vt:lpstr>
      <vt:lpstr>NoSQL技术特点和类型</vt:lpstr>
      <vt:lpstr>主要NoSQL数据库简介</vt:lpstr>
      <vt:lpstr>NewSQL浅谈</vt:lpstr>
      <vt:lpstr>云数据库</vt:lpstr>
      <vt:lpstr>传统数据库 VS 云数据库 (1)</vt:lpstr>
      <vt:lpstr>传统数据库 VS 云数据库 (2)</vt:lpstr>
      <vt:lpstr>数据库排名</vt:lpstr>
      <vt:lpstr>PowerPoint 演示文稿</vt:lpstr>
      <vt:lpstr>数据库架构发展</vt:lpstr>
      <vt:lpstr>单机架构</vt:lpstr>
      <vt:lpstr>分组架构 - 主备</vt:lpstr>
      <vt:lpstr>分组架构 - 主从</vt:lpstr>
      <vt:lpstr>分组架构 - 多主</vt:lpstr>
      <vt:lpstr>共享存储多活架构</vt:lpstr>
      <vt:lpstr>分片(Sharding)架构</vt:lpstr>
      <vt:lpstr>无共享(Shared-Nothing)架构</vt:lpstr>
      <vt:lpstr>MPP架构 (Massively Parallel Processing)</vt:lpstr>
      <vt:lpstr>数据库架构特点对比</vt:lpstr>
      <vt:lpstr>PowerPoint 演示文稿</vt:lpstr>
      <vt:lpstr>联机事务处理 (OnLine Transaction Processing)</vt:lpstr>
      <vt:lpstr>联机分析处理 (OnLine Analytical Processing)</vt:lpstr>
      <vt:lpstr>OLTP和OLAP对比分析</vt:lpstr>
      <vt:lpstr>数据库性能衡量指标</vt:lpstr>
      <vt:lpstr>PowerPoint 演示文稿</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fanyan (A)</dc:creator>
  <cp:lastModifiedBy>马瑞新</cp:lastModifiedBy>
  <cp:revision>191</cp:revision>
  <dcterms:created xsi:type="dcterms:W3CDTF">2018-11-29T10:16:00Z</dcterms:created>
  <dcterms:modified xsi:type="dcterms:W3CDTF">2021-01-10T03: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6gRPdHs4ysXDdyqT6+ylAlidbCtZdjSv5sEdXsCLl+kgPpm+EB7kUl9XdBGyfAD5SfU0jw78
X79mlBeFTtRGVCt46Wje3oyBqeTJv5klVEHReZUOzNbOFM5Qa3GtIQ40gFf+oA8TZ1clxiuP
zAvEw00K18Kjyxyrn+UFGyvbfEndwOCpWOS7ncFhaQqJNFotm00zms0fejWwkzinC3Gcx71u
FqGIWAcm7STylXM3Or</vt:lpwstr>
  </property>
  <property fmtid="{D5CDD505-2E9C-101B-9397-08002B2CF9AE}" pid="3" name="_2015_ms_pID_7253431">
    <vt:lpwstr>Ssvbcq66tOCG2EKgXiQVoF01XodADT+KUe1Df01Hn0N/yBQyPX0ucb
Jke/OcBi7zzznOCV9nsnSd7kKAzPESS/LBxFcicJYpXrOyBecG9zrfBbBnlQHhyJ1hQjX34j
W6D185YexSTkQtI6GDxRG9VKSmP3xr24oRzygoViEr4gOVGuEgN/v33/QhMmpjAPdA7n1RTb
VVzOOGxMw/WkPJeRHpJ2Fp9uP3aUICP66DHO</vt:lpwstr>
  </property>
  <property fmtid="{D5CDD505-2E9C-101B-9397-08002B2CF9AE}" pid="4" name="_2015_ms_pID_7253432">
    <vt:lpwstr>lQrYVU1Qe8ol8wrjLhAURn8=</vt:lpwstr>
  </property>
  <property fmtid="{D5CDD505-2E9C-101B-9397-08002B2CF9AE}" pid="5" name="_readonly">
    <vt:lpwstr/>
  </property>
  <property fmtid="{D5CDD505-2E9C-101B-9397-08002B2CF9AE}" pid="6" name="_change">
    <vt:lpwstr/>
  </property>
  <property fmtid="{D5CDD505-2E9C-101B-9397-08002B2CF9AE}" pid="7" name="_full-control">
    <vt:lpwstr/>
  </property>
  <property fmtid="{D5CDD505-2E9C-101B-9397-08002B2CF9AE}" pid="8" name="sflag">
    <vt:lpwstr>1593762884</vt:lpwstr>
  </property>
  <property fmtid="{D5CDD505-2E9C-101B-9397-08002B2CF9AE}" pid="9" name="KSOProductBuildVer">
    <vt:lpwstr>2052-11.1.0.10314</vt:lpwstr>
  </property>
</Properties>
</file>